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5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1"/>
  </p:sldMasterIdLst>
  <p:notesMasterIdLst>
    <p:notesMasterId r:id="rId30"/>
  </p:notesMasterIdLst>
  <p:sldIdLst>
    <p:sldId id="258" r:id="rId2"/>
    <p:sldId id="301" r:id="rId3"/>
    <p:sldId id="302" r:id="rId4"/>
    <p:sldId id="303" r:id="rId5"/>
    <p:sldId id="304" r:id="rId6"/>
    <p:sldId id="305" r:id="rId7"/>
    <p:sldId id="307" r:id="rId8"/>
    <p:sldId id="2428" r:id="rId9"/>
    <p:sldId id="2420" r:id="rId10"/>
    <p:sldId id="2429" r:id="rId11"/>
    <p:sldId id="2423" r:id="rId12"/>
    <p:sldId id="2407" r:id="rId13"/>
    <p:sldId id="2408" r:id="rId14"/>
    <p:sldId id="2409" r:id="rId15"/>
    <p:sldId id="309" r:id="rId16"/>
    <p:sldId id="259" r:id="rId17"/>
    <p:sldId id="260" r:id="rId18"/>
    <p:sldId id="313" r:id="rId19"/>
    <p:sldId id="2436" r:id="rId20"/>
    <p:sldId id="2437" r:id="rId21"/>
    <p:sldId id="2438" r:id="rId22"/>
    <p:sldId id="2439" r:id="rId23"/>
    <p:sldId id="2440" r:id="rId24"/>
    <p:sldId id="314" r:id="rId25"/>
    <p:sldId id="2441" r:id="rId26"/>
    <p:sldId id="312" r:id="rId27"/>
    <p:sldId id="310" r:id="rId28"/>
    <p:sldId id="324" r:id="rId2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8912B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615" autoAdjust="0"/>
    <p:restoredTop sz="86437" autoAdjust="0"/>
  </p:normalViewPr>
  <p:slideViewPr>
    <p:cSldViewPr snapToGrid="0">
      <p:cViewPr varScale="1">
        <p:scale>
          <a:sx n="74" d="100"/>
          <a:sy n="74" d="100"/>
        </p:scale>
        <p:origin x="1133" y="6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416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20" d="100"/>
        <a:sy n="120" d="100"/>
      </p:scale>
      <p:origin x="0" y="-7829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090C29-47A6-4B66-A789-7EA297BBE08C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B5CF23-AF96-4AF9-AD67-61F320B196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701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130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FEC23587-1662-4086-95AA-99348B7F4CC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93C62918-FE5C-4A7E-8C2A-CD9785A30B89}" type="slidenum">
              <a:rPr lang="en-US" altLang="en-US">
                <a:solidFill>
                  <a:schemeClr val="tx1"/>
                </a:solidFill>
              </a:rPr>
              <a:pPr eaLnBrk="1" hangingPunct="1"/>
              <a:t>11</a:t>
            </a:fld>
            <a:endParaRPr lang="en-US" altLang="en-US">
              <a:solidFill>
                <a:schemeClr val="tx1"/>
              </a:solidFill>
            </a:endParaRPr>
          </a:p>
        </p:txBody>
      </p:sp>
      <p:sp>
        <p:nvSpPr>
          <p:cNvPr id="167939" name="Rectangle 7">
            <a:extLst>
              <a:ext uri="{FF2B5EF4-FFF2-40B4-BE49-F238E27FC236}">
                <a16:creationId xmlns:a16="http://schemas.microsoft.com/office/drawing/2014/main" id="{ED20C004-DC1E-4EE4-9873-90814553283A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57466F99-0ADF-4245-BD5B-D7BEB9E8E64B}" type="slidenum">
              <a:rPr lang="en-US" altLang="en-US"/>
              <a:pPr algn="r" eaLnBrk="1" hangingPunct="1"/>
              <a:t>11</a:t>
            </a:fld>
            <a:endParaRPr lang="en-US" altLang="en-US"/>
          </a:p>
        </p:txBody>
      </p:sp>
      <p:sp>
        <p:nvSpPr>
          <p:cNvPr id="167940" name="Slide Image Placeholder 1">
            <a:extLst>
              <a:ext uri="{FF2B5EF4-FFF2-40B4-BE49-F238E27FC236}">
                <a16:creationId xmlns:a16="http://schemas.microsoft.com/office/drawing/2014/main" id="{AAD96F82-E495-488E-A1D0-C37B7C2EE44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7941" name="Notes Placeholder 2">
            <a:extLst>
              <a:ext uri="{FF2B5EF4-FFF2-40B4-BE49-F238E27FC236}">
                <a16:creationId xmlns:a16="http://schemas.microsoft.com/office/drawing/2014/main" id="{5BB9F604-0BB0-429A-834E-94AF54EA7B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9913" y="4962525"/>
            <a:ext cx="5970587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67942" name="Slide Number Placeholder 3">
            <a:extLst>
              <a:ext uri="{FF2B5EF4-FFF2-40B4-BE49-F238E27FC236}">
                <a16:creationId xmlns:a16="http://schemas.microsoft.com/office/drawing/2014/main" id="{B714D64F-0027-4284-A139-C501F9DBD659}"/>
              </a:ext>
            </a:extLst>
          </p:cNvPr>
          <p:cNvSpPr txBox="1">
            <a:spLocks noGrp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4D1008A8-C36B-4670-9D5D-A89D8E84A080}" type="slidenum">
              <a:rPr lang="en-US" altLang="en-US"/>
              <a:pPr algn="r" eaLnBrk="1" hangingPunct="1"/>
              <a:t>11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EA5FCEF2-83E4-4B0F-89A6-4AF05A34874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56218E6-6AAE-4ABC-9765-46FF3B425933}" type="slidenum">
              <a:rPr lang="en-US" altLang="en-US">
                <a:solidFill>
                  <a:schemeClr val="tx1"/>
                </a:solidFill>
              </a:rPr>
              <a:pPr eaLnBrk="1" hangingPunct="1"/>
              <a:t>12</a:t>
            </a:fld>
            <a:endParaRPr lang="en-US" altLang="en-US">
              <a:solidFill>
                <a:schemeClr val="tx1"/>
              </a:solidFill>
            </a:endParaRPr>
          </a:p>
        </p:txBody>
      </p:sp>
      <p:sp>
        <p:nvSpPr>
          <p:cNvPr id="169987" name="Rectangle 7">
            <a:extLst>
              <a:ext uri="{FF2B5EF4-FFF2-40B4-BE49-F238E27FC236}">
                <a16:creationId xmlns:a16="http://schemas.microsoft.com/office/drawing/2014/main" id="{65CC8A5F-8982-44BC-B251-68C7161BA2BF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6B57E9C6-C3DD-4B74-9BFF-B452AA3AB34A}" type="slidenum">
              <a:rPr lang="en-US" altLang="en-US"/>
              <a:pPr algn="r" eaLnBrk="1" hangingPunct="1"/>
              <a:t>12</a:t>
            </a:fld>
            <a:endParaRPr lang="en-US" altLang="en-US"/>
          </a:p>
        </p:txBody>
      </p:sp>
      <p:sp>
        <p:nvSpPr>
          <p:cNvPr id="169988" name="Slide Image Placeholder 1">
            <a:extLst>
              <a:ext uri="{FF2B5EF4-FFF2-40B4-BE49-F238E27FC236}">
                <a16:creationId xmlns:a16="http://schemas.microsoft.com/office/drawing/2014/main" id="{0FDF6B04-F4D5-421A-86E5-803D047C899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9989" name="Notes Placeholder 2">
            <a:extLst>
              <a:ext uri="{FF2B5EF4-FFF2-40B4-BE49-F238E27FC236}">
                <a16:creationId xmlns:a16="http://schemas.microsoft.com/office/drawing/2014/main" id="{583298AE-6CCA-4EB1-8572-FE7AA6D128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9913" y="4962525"/>
            <a:ext cx="5970587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69990" name="Slide Number Placeholder 3">
            <a:extLst>
              <a:ext uri="{FF2B5EF4-FFF2-40B4-BE49-F238E27FC236}">
                <a16:creationId xmlns:a16="http://schemas.microsoft.com/office/drawing/2014/main" id="{1ECEB310-1F9B-4AAA-8E06-B15FD9655916}"/>
              </a:ext>
            </a:extLst>
          </p:cNvPr>
          <p:cNvSpPr txBox="1">
            <a:spLocks noGrp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0120ED0C-33A6-425B-B6B1-21CC0B7D7798}" type="slidenum">
              <a:rPr lang="en-US" altLang="en-US"/>
              <a:pPr algn="r" eaLnBrk="1" hangingPunct="1"/>
              <a:t>12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8D7B5D4B-4F19-42B4-BCF8-7A548F22FB3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33C2B550-B1EE-4C95-8E8C-980E888F692B}" type="slidenum">
              <a:rPr lang="en-US" altLang="en-US">
                <a:solidFill>
                  <a:schemeClr val="tx1"/>
                </a:solidFill>
              </a:rPr>
              <a:pPr eaLnBrk="1" hangingPunct="1"/>
              <a:t>13</a:t>
            </a:fld>
            <a:endParaRPr lang="en-US" altLang="en-US">
              <a:solidFill>
                <a:schemeClr val="tx1"/>
              </a:solidFill>
            </a:endParaRPr>
          </a:p>
        </p:txBody>
      </p:sp>
      <p:sp>
        <p:nvSpPr>
          <p:cNvPr id="171011" name="Rectangle 7">
            <a:extLst>
              <a:ext uri="{FF2B5EF4-FFF2-40B4-BE49-F238E27FC236}">
                <a16:creationId xmlns:a16="http://schemas.microsoft.com/office/drawing/2014/main" id="{16827C02-5027-4FE9-A92A-5C142D503828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B9B873D5-1EB4-434E-82A1-7E85CB367730}" type="slidenum">
              <a:rPr lang="en-US" altLang="en-US"/>
              <a:pPr algn="r" eaLnBrk="1" hangingPunct="1"/>
              <a:t>13</a:t>
            </a:fld>
            <a:endParaRPr lang="en-US" altLang="en-US"/>
          </a:p>
        </p:txBody>
      </p:sp>
      <p:sp>
        <p:nvSpPr>
          <p:cNvPr id="171012" name="Slide Image Placeholder 1">
            <a:extLst>
              <a:ext uri="{FF2B5EF4-FFF2-40B4-BE49-F238E27FC236}">
                <a16:creationId xmlns:a16="http://schemas.microsoft.com/office/drawing/2014/main" id="{AA834C21-870E-4BE4-866F-394A4927543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1013" name="Notes Placeholder 2">
            <a:extLst>
              <a:ext uri="{FF2B5EF4-FFF2-40B4-BE49-F238E27FC236}">
                <a16:creationId xmlns:a16="http://schemas.microsoft.com/office/drawing/2014/main" id="{C2B1E682-979B-407D-95B5-B8878F384A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9913" y="4962525"/>
            <a:ext cx="5970587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71014" name="Slide Number Placeholder 3">
            <a:extLst>
              <a:ext uri="{FF2B5EF4-FFF2-40B4-BE49-F238E27FC236}">
                <a16:creationId xmlns:a16="http://schemas.microsoft.com/office/drawing/2014/main" id="{CCE4E21F-4338-4D7F-9665-65E5771461B1}"/>
              </a:ext>
            </a:extLst>
          </p:cNvPr>
          <p:cNvSpPr txBox="1">
            <a:spLocks noGrp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E2F64D89-F156-4E57-AC67-68DF876269DD}" type="slidenum">
              <a:rPr lang="en-US" altLang="en-US"/>
              <a:pPr algn="r" eaLnBrk="1" hangingPunct="1"/>
              <a:t>13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18002D8F-DB6A-4901-B9F3-A55A6290F90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C85CF223-B49C-436E-BCDD-157ECCE9E852}" type="slidenum">
              <a:rPr lang="en-US" altLang="en-US">
                <a:solidFill>
                  <a:schemeClr val="tx1"/>
                </a:solidFill>
              </a:rPr>
              <a:pPr eaLnBrk="1" hangingPunct="1"/>
              <a:t>14</a:t>
            </a:fld>
            <a:endParaRPr lang="en-US" altLang="en-US">
              <a:solidFill>
                <a:schemeClr val="tx1"/>
              </a:solidFill>
            </a:endParaRPr>
          </a:p>
        </p:txBody>
      </p:sp>
      <p:sp>
        <p:nvSpPr>
          <p:cNvPr id="172035" name="Rectangle 7">
            <a:extLst>
              <a:ext uri="{FF2B5EF4-FFF2-40B4-BE49-F238E27FC236}">
                <a16:creationId xmlns:a16="http://schemas.microsoft.com/office/drawing/2014/main" id="{1DC071C6-C518-4469-88C7-1472A38B9878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52772903-91E9-4502-96B9-BAAB9FEA6A13}" type="slidenum">
              <a:rPr lang="en-US" altLang="en-US"/>
              <a:pPr algn="r" eaLnBrk="1" hangingPunct="1"/>
              <a:t>14</a:t>
            </a:fld>
            <a:endParaRPr lang="en-US" altLang="en-US"/>
          </a:p>
        </p:txBody>
      </p:sp>
      <p:sp>
        <p:nvSpPr>
          <p:cNvPr id="172036" name="Slide Image Placeholder 1">
            <a:extLst>
              <a:ext uri="{FF2B5EF4-FFF2-40B4-BE49-F238E27FC236}">
                <a16:creationId xmlns:a16="http://schemas.microsoft.com/office/drawing/2014/main" id="{05057B48-1521-42C0-B6AA-790AC0D0E75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2037" name="Notes Placeholder 2">
            <a:extLst>
              <a:ext uri="{FF2B5EF4-FFF2-40B4-BE49-F238E27FC236}">
                <a16:creationId xmlns:a16="http://schemas.microsoft.com/office/drawing/2014/main" id="{1A515526-3BE1-435F-96FD-CB695460AC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9913" y="4962525"/>
            <a:ext cx="5970587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72038" name="Slide Number Placeholder 3">
            <a:extLst>
              <a:ext uri="{FF2B5EF4-FFF2-40B4-BE49-F238E27FC236}">
                <a16:creationId xmlns:a16="http://schemas.microsoft.com/office/drawing/2014/main" id="{EAA432B2-B682-43E5-A79C-7900C94B0327}"/>
              </a:ext>
            </a:extLst>
          </p:cNvPr>
          <p:cNvSpPr txBox="1">
            <a:spLocks noGrp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AF951267-1AE8-4F8F-8265-E0D5AABD76DB}" type="slidenum">
              <a:rPr lang="en-US" altLang="en-US"/>
              <a:pPr algn="r" eaLnBrk="1" hangingPunct="1"/>
              <a:t>14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For points two and three (Food security policy analysis and Nutrition policy analysis , we explain </a:t>
            </a:r>
          </a:p>
          <a:p>
            <a:endParaRPr lang="en-US" sz="2400" dirty="0"/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y is this problem frontier problem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needs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hodology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 (copy pas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5962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6677" y="4913110"/>
            <a:ext cx="5842795" cy="219842"/>
          </a:xfrm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6677" y="4913110"/>
            <a:ext cx="5842795" cy="219842"/>
          </a:xfrm>
          <a:noFill/>
          <a:ln/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For points two and three (Food security policy analysis and Nutrition policy analysis , we explain </a:t>
            </a:r>
          </a:p>
          <a:p>
            <a:endParaRPr lang="en-US" sz="2400" dirty="0"/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y is this problem frontier problem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needs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hodology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 (copy pas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5059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For points two and three (Food security policy analysis and Nutrition policy analysis , we explain </a:t>
            </a:r>
          </a:p>
          <a:p>
            <a:endParaRPr lang="en-US" sz="2400" dirty="0"/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y is this problem frontier problem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needs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hodology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 (copy pas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1663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53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4138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For points two and three (Food security policy analysis and Nutrition policy analysis , we explain </a:t>
            </a:r>
          </a:p>
          <a:p>
            <a:endParaRPr lang="en-US" sz="2400" dirty="0"/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y is this problem frontier problem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needs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hodology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 (copy pas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656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For points two and three (Food security policy analysis and Nutrition policy analysis , we explain </a:t>
            </a:r>
          </a:p>
          <a:p>
            <a:endParaRPr lang="en-US" sz="2400" dirty="0"/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y is this problem frontier problem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needs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hodology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 (copy pas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000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182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For points two and three (Food security policy analysis and Nutrition policy analysis , we explain </a:t>
            </a:r>
          </a:p>
          <a:p>
            <a:endParaRPr lang="en-US" sz="2400" dirty="0"/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y is this problem frontier problem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needs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hodology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 (copy pas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958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278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For points two and three (Food security policy analysis and Nutrition policy analysis , we explain </a:t>
            </a:r>
          </a:p>
          <a:p>
            <a:endParaRPr lang="en-US" sz="2400" dirty="0"/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y is this problem frontier problem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needs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hodology </a:t>
            </a:r>
          </a:p>
          <a:p>
            <a:pPr rtl="0" fontAlgn="ctr"/>
            <a:r>
              <a:rPr lang="en-US" sz="2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 (copy pas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5CF23-AF96-4AF9-AD67-61F320B196D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065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9781549A-E934-4194-BF0F-5D461FB82F5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FD176E64-2973-4174-AAA6-A90A597C9848}" type="slidenum">
              <a:rPr lang="en-US" altLang="en-US">
                <a:solidFill>
                  <a:schemeClr val="tx1"/>
                </a:solidFill>
              </a:rPr>
              <a:pPr eaLnBrk="1" hangingPunct="1"/>
              <a:t>8</a:t>
            </a:fld>
            <a:endParaRPr lang="en-US" altLang="en-US">
              <a:solidFill>
                <a:schemeClr val="tx1"/>
              </a:solidFill>
            </a:endParaRPr>
          </a:p>
        </p:txBody>
      </p:sp>
      <p:sp>
        <p:nvSpPr>
          <p:cNvPr id="164867" name="Rectangle 7">
            <a:extLst>
              <a:ext uri="{FF2B5EF4-FFF2-40B4-BE49-F238E27FC236}">
                <a16:creationId xmlns:a16="http://schemas.microsoft.com/office/drawing/2014/main" id="{ABCB974A-C828-450D-9830-71FDFC7FD95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F457296D-01A6-4B86-997F-16B3A4A728BD}" type="slidenum">
              <a:rPr lang="en-US" altLang="en-US"/>
              <a:pPr algn="r" eaLnBrk="1" hangingPunct="1"/>
              <a:t>8</a:t>
            </a:fld>
            <a:endParaRPr lang="en-US" altLang="en-US"/>
          </a:p>
        </p:txBody>
      </p:sp>
      <p:sp>
        <p:nvSpPr>
          <p:cNvPr id="164868" name="Slide Image Placeholder 1">
            <a:extLst>
              <a:ext uri="{FF2B5EF4-FFF2-40B4-BE49-F238E27FC236}">
                <a16:creationId xmlns:a16="http://schemas.microsoft.com/office/drawing/2014/main" id="{0D2B2681-1C80-4464-97DD-34076A2B9F8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4869" name="Notes Placeholder 2">
            <a:extLst>
              <a:ext uri="{FF2B5EF4-FFF2-40B4-BE49-F238E27FC236}">
                <a16:creationId xmlns:a16="http://schemas.microsoft.com/office/drawing/2014/main" id="{F596A227-7586-4CC8-96D7-2E6434CA6E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9913" y="4962525"/>
            <a:ext cx="5970587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64870" name="Slide Number Placeholder 3">
            <a:extLst>
              <a:ext uri="{FF2B5EF4-FFF2-40B4-BE49-F238E27FC236}">
                <a16:creationId xmlns:a16="http://schemas.microsoft.com/office/drawing/2014/main" id="{020D76DE-1CD0-4A57-93B4-4F1CC46E8E30}"/>
              </a:ext>
            </a:extLst>
          </p:cNvPr>
          <p:cNvSpPr txBox="1">
            <a:spLocks noGrp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B6CDD140-E51E-499B-86BE-E018EF16EEA0}" type="slidenum">
              <a:rPr lang="en-US" altLang="en-US"/>
              <a:pPr algn="r" eaLnBrk="1" hangingPunct="1"/>
              <a:t>8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E41F5D7B-2FB9-4988-85AA-87C11F5C5A7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85358FC1-ADA3-4274-AB3C-BDE09D9BA7FE}" type="slidenum">
              <a:rPr lang="en-US" altLang="en-US">
                <a:solidFill>
                  <a:schemeClr val="tx1"/>
                </a:solidFill>
              </a:rPr>
              <a:pPr eaLnBrk="1" hangingPunct="1"/>
              <a:t>9</a:t>
            </a:fld>
            <a:endParaRPr lang="en-US" altLang="en-US">
              <a:solidFill>
                <a:schemeClr val="tx1"/>
              </a:solidFill>
            </a:endParaRPr>
          </a:p>
        </p:txBody>
      </p:sp>
      <p:sp>
        <p:nvSpPr>
          <p:cNvPr id="165891" name="Rectangle 7">
            <a:extLst>
              <a:ext uri="{FF2B5EF4-FFF2-40B4-BE49-F238E27FC236}">
                <a16:creationId xmlns:a16="http://schemas.microsoft.com/office/drawing/2014/main" id="{0ECC1185-46E9-46C9-858D-681929BCC788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E4C0B942-3E5D-4936-B835-826A3CB34B85}" type="slidenum">
              <a:rPr lang="en-US" altLang="en-US"/>
              <a:pPr algn="r" eaLnBrk="1" hangingPunct="1"/>
              <a:t>9</a:t>
            </a:fld>
            <a:endParaRPr lang="en-US" altLang="en-US"/>
          </a:p>
        </p:txBody>
      </p:sp>
      <p:sp>
        <p:nvSpPr>
          <p:cNvPr id="165892" name="Slide Image Placeholder 1">
            <a:extLst>
              <a:ext uri="{FF2B5EF4-FFF2-40B4-BE49-F238E27FC236}">
                <a16:creationId xmlns:a16="http://schemas.microsoft.com/office/drawing/2014/main" id="{8A2BE9B5-1E7F-4B90-A5F2-32FCEDC5AE6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5893" name="Notes Placeholder 2">
            <a:extLst>
              <a:ext uri="{FF2B5EF4-FFF2-40B4-BE49-F238E27FC236}">
                <a16:creationId xmlns:a16="http://schemas.microsoft.com/office/drawing/2014/main" id="{ADD21419-0EB9-475A-B7B2-2D62BA717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9913" y="4962525"/>
            <a:ext cx="5970587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65894" name="Slide Number Placeholder 3">
            <a:extLst>
              <a:ext uri="{FF2B5EF4-FFF2-40B4-BE49-F238E27FC236}">
                <a16:creationId xmlns:a16="http://schemas.microsoft.com/office/drawing/2014/main" id="{5FFC9F23-09E7-460B-A944-1772B215DFDD}"/>
              </a:ext>
            </a:extLst>
          </p:cNvPr>
          <p:cNvSpPr txBox="1">
            <a:spLocks noGrp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6E6C5205-7C31-4B24-BADD-68513F5958D8}" type="slidenum">
              <a:rPr lang="en-US" altLang="en-US"/>
              <a:pPr algn="r" eaLnBrk="1" hangingPunct="1"/>
              <a:t>9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96BC0090-4E03-4A5A-B405-FEBC713F4B4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3125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98118A1-519F-4DEA-A680-256C4C8A3ABA}" type="slidenum">
              <a:rPr lang="en-US" altLang="en-US">
                <a:solidFill>
                  <a:schemeClr val="tx1"/>
                </a:solidFill>
              </a:rPr>
              <a:pPr eaLnBrk="1" hangingPunct="1"/>
              <a:t>10</a:t>
            </a:fld>
            <a:endParaRPr lang="en-US" altLang="en-US">
              <a:solidFill>
                <a:schemeClr val="tx1"/>
              </a:solidFill>
            </a:endParaRPr>
          </a:p>
        </p:txBody>
      </p:sp>
      <p:sp>
        <p:nvSpPr>
          <p:cNvPr id="166915" name="Rectangle 7">
            <a:extLst>
              <a:ext uri="{FF2B5EF4-FFF2-40B4-BE49-F238E27FC236}">
                <a16:creationId xmlns:a16="http://schemas.microsoft.com/office/drawing/2014/main" id="{2D097140-D747-47C2-94F1-2DC76AF1749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BCFA3120-71A8-40B6-8A13-93470B9F9CCB}" type="slidenum">
              <a:rPr lang="en-US" altLang="en-US"/>
              <a:pPr algn="r" eaLnBrk="1" hangingPunct="1"/>
              <a:t>10</a:t>
            </a:fld>
            <a:endParaRPr lang="en-US" altLang="en-US"/>
          </a:p>
        </p:txBody>
      </p:sp>
      <p:sp>
        <p:nvSpPr>
          <p:cNvPr id="166916" name="Slide Image Placeholder 1">
            <a:extLst>
              <a:ext uri="{FF2B5EF4-FFF2-40B4-BE49-F238E27FC236}">
                <a16:creationId xmlns:a16="http://schemas.microsoft.com/office/drawing/2014/main" id="{ED9E53E0-AA9A-4E7D-B588-C1CB9F0324A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6917" name="Notes Placeholder 2">
            <a:extLst>
              <a:ext uri="{FF2B5EF4-FFF2-40B4-BE49-F238E27FC236}">
                <a16:creationId xmlns:a16="http://schemas.microsoft.com/office/drawing/2014/main" id="{755405AB-C417-48A7-A74E-CB6DBD69BF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9913" y="4962525"/>
            <a:ext cx="5970587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66918" name="Slide Number Placeholder 3">
            <a:extLst>
              <a:ext uri="{FF2B5EF4-FFF2-40B4-BE49-F238E27FC236}">
                <a16:creationId xmlns:a16="http://schemas.microsoft.com/office/drawing/2014/main" id="{E50996BA-75F3-4F49-8C33-07A41729E080}"/>
              </a:ext>
            </a:extLst>
          </p:cNvPr>
          <p:cNvSpPr txBox="1">
            <a:spLocks noGrp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61" tIns="44680" rIns="89361" bIns="44680" anchor="b"/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F69B73C5-90B4-48C3-B02B-117D6D3DCF08}" type="slidenum">
              <a:rPr lang="en-US" altLang="en-US"/>
              <a:pPr algn="r" eaLnBrk="1" hangingPunct="1"/>
              <a:t>10</a:t>
            </a:fld>
            <a:endParaRPr lang="en-U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FPRI 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309396" cy="6858000"/>
          </a:xfrm>
          <a:prstGeom prst="rect">
            <a:avLst/>
          </a:prstGeom>
          <a:solidFill>
            <a:srgbClr val="439E2E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426" y="616061"/>
            <a:ext cx="800544" cy="1467664"/>
          </a:xfrm>
          <a:prstGeom prst="rect">
            <a:avLst/>
          </a:prstGeom>
          <a:noFill/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625442" y="990600"/>
            <a:ext cx="4831765" cy="1423988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439E2E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sz="33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25442" y="503238"/>
            <a:ext cx="6889909" cy="1693310"/>
          </a:xfrm>
        </p:spPr>
        <p:txBody>
          <a:bodyPr/>
          <a:lstStyle>
            <a:lvl1pPr>
              <a:defRPr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 THIS SPACE CAN RUN TWO LIN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625441" y="3548615"/>
            <a:ext cx="6800850" cy="240492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sz="1800" dirty="0"/>
              <a:t>Name</a:t>
            </a:r>
            <a:br>
              <a:rPr lang="en-US" sz="1800" dirty="0"/>
            </a:br>
            <a:r>
              <a:rPr lang="en-US" sz="1800" dirty="0"/>
              <a:t>Department/Division</a:t>
            </a:r>
            <a:br>
              <a:rPr lang="en-US" sz="1800" dirty="0"/>
            </a:br>
            <a:r>
              <a:rPr lang="en-US" sz="1800" dirty="0"/>
              <a:t>International Food Policy Research Institut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Location | Date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625441" y="2316164"/>
            <a:ext cx="6800850" cy="745089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5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-title goes here</a:t>
            </a:r>
            <a:br>
              <a:rPr lang="en-US" dirty="0"/>
            </a:br>
            <a:r>
              <a:rPr lang="en-US" dirty="0"/>
              <a:t>&amp; can run two lines</a:t>
            </a:r>
          </a:p>
          <a:p>
            <a:pPr lvl="0"/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2"/>
          </p:nvPr>
        </p:nvSpPr>
        <p:spPr>
          <a:xfrm>
            <a:off x="1625441" y="6193046"/>
            <a:ext cx="2057400" cy="365125"/>
          </a:xfrm>
        </p:spPr>
        <p:txBody>
          <a:bodyPr/>
          <a:lstStyle/>
          <a:p>
            <a:fld id="{F54A5AFE-9A4C-9443-92D6-A4D7FDF824DC}" type="datetimeFigureOut">
              <a:rPr lang="en-US" smtClean="0"/>
              <a:t>4/7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658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309396" cy="6858000"/>
          </a:xfrm>
          <a:prstGeom prst="rect">
            <a:avLst/>
          </a:prstGeom>
          <a:solidFill>
            <a:srgbClr val="439E2E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625443" y="938595"/>
            <a:ext cx="4831765" cy="1423988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439E2E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sz="3300" dirty="0"/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1625442" y="2503273"/>
            <a:ext cx="7059334" cy="864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None/>
              <a:defRPr sz="2800" b="0" i="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20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8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6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6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100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625442" y="4334495"/>
            <a:ext cx="7059334" cy="210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None/>
              <a:defRPr sz="2800" b="0" i="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20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8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6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6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5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0683" y="5287837"/>
            <a:ext cx="2358108" cy="1331403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1625442" y="990600"/>
            <a:ext cx="4831765" cy="1423988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439E2E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sz="33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625442" y="503238"/>
            <a:ext cx="6889909" cy="1693310"/>
          </a:xfrm>
        </p:spPr>
        <p:txBody>
          <a:bodyPr/>
          <a:lstStyle>
            <a:lvl1pPr>
              <a:defRPr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 THIS SPACE CAN RUN TWO LINES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625441" y="3548615"/>
            <a:ext cx="6800850" cy="240492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sz="1800" dirty="0"/>
              <a:t>Name</a:t>
            </a:r>
            <a:br>
              <a:rPr lang="en-US" sz="1800" dirty="0"/>
            </a:br>
            <a:r>
              <a:rPr lang="en-US" sz="1800" dirty="0"/>
              <a:t>Department/Division</a:t>
            </a:r>
            <a:br>
              <a:rPr lang="en-US" sz="1800" dirty="0"/>
            </a:br>
            <a:r>
              <a:rPr lang="en-US" sz="1800" dirty="0"/>
              <a:t>International Food Policy Research Institut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Location | Dat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625441" y="2316164"/>
            <a:ext cx="6800850" cy="745089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5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-title goes here</a:t>
            </a:r>
            <a:br>
              <a:rPr lang="en-US" dirty="0"/>
            </a:br>
            <a:r>
              <a:rPr lang="en-US" dirty="0"/>
              <a:t>&amp; can run two lines</a:t>
            </a:r>
          </a:p>
          <a:p>
            <a:pPr lvl="0"/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426" y="616061"/>
            <a:ext cx="800544" cy="14676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97326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4N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309396" cy="6858000"/>
          </a:xfrm>
          <a:prstGeom prst="rect">
            <a:avLst/>
          </a:prstGeom>
          <a:solidFill>
            <a:srgbClr val="439E2E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625443" y="938595"/>
            <a:ext cx="4831765" cy="1423988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439E2E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sz="3300" dirty="0"/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1625442" y="2503273"/>
            <a:ext cx="7059334" cy="8646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None/>
              <a:defRPr sz="2800" b="0" i="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20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8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6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6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100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625442" y="4334495"/>
            <a:ext cx="7059334" cy="21019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charset="2"/>
              <a:buNone/>
              <a:defRPr sz="2800" b="0" i="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20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8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6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charset="0"/>
              <a:buNone/>
              <a:defRPr sz="1600" b="0" i="0" kern="1200">
                <a:solidFill>
                  <a:srgbClr val="435464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5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979" y="5247859"/>
            <a:ext cx="2645294" cy="1481619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625442" y="503238"/>
            <a:ext cx="6889909" cy="1693310"/>
          </a:xfrm>
        </p:spPr>
        <p:txBody>
          <a:bodyPr/>
          <a:lstStyle>
            <a:lvl1pPr>
              <a:defRPr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 THIS SPACE CAN RUN TWO LIN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625441" y="3548615"/>
            <a:ext cx="6800850" cy="240492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sz="1800" dirty="0"/>
              <a:t>Name</a:t>
            </a:r>
            <a:br>
              <a:rPr lang="en-US" sz="1800" dirty="0"/>
            </a:br>
            <a:r>
              <a:rPr lang="en-US" sz="1800" dirty="0"/>
              <a:t>Department/Division</a:t>
            </a:r>
            <a:br>
              <a:rPr lang="en-US" sz="1800" dirty="0"/>
            </a:br>
            <a:r>
              <a:rPr lang="en-US" sz="1800" dirty="0"/>
              <a:t>International Food Policy Research Institute</a:t>
            </a: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Location | Dat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625441" y="2316164"/>
            <a:ext cx="6800850" cy="745089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5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-title goes here</a:t>
            </a:r>
            <a:br>
              <a:rPr lang="en-US" dirty="0"/>
            </a:br>
            <a:r>
              <a:rPr lang="en-US" dirty="0"/>
              <a:t>&amp; can run two lines</a:t>
            </a:r>
          </a:p>
          <a:p>
            <a:pPr lvl="0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426" y="616061"/>
            <a:ext cx="800544" cy="14676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0324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46904" y="-1"/>
            <a:ext cx="216358" cy="5943601"/>
          </a:xfrm>
          <a:prstGeom prst="rect">
            <a:avLst/>
          </a:prstGeom>
          <a:gradFill>
            <a:gsLst>
              <a:gs pos="0">
                <a:srgbClr val="439E2E">
                  <a:alpha val="20000"/>
                </a:srgbClr>
              </a:gs>
              <a:gs pos="100000">
                <a:srgbClr val="439E2E"/>
              </a:gs>
            </a:gsLst>
            <a:lin ang="5400000" scaled="1"/>
          </a:gra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3620" y="503238"/>
            <a:ext cx="8058149" cy="1693310"/>
          </a:xfrm>
        </p:spPr>
        <p:txBody>
          <a:bodyPr/>
          <a:lstStyle>
            <a:lvl1pPr>
              <a:defRPr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 THIS SPACE CAN RUN TWO LIN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46440" y="4452730"/>
            <a:ext cx="8045330" cy="1500808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150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sz="1800" dirty="0"/>
              <a:t>Name</a:t>
            </a:r>
            <a:br>
              <a:rPr lang="en-US" sz="1800" dirty="0"/>
            </a:br>
            <a:r>
              <a:rPr lang="en-US" sz="1800" dirty="0"/>
              <a:t>Department/Division, International Food Policy Research Institute</a:t>
            </a: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Location | Dat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46440" y="2316164"/>
            <a:ext cx="8045330" cy="745089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5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-title goes here</a:t>
            </a:r>
            <a:br>
              <a:rPr lang="en-US" dirty="0"/>
            </a:br>
            <a:r>
              <a:rPr lang="en-US" dirty="0"/>
              <a:t>&amp; can run two lines</a:t>
            </a:r>
          </a:p>
          <a:p>
            <a:pPr lvl="0"/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48" y="6138684"/>
            <a:ext cx="262929" cy="43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4397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100" b="1"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14350" indent="-171450">
              <a:buFont typeface="Courier New" charset="0"/>
              <a:buChar char="o"/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Rectangle 6"/>
          <p:cNvSpPr/>
          <p:nvPr/>
        </p:nvSpPr>
        <p:spPr>
          <a:xfrm>
            <a:off x="146904" y="-1"/>
            <a:ext cx="216358" cy="5943601"/>
          </a:xfrm>
          <a:prstGeom prst="rect">
            <a:avLst/>
          </a:prstGeom>
          <a:gradFill>
            <a:gsLst>
              <a:gs pos="0">
                <a:srgbClr val="439E2E">
                  <a:alpha val="20000"/>
                </a:srgbClr>
              </a:gs>
              <a:gs pos="100000">
                <a:srgbClr val="439E2E"/>
              </a:gs>
            </a:gsLst>
            <a:lin ang="5400000" scaled="1"/>
          </a:gra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48" y="6138684"/>
            <a:ext cx="262929" cy="43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1730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Content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100" b="1" baseline="0">
                <a:solidFill>
                  <a:srgbClr val="435464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" name="Rectangle 7"/>
          <p:cNvSpPr/>
          <p:nvPr/>
        </p:nvSpPr>
        <p:spPr>
          <a:xfrm>
            <a:off x="146904" y="-1"/>
            <a:ext cx="216358" cy="5943601"/>
          </a:xfrm>
          <a:prstGeom prst="rect">
            <a:avLst/>
          </a:prstGeom>
          <a:gradFill>
            <a:gsLst>
              <a:gs pos="0">
                <a:srgbClr val="439E2E">
                  <a:alpha val="20000"/>
                </a:srgbClr>
              </a:gs>
              <a:gs pos="100000">
                <a:srgbClr val="439E2E"/>
              </a:gs>
            </a:gsLst>
            <a:lin ang="5400000" scaled="1"/>
          </a:gra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48" y="6138684"/>
            <a:ext cx="266670" cy="588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59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l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46904" y="-1"/>
            <a:ext cx="216358" cy="5943601"/>
          </a:xfrm>
          <a:prstGeom prst="rect">
            <a:avLst/>
          </a:prstGeom>
          <a:gradFill>
            <a:gsLst>
              <a:gs pos="0">
                <a:srgbClr val="439E2E">
                  <a:alpha val="20000"/>
                </a:srgbClr>
              </a:gs>
              <a:gs pos="100000">
                <a:srgbClr val="439E2E"/>
              </a:gs>
            </a:gsLst>
            <a:lin ang="5400000" scaled="1"/>
          </a:gra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48" y="6138684"/>
            <a:ext cx="262929" cy="43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02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02481" y="280216"/>
            <a:ext cx="8944759" cy="594446"/>
          </a:xfrm>
          <a:prstGeom prst="rect">
            <a:avLst/>
          </a:prstGeom>
        </p:spPr>
        <p:txBody>
          <a:bodyPr/>
          <a:lstStyle>
            <a:lvl1pPr>
              <a:defRPr sz="285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0">
            <a:extLst>
              <a:ext uri="{FF2B5EF4-FFF2-40B4-BE49-F238E27FC236}">
                <a16:creationId xmlns:a16="http://schemas.microsoft.com/office/drawing/2014/main" id="{E6907A44-11DC-47B3-8506-BBBD6C7DE5D0}"/>
              </a:ext>
            </a:extLst>
          </p:cNvPr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2961DA6-2E82-479D-AA05-4E88298C539E}" type="slidenum">
              <a:rPr lang="en-GB" altLang="en-US"/>
              <a:pPr/>
              <a:t>‹#›</a:t>
            </a:fld>
            <a:r>
              <a:rPr lang="en-GB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5199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4A5AFE-9A4C-9443-92D6-A4D7FDF824DC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14C31E-DA4C-F44D-B44A-157C5C055E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195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39" r:id="rId2"/>
    <p:sldLayoutId id="2147483741" r:id="rId3"/>
    <p:sldLayoutId id="2147483742" r:id="rId4"/>
    <p:sldLayoutId id="2147483718" r:id="rId5"/>
    <p:sldLayoutId id="2147483723" r:id="rId6"/>
    <p:sldLayoutId id="2147483743" r:id="rId7"/>
    <p:sldLayoutId id="2147483744" r:id="rId8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rgbClr val="435464"/>
          </a:solidFill>
          <a:latin typeface="Arial" charset="0"/>
          <a:ea typeface="Arial" charset="0"/>
          <a:cs typeface="Arial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" charset="2"/>
        <a:buChar char="§"/>
        <a:defRPr sz="1800" b="0" i="0" kern="1200">
          <a:solidFill>
            <a:srgbClr val="435464"/>
          </a:solidFill>
          <a:latin typeface="Arial" charset="0"/>
          <a:ea typeface="Arial" charset="0"/>
          <a:cs typeface="Arial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charset="0"/>
        <a:buChar char="o"/>
        <a:defRPr sz="1800" b="0" i="0" kern="1200">
          <a:solidFill>
            <a:srgbClr val="435464"/>
          </a:solidFill>
          <a:latin typeface="Arial" charset="0"/>
          <a:ea typeface="Arial" charset="0"/>
          <a:cs typeface="Arial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charset="0"/>
        <a:buChar char="o"/>
        <a:defRPr sz="1800" b="0" i="0" kern="1200">
          <a:solidFill>
            <a:srgbClr val="435464"/>
          </a:solidFill>
          <a:latin typeface="Arial" charset="0"/>
          <a:ea typeface="Arial" charset="0"/>
          <a:cs typeface="Arial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charset="0"/>
        <a:buChar char="o"/>
        <a:defRPr sz="1800" b="0" i="0" kern="1200">
          <a:solidFill>
            <a:srgbClr val="435464"/>
          </a:solidFill>
          <a:latin typeface="Arial" charset="0"/>
          <a:ea typeface="Arial" charset="0"/>
          <a:cs typeface="Arial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charset="0"/>
        <a:buChar char="o"/>
        <a:defRPr sz="1800" b="0" i="0" kern="1200">
          <a:solidFill>
            <a:srgbClr val="435464"/>
          </a:solidFill>
          <a:latin typeface="Arial" charset="0"/>
          <a:ea typeface="Arial" charset="0"/>
          <a:cs typeface="Arial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" Type="http://schemas.openxmlformats.org/officeDocument/2006/relationships/tags" Target="../tags/tag7.xml"/><Relationship Id="rId71" Type="http://schemas.openxmlformats.org/officeDocument/2006/relationships/oleObject" Target="../embeddings/oleObject1.bin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slideLayout" Target="../slideLayouts/slideLayout5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image" Target="../media/image5.emf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tags" Target="../tags/tag93.xml"/><Relationship Id="rId39" Type="http://schemas.openxmlformats.org/officeDocument/2006/relationships/tags" Target="../tags/tag106.xml"/><Relationship Id="rId21" Type="http://schemas.openxmlformats.org/officeDocument/2006/relationships/tags" Target="../tags/tag88.xml"/><Relationship Id="rId34" Type="http://schemas.openxmlformats.org/officeDocument/2006/relationships/tags" Target="../tags/tag101.xml"/><Relationship Id="rId42" Type="http://schemas.openxmlformats.org/officeDocument/2006/relationships/tags" Target="../tags/tag109.xml"/><Relationship Id="rId47" Type="http://schemas.openxmlformats.org/officeDocument/2006/relationships/tags" Target="../tags/tag114.xml"/><Relationship Id="rId50" Type="http://schemas.openxmlformats.org/officeDocument/2006/relationships/tags" Target="../tags/tag117.xml"/><Relationship Id="rId55" Type="http://schemas.openxmlformats.org/officeDocument/2006/relationships/tags" Target="../tags/tag122.xml"/><Relationship Id="rId63" Type="http://schemas.openxmlformats.org/officeDocument/2006/relationships/image" Target="../media/image5.emf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29" Type="http://schemas.openxmlformats.org/officeDocument/2006/relationships/tags" Target="../tags/tag96.xml"/><Relationship Id="rId41" Type="http://schemas.openxmlformats.org/officeDocument/2006/relationships/tags" Target="../tags/tag108.xml"/><Relationship Id="rId54" Type="http://schemas.openxmlformats.org/officeDocument/2006/relationships/tags" Target="../tags/tag121.xml"/><Relationship Id="rId62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tags" Target="../tags/tag91.xml"/><Relationship Id="rId32" Type="http://schemas.openxmlformats.org/officeDocument/2006/relationships/tags" Target="../tags/tag99.xml"/><Relationship Id="rId37" Type="http://schemas.openxmlformats.org/officeDocument/2006/relationships/tags" Target="../tags/tag104.xml"/><Relationship Id="rId40" Type="http://schemas.openxmlformats.org/officeDocument/2006/relationships/tags" Target="../tags/tag107.xml"/><Relationship Id="rId45" Type="http://schemas.openxmlformats.org/officeDocument/2006/relationships/tags" Target="../tags/tag112.xml"/><Relationship Id="rId53" Type="http://schemas.openxmlformats.org/officeDocument/2006/relationships/tags" Target="../tags/tag120.xml"/><Relationship Id="rId58" Type="http://schemas.openxmlformats.org/officeDocument/2006/relationships/tags" Target="../tags/tag125.xml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28" Type="http://schemas.openxmlformats.org/officeDocument/2006/relationships/tags" Target="../tags/tag95.xml"/><Relationship Id="rId36" Type="http://schemas.openxmlformats.org/officeDocument/2006/relationships/tags" Target="../tags/tag103.xml"/><Relationship Id="rId49" Type="http://schemas.openxmlformats.org/officeDocument/2006/relationships/tags" Target="../tags/tag116.xml"/><Relationship Id="rId57" Type="http://schemas.openxmlformats.org/officeDocument/2006/relationships/tags" Target="../tags/tag124.xml"/><Relationship Id="rId61" Type="http://schemas.openxmlformats.org/officeDocument/2006/relationships/notesSlide" Target="../notesSlides/notesSlide16.xml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31" Type="http://schemas.openxmlformats.org/officeDocument/2006/relationships/tags" Target="../tags/tag98.xml"/><Relationship Id="rId44" Type="http://schemas.openxmlformats.org/officeDocument/2006/relationships/tags" Target="../tags/tag111.xml"/><Relationship Id="rId52" Type="http://schemas.openxmlformats.org/officeDocument/2006/relationships/tags" Target="../tags/tag119.xml"/><Relationship Id="rId60" Type="http://schemas.openxmlformats.org/officeDocument/2006/relationships/slideLayout" Target="../slideLayouts/slideLayout5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Relationship Id="rId27" Type="http://schemas.openxmlformats.org/officeDocument/2006/relationships/tags" Target="../tags/tag94.xml"/><Relationship Id="rId30" Type="http://schemas.openxmlformats.org/officeDocument/2006/relationships/tags" Target="../tags/tag97.xml"/><Relationship Id="rId35" Type="http://schemas.openxmlformats.org/officeDocument/2006/relationships/tags" Target="../tags/tag102.xml"/><Relationship Id="rId43" Type="http://schemas.openxmlformats.org/officeDocument/2006/relationships/tags" Target="../tags/tag110.xml"/><Relationship Id="rId48" Type="http://schemas.openxmlformats.org/officeDocument/2006/relationships/tags" Target="../tags/tag115.xml"/><Relationship Id="rId56" Type="http://schemas.openxmlformats.org/officeDocument/2006/relationships/tags" Target="../tags/tag123.xml"/><Relationship Id="rId8" Type="http://schemas.openxmlformats.org/officeDocument/2006/relationships/tags" Target="../tags/tag75.xml"/><Relationship Id="rId51" Type="http://schemas.openxmlformats.org/officeDocument/2006/relationships/tags" Target="../tags/tag118.xml"/><Relationship Id="rId3" Type="http://schemas.openxmlformats.org/officeDocument/2006/relationships/tags" Target="../tags/tag70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tags" Target="../tags/tag92.xml"/><Relationship Id="rId33" Type="http://schemas.openxmlformats.org/officeDocument/2006/relationships/tags" Target="../tags/tag100.xml"/><Relationship Id="rId38" Type="http://schemas.openxmlformats.org/officeDocument/2006/relationships/tags" Target="../tags/tag105.xml"/><Relationship Id="rId46" Type="http://schemas.openxmlformats.org/officeDocument/2006/relationships/tags" Target="../tags/tag113.xml"/><Relationship Id="rId59" Type="http://schemas.openxmlformats.org/officeDocument/2006/relationships/tags" Target="../tags/tag1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439" y="889365"/>
            <a:ext cx="8058149" cy="2293450"/>
          </a:xfrm>
        </p:spPr>
        <p:txBody>
          <a:bodyPr>
            <a:normAutofit/>
          </a:bodyPr>
          <a:lstStyle/>
          <a:p>
            <a:pPr algn="ctr"/>
            <a:r>
              <a:rPr lang="en-US" sz="4400" dirty="0">
                <a:solidFill>
                  <a:srgbClr val="48912B"/>
                </a:solidFill>
              </a:rPr>
              <a:t>Budgets and Budgeting Process in the Government: Ministry of Agricul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258" y="3182816"/>
            <a:ext cx="8045330" cy="3094892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/>
              <a:t>Suresh Chandra Babu	</a:t>
            </a:r>
          </a:p>
          <a:p>
            <a:pPr algn="ctr"/>
            <a:r>
              <a:rPr lang="en-US" dirty="0"/>
              <a:t>Senior Research Fellow and Head of Capacity Strengthening Program</a:t>
            </a:r>
          </a:p>
          <a:p>
            <a:pPr algn="ctr"/>
            <a:r>
              <a:rPr lang="en-US" dirty="0"/>
              <a:t>International Food Policy Research Institute, 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b="1" dirty="0"/>
              <a:t>Presented at  the Federal Ministry of Agriculture and Rural development</a:t>
            </a:r>
          </a:p>
          <a:p>
            <a:pPr algn="ctr"/>
            <a:r>
              <a:rPr lang="en-US" b="1" dirty="0"/>
              <a:t>Nigeria</a:t>
            </a:r>
          </a:p>
          <a:p>
            <a:pPr algn="ctr"/>
            <a:r>
              <a:rPr lang="en-US" b="1" dirty="0"/>
              <a:t>April 13, 2021</a:t>
            </a:r>
          </a:p>
        </p:txBody>
      </p:sp>
    </p:spTree>
    <p:extLst>
      <p:ext uri="{BB962C8B-B14F-4D97-AF65-F5344CB8AC3E}">
        <p14:creationId xmlns:p14="http://schemas.microsoft.com/office/powerpoint/2010/main" val="36927735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Title 11">
            <a:extLst>
              <a:ext uri="{FF2B5EF4-FFF2-40B4-BE49-F238E27FC236}">
                <a16:creationId xmlns:a16="http://schemas.microsoft.com/office/drawing/2014/main" id="{8D3B67C0-2DA3-49C9-AF77-AA4339957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39" y="328809"/>
            <a:ext cx="8944231" cy="594446"/>
          </a:xfrm>
        </p:spPr>
        <p:txBody>
          <a:bodyPr vert="horz" lIns="91431" tIns="45716" rIns="91431" bIns="45716" rtlCol="0" anchor="ctr">
            <a:normAutofit/>
          </a:bodyPr>
          <a:lstStyle/>
          <a:p>
            <a:pPr algn="ctr"/>
            <a:r>
              <a:rPr lang="en-US" altLang="en-US" sz="2449" b="1" dirty="0">
                <a:solidFill>
                  <a:schemeClr val="tx1"/>
                </a:solidFill>
              </a:rPr>
              <a:t>Supporting policies for success</a:t>
            </a:r>
            <a:endParaRPr lang="en-US" altLang="en-US" sz="2041" b="1" dirty="0"/>
          </a:p>
        </p:txBody>
      </p:sp>
      <p:sp>
        <p:nvSpPr>
          <p:cNvPr id="9219" name="Slide Number Placeholder 6">
            <a:extLst>
              <a:ext uri="{FF2B5EF4-FFF2-40B4-BE49-F238E27FC236}">
                <a16:creationId xmlns:a16="http://schemas.microsoft.com/office/drawing/2014/main" id="{860E369A-712C-44EE-AA85-0BB91C21D5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6749" y="6511376"/>
            <a:ext cx="427613" cy="366062"/>
          </a:xfrm>
        </p:spPr>
        <p:txBody>
          <a:bodyPr vert="horz" lIns="91431" tIns="45716" rIns="91431" bIns="45716" rtlCol="0" anchor="ctr"/>
          <a:lstStyle>
            <a:lvl1pPr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8032" indent="-29155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6203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2684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9165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5646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32128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8609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5090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</a:pPr>
            <a:fld id="{95BC517F-016A-4133-AB82-A05607D0F6AC}" type="slidenum">
              <a:rPr lang="en-US" altLang="en-US" sz="1020">
                <a:solidFill>
                  <a:schemeClr val="bg1"/>
                </a:solidFill>
              </a:rPr>
              <a:pPr eaLnBrk="1" hangingPunct="1">
                <a:buClr>
                  <a:schemeClr val="tx1"/>
                </a:buClr>
              </a:pPr>
              <a:t>10</a:t>
            </a:fld>
            <a:endParaRPr lang="en-US" altLang="en-US" sz="1020">
              <a:solidFill>
                <a:schemeClr val="bg1"/>
              </a:solidFill>
            </a:endParaRPr>
          </a:p>
        </p:txBody>
      </p:sp>
      <p:sp>
        <p:nvSpPr>
          <p:cNvPr id="48134" name="Rectangle 63">
            <a:extLst>
              <a:ext uri="{FF2B5EF4-FFF2-40B4-BE49-F238E27FC236}">
                <a16:creationId xmlns:a16="http://schemas.microsoft.com/office/drawing/2014/main" id="{33AEAEEB-E313-4211-8432-D0F880626E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920016"/>
            <a:ext cx="8743383" cy="736781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marL="1619" lvl="1" defTabSz="911906">
              <a:buClr>
                <a:schemeClr val="tx1"/>
              </a:buClr>
              <a:buSzPct val="120000"/>
              <a:defRPr/>
            </a:pPr>
            <a:r>
              <a:rPr lang="en-US" sz="2041" b="1" u="sng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Financial Service Policies </a:t>
            </a: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endParaRPr lang="en-US" sz="1632" b="1" dirty="0">
              <a:solidFill>
                <a:srgbClr val="000000"/>
              </a:solidFill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Incentives for access of farmers to weather index insurance to adapt to climate change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632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Remove the current monopoly on agricultural insurance by the National Agricultural Insurance Company and liberalize to allow private sector insurance companies</a:t>
            </a: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632" b="1" dirty="0">
              <a:solidFill>
                <a:srgbClr val="000000"/>
              </a:solidFill>
              <a:cs typeface="Aharoni" pitchFamily="2" charset="-79"/>
            </a:endParaRP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r>
              <a:rPr lang="en-US" sz="2041" b="1" u="sng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Industrial Policies </a:t>
            </a: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endParaRPr lang="en-US" sz="1632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468100" lvl="2" defTabSz="911906">
              <a:buClr>
                <a:schemeClr val="tx1"/>
              </a:buClr>
              <a:buSzPct val="100000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Move gradually away from fertilizer consumption subsidies to support for local fertilizer manufacturing leveraging the gas industrialization policy (e.g., </a:t>
            </a:r>
            <a:r>
              <a:rPr lang="en-US" sz="1632" b="1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Nagajuna</a:t>
            </a: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 1.4 mil MT plant)</a:t>
            </a: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632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r>
              <a:rPr lang="en-US" sz="2041" b="1" u="sng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Market Development (Enabling Legislative Acts)</a:t>
            </a: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endParaRPr lang="en-US" sz="1632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10% Cassava Flour substitution for bread wheat flour 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632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Blending 10% ethanol with petrol.</a:t>
            </a: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endParaRPr lang="en-US" sz="1632" dirty="0">
              <a:solidFill>
                <a:srgbClr val="000000"/>
              </a:solidFill>
              <a:cs typeface="Arial" charset="0"/>
            </a:endParaRP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632" dirty="0">
              <a:solidFill>
                <a:srgbClr val="000000"/>
              </a:solidFill>
              <a:cs typeface="Aharoni" pitchFamily="2" charset="-79"/>
            </a:endParaRP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632" dirty="0">
              <a:solidFill>
                <a:srgbClr val="000000"/>
              </a:solidFill>
              <a:cs typeface="Aharoni" pitchFamily="2" charset="-79"/>
            </a:endParaRP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632" dirty="0">
              <a:solidFill>
                <a:srgbClr val="000000"/>
              </a:solidFill>
              <a:cs typeface="Aharoni" pitchFamily="2" charset="-79"/>
            </a:endParaRP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endParaRPr lang="en-US" sz="1632" dirty="0">
              <a:solidFill>
                <a:srgbClr val="000000"/>
              </a:solidFill>
              <a:cs typeface="Arial" charset="0"/>
            </a:endParaRP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632" dirty="0">
              <a:solidFill>
                <a:srgbClr val="000000"/>
              </a:solidFill>
              <a:cs typeface="Arial" charset="0"/>
            </a:endParaRPr>
          </a:p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632" dirty="0">
              <a:solidFill>
                <a:srgbClr val="000000"/>
              </a:solidFill>
              <a:cs typeface="Arial" charset="0"/>
            </a:endParaRPr>
          </a:p>
          <a:p>
            <a:pPr indent="-464862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632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09D58D5-7D23-4ECE-89BB-4EF30ED1984C}"/>
              </a:ext>
            </a:extLst>
          </p:cNvPr>
          <p:cNvSpPr/>
          <p:nvPr/>
        </p:nvSpPr>
        <p:spPr>
          <a:xfrm>
            <a:off x="665018" y="6400800"/>
            <a:ext cx="3345873" cy="2515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11">
            <a:extLst>
              <a:ext uri="{FF2B5EF4-FFF2-40B4-BE49-F238E27FC236}">
                <a16:creationId xmlns:a16="http://schemas.microsoft.com/office/drawing/2014/main" id="{AECBC0DF-06C1-4EB3-97F8-EE22DDAE1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39" y="328809"/>
            <a:ext cx="8944231" cy="594446"/>
          </a:xfrm>
        </p:spPr>
        <p:txBody>
          <a:bodyPr vert="horz" lIns="91431" tIns="45716" rIns="91431" bIns="45716" rtlCol="0" anchor="ctr">
            <a:normAutofit/>
          </a:bodyPr>
          <a:lstStyle/>
          <a:p>
            <a:pPr algn="ctr"/>
            <a:r>
              <a:rPr lang="en-US" altLang="en-US" sz="2449" b="1" dirty="0">
                <a:solidFill>
                  <a:schemeClr val="tx1"/>
                </a:solidFill>
              </a:rPr>
              <a:t>Fiscal policies for success</a:t>
            </a:r>
            <a:endParaRPr lang="en-US" altLang="en-US" sz="2041" b="1" dirty="0"/>
          </a:p>
        </p:txBody>
      </p:sp>
      <p:sp>
        <p:nvSpPr>
          <p:cNvPr id="9219" name="Slide Number Placeholder 6">
            <a:extLst>
              <a:ext uri="{FF2B5EF4-FFF2-40B4-BE49-F238E27FC236}">
                <a16:creationId xmlns:a16="http://schemas.microsoft.com/office/drawing/2014/main" id="{00A88C1C-B880-4C7B-8F6B-CD944C0864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6749" y="6511376"/>
            <a:ext cx="427613" cy="366062"/>
          </a:xfrm>
        </p:spPr>
        <p:txBody>
          <a:bodyPr vert="horz" lIns="91431" tIns="45716" rIns="91431" bIns="45716" rtlCol="0" anchor="ctr"/>
          <a:lstStyle>
            <a:lvl1pPr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8032" indent="-29155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6203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2684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9165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5646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32128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8609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5090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</a:pPr>
            <a:fld id="{CC28CE86-357C-4A69-BAA8-5CD675FE0645}" type="slidenum">
              <a:rPr lang="en-US" altLang="en-US" sz="1020">
                <a:solidFill>
                  <a:schemeClr val="bg1"/>
                </a:solidFill>
              </a:rPr>
              <a:pPr eaLnBrk="1" hangingPunct="1">
                <a:buClr>
                  <a:schemeClr val="tx1"/>
                </a:buClr>
              </a:pPr>
              <a:t>11</a:t>
            </a:fld>
            <a:endParaRPr lang="en-US" altLang="en-US" sz="1020">
              <a:solidFill>
                <a:schemeClr val="bg1"/>
              </a:solidFill>
            </a:endParaRPr>
          </a:p>
        </p:txBody>
      </p:sp>
      <p:sp>
        <p:nvSpPr>
          <p:cNvPr id="48134" name="Rectangle 63">
            <a:extLst>
              <a:ext uri="{FF2B5EF4-FFF2-40B4-BE49-F238E27FC236}">
                <a16:creationId xmlns:a16="http://schemas.microsoft.com/office/drawing/2014/main" id="{83DC976A-7F64-4586-BC57-95AC8DA90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1046356"/>
            <a:ext cx="8743383" cy="57168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marL="1619" lvl="1" defTabSz="911906">
              <a:buClr>
                <a:schemeClr val="tx1"/>
              </a:buClr>
              <a:buSzPct val="120000"/>
              <a:defRPr/>
            </a:pPr>
            <a:r>
              <a:rPr lang="en-US" sz="2041" b="1" u="sng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Fiscal Policies </a:t>
            </a: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endParaRPr lang="en-US" sz="2041" b="1" dirty="0">
              <a:solidFill>
                <a:srgbClr val="000000"/>
              </a:solidFill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Zero tariffs (custom, excise and value added) for import of agricultural equipment and agro-processing equipment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Tax holidays for investors putting processing plants in staple crop processing zones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Increase levy on any commodities that Nigeria can produce (starch, sugar and wheat)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Current policy on import levy of 5% for brown rice and 30% for polished milled rice, and 5% on raw sugar and 10% on starches should be increased and revenue used to support domestic production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Supportive incentives for investors establishing blending plants for ethanol</a:t>
            </a: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837" dirty="0">
              <a:solidFill>
                <a:srgbClr val="000000"/>
              </a:solidFill>
              <a:cs typeface="Arial" charset="0"/>
            </a:endParaRPr>
          </a:p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837" dirty="0">
              <a:solidFill>
                <a:srgbClr val="000000"/>
              </a:solidFill>
              <a:cs typeface="Arial" charset="0"/>
            </a:endParaRPr>
          </a:p>
          <a:p>
            <a:pPr indent="-464862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1A488C9-A4F4-404F-A1A7-1E1694ED8307}"/>
              </a:ext>
            </a:extLst>
          </p:cNvPr>
          <p:cNvSpPr/>
          <p:nvPr/>
        </p:nvSpPr>
        <p:spPr>
          <a:xfrm>
            <a:off x="665018" y="6057900"/>
            <a:ext cx="3345873" cy="1870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le 11">
            <a:extLst>
              <a:ext uri="{FF2B5EF4-FFF2-40B4-BE49-F238E27FC236}">
                <a16:creationId xmlns:a16="http://schemas.microsoft.com/office/drawing/2014/main" id="{D3D54C52-9F25-4FC8-8CFC-A0E90EC31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39" y="312612"/>
            <a:ext cx="8944231" cy="594446"/>
          </a:xfrm>
        </p:spPr>
        <p:txBody>
          <a:bodyPr vert="horz" lIns="91431" tIns="45716" rIns="91431" bIns="45716" rtlCol="0" anchor="ctr">
            <a:normAutofit fontScale="90000"/>
          </a:bodyPr>
          <a:lstStyle/>
          <a:p>
            <a:pPr algn="ctr"/>
            <a:r>
              <a:rPr lang="en-US" altLang="en-US" sz="3200" b="1" dirty="0"/>
              <a:t>GOAL ORIENED BUDGETING</a:t>
            </a:r>
            <a:br>
              <a:rPr lang="en-US" altLang="en-US" sz="3200" b="1" dirty="0"/>
            </a:br>
            <a:r>
              <a:rPr lang="en-US" altLang="en-US" sz="3200" b="1" dirty="0"/>
              <a:t>source: ATA (FMARD)</a:t>
            </a:r>
          </a:p>
        </p:txBody>
      </p:sp>
      <p:sp>
        <p:nvSpPr>
          <p:cNvPr id="9219" name="Slide Number Placeholder 6">
            <a:extLst>
              <a:ext uri="{FF2B5EF4-FFF2-40B4-BE49-F238E27FC236}">
                <a16:creationId xmlns:a16="http://schemas.microsoft.com/office/drawing/2014/main" id="{E79EC899-ED49-4D46-BEEE-767F99B1B6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6749" y="6511376"/>
            <a:ext cx="427613" cy="366062"/>
          </a:xfrm>
        </p:spPr>
        <p:txBody>
          <a:bodyPr vert="horz" lIns="91431" tIns="45716" rIns="91431" bIns="45716" rtlCol="0" anchor="ctr"/>
          <a:lstStyle>
            <a:lvl1pPr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8032" indent="-29155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6203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2684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9165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5646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32128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8609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5090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</a:pPr>
            <a:fld id="{B92339D3-D5B1-4694-B311-DEE65E84EB0C}" type="slidenum">
              <a:rPr lang="en-US" altLang="en-US" sz="1020">
                <a:solidFill>
                  <a:schemeClr val="bg1"/>
                </a:solidFill>
              </a:rPr>
              <a:pPr eaLnBrk="1" hangingPunct="1">
                <a:buClr>
                  <a:schemeClr val="tx1"/>
                </a:buClr>
              </a:pPr>
              <a:t>12</a:t>
            </a:fld>
            <a:endParaRPr lang="en-US" altLang="en-US" sz="1020">
              <a:solidFill>
                <a:schemeClr val="bg1"/>
              </a:solidFill>
            </a:endParaRPr>
          </a:p>
        </p:txBody>
      </p:sp>
      <p:sp>
        <p:nvSpPr>
          <p:cNvPr id="35" name="AutoShape 15">
            <a:extLst>
              <a:ext uri="{FF2B5EF4-FFF2-40B4-BE49-F238E27FC236}">
                <a16:creationId xmlns:a16="http://schemas.microsoft.com/office/drawing/2014/main" id="{8DF738EA-809C-443D-9646-28F99F821E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1193753"/>
            <a:ext cx="1255303" cy="719167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31" tIns="45716" rIns="91431" bIns="45716" anchor="ctr"/>
          <a:lstStyle/>
          <a:p>
            <a:pPr algn="ctr">
              <a:defRPr/>
            </a:pPr>
            <a:r>
              <a:rPr lang="en-GB" sz="1837" b="1" dirty="0">
                <a:solidFill>
                  <a:schemeClr val="bg1"/>
                </a:solidFill>
                <a:cs typeface="Arial" pitchFamily="34" charset="0"/>
              </a:rPr>
              <a:t>Jobs</a:t>
            </a:r>
          </a:p>
        </p:txBody>
      </p:sp>
      <p:sp>
        <p:nvSpPr>
          <p:cNvPr id="82949" name="Rectangle 63">
            <a:extLst>
              <a:ext uri="{FF2B5EF4-FFF2-40B4-BE49-F238E27FC236}">
                <a16:creationId xmlns:a16="http://schemas.microsoft.com/office/drawing/2014/main" id="{301AEBF0-A74D-4C01-9025-0AAA20DD2B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9452" y="1231007"/>
            <a:ext cx="7327726" cy="80096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3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Over 3.5 Million jobs within 5 value chain rice, cassava, sorghum, cocoa and cotton, with many more jobs to come…</a:t>
            </a:r>
          </a:p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837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AutoShape 15">
            <a:extLst>
              <a:ext uri="{FF2B5EF4-FFF2-40B4-BE49-F238E27FC236}">
                <a16:creationId xmlns:a16="http://schemas.microsoft.com/office/drawing/2014/main" id="{520757FD-9795-4572-9B1E-4C91C1323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415" y="2201234"/>
            <a:ext cx="1255302" cy="719167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31" tIns="45716" rIns="91431" bIns="45716" anchor="ctr"/>
          <a:lstStyle/>
          <a:p>
            <a:pPr algn="ctr">
              <a:defRPr/>
            </a:pPr>
            <a:r>
              <a:rPr lang="en-GB" sz="1837" b="1" dirty="0">
                <a:solidFill>
                  <a:schemeClr val="bg1"/>
                </a:solidFill>
                <a:cs typeface="Arial" pitchFamily="34" charset="0"/>
              </a:rPr>
              <a:t>Wealth</a:t>
            </a:r>
          </a:p>
        </p:txBody>
      </p:sp>
      <p:sp>
        <p:nvSpPr>
          <p:cNvPr id="82951" name="Rectangle 63">
            <a:extLst>
              <a:ext uri="{FF2B5EF4-FFF2-40B4-BE49-F238E27FC236}">
                <a16:creationId xmlns:a16="http://schemas.microsoft.com/office/drawing/2014/main" id="{355EB641-2B28-4DA4-9F7E-0570C18459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4311" y="2238488"/>
            <a:ext cx="7327726" cy="20500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Over 300 Billion Naira (US$2 Billion) in additional income in the hands of Nigerian farmers</a:t>
            </a:r>
          </a:p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632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Over 350 Billion Naira (US$2.2 Billion) injected into the economy from rice self sufficiency </a:t>
            </a:r>
          </a:p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632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Over 60  Billion Naira (US$380 Million) injected into the economy from substituting 20% of bread wheat flour with cassava flour</a:t>
            </a:r>
          </a:p>
        </p:txBody>
      </p:sp>
      <p:sp>
        <p:nvSpPr>
          <p:cNvPr id="10" name="AutoShape 15">
            <a:extLst>
              <a:ext uri="{FF2B5EF4-FFF2-40B4-BE49-F238E27FC236}">
                <a16:creationId xmlns:a16="http://schemas.microsoft.com/office/drawing/2014/main" id="{E5161C0A-A87B-4CA4-AB6D-2CD685615C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54" y="4656768"/>
            <a:ext cx="1255302" cy="719167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31" tIns="45716" rIns="91431" bIns="45716" anchor="ctr"/>
          <a:lstStyle/>
          <a:p>
            <a:pPr algn="ctr">
              <a:defRPr/>
            </a:pPr>
            <a:r>
              <a:rPr lang="en-GB" sz="1837" b="1" dirty="0">
                <a:solidFill>
                  <a:schemeClr val="bg1"/>
                </a:solidFill>
                <a:cs typeface="Arial" pitchFamily="34" charset="0"/>
              </a:rPr>
              <a:t>Food </a:t>
            </a:r>
          </a:p>
          <a:p>
            <a:pPr algn="ctr">
              <a:defRPr/>
            </a:pPr>
            <a:r>
              <a:rPr lang="en-GB" sz="1837" b="1" dirty="0">
                <a:solidFill>
                  <a:schemeClr val="bg1"/>
                </a:solidFill>
                <a:cs typeface="Arial" pitchFamily="34" charset="0"/>
              </a:rPr>
              <a:t>Security </a:t>
            </a:r>
          </a:p>
        </p:txBody>
      </p:sp>
      <p:sp>
        <p:nvSpPr>
          <p:cNvPr id="11" name="Rectangle 63">
            <a:extLst>
              <a:ext uri="{FF2B5EF4-FFF2-40B4-BE49-F238E27FC236}">
                <a16:creationId xmlns:a16="http://schemas.microsoft.com/office/drawing/2014/main" id="{A3C744A4-1D19-4996-9C35-102493C2C8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4311" y="4661626"/>
            <a:ext cx="7327726" cy="156974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Enabled Nigeria to be food secure by increasing production of key food staples by 20 Million metric tons.</a:t>
            </a:r>
          </a:p>
          <a:p>
            <a:pPr marL="612257" lvl="2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Rice: 2 Million metric ton</a:t>
            </a:r>
          </a:p>
          <a:p>
            <a:pPr marL="612257" lvl="2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Cassava: 17 Million metric ton</a:t>
            </a:r>
          </a:p>
          <a:p>
            <a:pPr marL="612257" lvl="2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32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Sorghum: 1 Million metric tons</a:t>
            </a: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endParaRPr lang="en-US" sz="1837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CD719D5-A729-47C9-9849-624383754F33}"/>
              </a:ext>
            </a:extLst>
          </p:cNvPr>
          <p:cNvSpPr/>
          <p:nvPr/>
        </p:nvSpPr>
        <p:spPr>
          <a:xfrm>
            <a:off x="665018" y="6057900"/>
            <a:ext cx="3345873" cy="1870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le 11">
            <a:extLst>
              <a:ext uri="{FF2B5EF4-FFF2-40B4-BE49-F238E27FC236}">
                <a16:creationId xmlns:a16="http://schemas.microsoft.com/office/drawing/2014/main" id="{0C127746-1054-46E9-9D2D-9F56227CA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95" y="312480"/>
            <a:ext cx="8944231" cy="481064"/>
          </a:xfrm>
        </p:spPr>
        <p:txBody>
          <a:bodyPr vert="horz" lIns="91431" tIns="45716" rIns="91431" bIns="45716" rtlCol="0" anchor="ctr">
            <a:noAutofit/>
          </a:bodyPr>
          <a:lstStyle/>
          <a:p>
            <a:r>
              <a:rPr lang="en-US" altLang="en-US" sz="2400" b="1" dirty="0"/>
              <a:t>USE OF PERFORMANCE INDICATORS FOR SPECIFIC SECTORS</a:t>
            </a:r>
          </a:p>
        </p:txBody>
      </p:sp>
      <p:sp>
        <p:nvSpPr>
          <p:cNvPr id="9219" name="Slide Number Placeholder 6">
            <a:extLst>
              <a:ext uri="{FF2B5EF4-FFF2-40B4-BE49-F238E27FC236}">
                <a16:creationId xmlns:a16="http://schemas.microsoft.com/office/drawing/2014/main" id="{BC1405CB-4271-461C-B7E8-AC18E5564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6749" y="6511376"/>
            <a:ext cx="427613" cy="366062"/>
          </a:xfrm>
        </p:spPr>
        <p:txBody>
          <a:bodyPr vert="horz" lIns="91431" tIns="45716" rIns="91431" bIns="45716" rtlCol="0" anchor="ctr"/>
          <a:lstStyle>
            <a:lvl1pPr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8032" indent="-29155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6203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2684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9165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5646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32128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8609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5090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</a:pPr>
            <a:fld id="{1BB8D6FF-B72D-43FD-AF32-56BBE1F829AE}" type="slidenum">
              <a:rPr lang="en-US" altLang="en-US" sz="1020">
                <a:solidFill>
                  <a:schemeClr val="bg1"/>
                </a:solidFill>
              </a:rPr>
              <a:pPr eaLnBrk="1" hangingPunct="1">
                <a:buClr>
                  <a:schemeClr val="tx1"/>
                </a:buClr>
              </a:pPr>
              <a:t>13</a:t>
            </a:fld>
            <a:endParaRPr lang="en-US" altLang="en-US" sz="1020">
              <a:solidFill>
                <a:schemeClr val="bg1"/>
              </a:solidFill>
            </a:endParaRPr>
          </a:p>
        </p:txBody>
      </p:sp>
      <p:sp>
        <p:nvSpPr>
          <p:cNvPr id="35" name="AutoShape 15">
            <a:extLst>
              <a:ext uri="{FF2B5EF4-FFF2-40B4-BE49-F238E27FC236}">
                <a16:creationId xmlns:a16="http://schemas.microsoft.com/office/drawing/2014/main" id="{170F12F4-2A6E-4C1B-B881-A2F4ACBA6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1012342"/>
            <a:ext cx="1255303" cy="932973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31" tIns="45716" rIns="91431" bIns="45716" anchor="ctr"/>
          <a:lstStyle/>
          <a:p>
            <a:pPr algn="ctr">
              <a:defRPr/>
            </a:pPr>
            <a:r>
              <a:rPr lang="en-GB" sz="2041" b="1" dirty="0">
                <a:solidFill>
                  <a:schemeClr val="bg1"/>
                </a:solidFill>
                <a:cs typeface="Arial" pitchFamily="34" charset="0"/>
              </a:rPr>
              <a:t>Rice</a:t>
            </a:r>
          </a:p>
        </p:txBody>
      </p:sp>
      <p:sp>
        <p:nvSpPr>
          <p:cNvPr id="95237" name="Rectangle 33">
            <a:extLst>
              <a:ext uri="{FF2B5EF4-FFF2-40B4-BE49-F238E27FC236}">
                <a16:creationId xmlns:a16="http://schemas.microsoft.com/office/drawing/2014/main" id="{26A0DA29-75D8-41BE-B2C2-ED6A88594F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8495" y="800155"/>
            <a:ext cx="903818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tx2"/>
              </a:buClr>
              <a:buSzPct val="120000"/>
            </a:pPr>
            <a:r>
              <a:rPr lang="en-US" altLang="en-US" sz="1428" b="1" dirty="0">
                <a:solidFill>
                  <a:srgbClr val="FF0000"/>
                </a:solidFill>
              </a:rPr>
              <a:t>2010</a:t>
            </a:r>
          </a:p>
        </p:txBody>
      </p:sp>
      <p:sp>
        <p:nvSpPr>
          <p:cNvPr id="95238" name="Rectangle 33">
            <a:extLst>
              <a:ext uri="{FF2B5EF4-FFF2-40B4-BE49-F238E27FC236}">
                <a16:creationId xmlns:a16="http://schemas.microsoft.com/office/drawing/2014/main" id="{412A234E-2A99-43AA-AF35-0B0392FC6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7579" y="800155"/>
            <a:ext cx="903818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tx2"/>
              </a:buClr>
              <a:buSzPct val="120000"/>
            </a:pPr>
            <a:r>
              <a:rPr lang="en-US" altLang="en-US" sz="1428" b="1" dirty="0">
                <a:solidFill>
                  <a:srgbClr val="FF0000"/>
                </a:solidFill>
              </a:rPr>
              <a:t>2015</a:t>
            </a:r>
          </a:p>
        </p:txBody>
      </p:sp>
      <p:sp>
        <p:nvSpPr>
          <p:cNvPr id="95239" name="Rectangle 33">
            <a:extLst>
              <a:ext uri="{FF2B5EF4-FFF2-40B4-BE49-F238E27FC236}">
                <a16:creationId xmlns:a16="http://schemas.microsoft.com/office/drawing/2014/main" id="{4A175FCD-A29B-4544-83DA-F6717B3BA4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156" y="1081990"/>
            <a:ext cx="563671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Paddy</a:t>
            </a:r>
          </a:p>
        </p:txBody>
      </p:sp>
      <p:sp>
        <p:nvSpPr>
          <p:cNvPr id="95240" name="Rectangle 33">
            <a:extLst>
              <a:ext uri="{FF2B5EF4-FFF2-40B4-BE49-F238E27FC236}">
                <a16:creationId xmlns:a16="http://schemas.microsoft.com/office/drawing/2014/main" id="{308203E5-E15B-4577-888F-6AE419F026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5790" y="1324274"/>
            <a:ext cx="1529037" cy="439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 dirty="0">
                <a:solidFill>
                  <a:schemeClr val="tx1"/>
                </a:solidFill>
              </a:rPr>
              <a:t>High Quality </a:t>
            </a:r>
          </a:p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 dirty="0">
                <a:solidFill>
                  <a:schemeClr val="tx1"/>
                </a:solidFill>
              </a:rPr>
              <a:t>Processed Rice </a:t>
            </a:r>
          </a:p>
        </p:txBody>
      </p:sp>
      <p:sp>
        <p:nvSpPr>
          <p:cNvPr id="95241" name="Rectangle 33">
            <a:extLst>
              <a:ext uri="{FF2B5EF4-FFF2-40B4-BE49-F238E27FC236}">
                <a16:creationId xmlns:a16="http://schemas.microsoft.com/office/drawing/2014/main" id="{9AAD409C-81F3-4794-B0D1-C8DFEAAAC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6509" y="1836791"/>
            <a:ext cx="518318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Jobs</a:t>
            </a:r>
          </a:p>
        </p:txBody>
      </p:sp>
      <p:sp>
        <p:nvSpPr>
          <p:cNvPr id="95242" name="Rectangle 33">
            <a:extLst>
              <a:ext uri="{FF2B5EF4-FFF2-40B4-BE49-F238E27FC236}">
                <a16:creationId xmlns:a16="http://schemas.microsoft.com/office/drawing/2014/main" id="{CE5210B5-2D8A-45DE-A700-2C83DF8458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9266" y="1081990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3.4 Million MT</a:t>
            </a:r>
          </a:p>
        </p:txBody>
      </p:sp>
      <p:sp>
        <p:nvSpPr>
          <p:cNvPr id="95243" name="Rectangle 33">
            <a:extLst>
              <a:ext uri="{FF2B5EF4-FFF2-40B4-BE49-F238E27FC236}">
                <a16:creationId xmlns:a16="http://schemas.microsoft.com/office/drawing/2014/main" id="{A5079DCD-A56B-4518-AB97-46AA0D40CE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8351" y="1081990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7.4 Million MT</a:t>
            </a:r>
          </a:p>
        </p:txBody>
      </p:sp>
      <p:sp>
        <p:nvSpPr>
          <p:cNvPr id="95244" name="Rectangle 33">
            <a:extLst>
              <a:ext uri="{FF2B5EF4-FFF2-40B4-BE49-F238E27FC236}">
                <a16:creationId xmlns:a16="http://schemas.microsoft.com/office/drawing/2014/main" id="{0EBFCAC2-2ADC-431A-9B2B-10ADF9461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9266" y="1428616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Negligible</a:t>
            </a:r>
          </a:p>
        </p:txBody>
      </p:sp>
      <p:sp>
        <p:nvSpPr>
          <p:cNvPr id="95245" name="Rectangle 33">
            <a:extLst>
              <a:ext uri="{FF2B5EF4-FFF2-40B4-BE49-F238E27FC236}">
                <a16:creationId xmlns:a16="http://schemas.microsoft.com/office/drawing/2014/main" id="{9DF95EBA-51F7-49EA-A597-AD59E496A1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8351" y="1428616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2.5 Million MT</a:t>
            </a:r>
          </a:p>
        </p:txBody>
      </p:sp>
      <p:sp>
        <p:nvSpPr>
          <p:cNvPr id="95246" name="Rectangle 33">
            <a:extLst>
              <a:ext uri="{FF2B5EF4-FFF2-40B4-BE49-F238E27FC236}">
                <a16:creationId xmlns:a16="http://schemas.microsoft.com/office/drawing/2014/main" id="{58B26A68-BD65-4E1F-A311-696B8D7967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8351" y="1836791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1 Millio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BAFC76D-4A8F-408B-8DF3-940901466A85}"/>
              </a:ext>
            </a:extLst>
          </p:cNvPr>
          <p:cNvCxnSpPr/>
          <p:nvPr/>
        </p:nvCxnSpPr>
        <p:spPr>
          <a:xfrm>
            <a:off x="3150674" y="1017200"/>
            <a:ext cx="1399460" cy="162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C7F6EF6-334D-4DC2-86E5-93EDD64D37FB}"/>
              </a:ext>
            </a:extLst>
          </p:cNvPr>
          <p:cNvCxnSpPr/>
          <p:nvPr/>
        </p:nvCxnSpPr>
        <p:spPr>
          <a:xfrm>
            <a:off x="7488351" y="1017200"/>
            <a:ext cx="1399460" cy="162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ight Arrow 1">
            <a:extLst>
              <a:ext uri="{FF2B5EF4-FFF2-40B4-BE49-F238E27FC236}">
                <a16:creationId xmlns:a16="http://schemas.microsoft.com/office/drawing/2014/main" id="{3EDDB494-E055-484A-89CF-F2B0E6BD87C4}"/>
              </a:ext>
            </a:extLst>
          </p:cNvPr>
          <p:cNvSpPr/>
          <p:nvPr/>
        </p:nvSpPr>
        <p:spPr bwMode="auto">
          <a:xfrm>
            <a:off x="4632740" y="1120864"/>
            <a:ext cx="2798919" cy="16521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29F88823-0E94-4347-9DDE-326FFDAB3CEA}"/>
              </a:ext>
            </a:extLst>
          </p:cNvPr>
          <p:cNvSpPr/>
          <p:nvPr/>
        </p:nvSpPr>
        <p:spPr bwMode="auto">
          <a:xfrm>
            <a:off x="4632740" y="1482068"/>
            <a:ext cx="2798919" cy="166833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2AF6106D-DE1D-4BE1-92FB-295C66F8159D}"/>
              </a:ext>
            </a:extLst>
          </p:cNvPr>
          <p:cNvSpPr/>
          <p:nvPr/>
        </p:nvSpPr>
        <p:spPr bwMode="auto">
          <a:xfrm>
            <a:off x="4689432" y="1857849"/>
            <a:ext cx="2798919" cy="16521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28" name="AutoShape 15">
            <a:extLst>
              <a:ext uri="{FF2B5EF4-FFF2-40B4-BE49-F238E27FC236}">
                <a16:creationId xmlns:a16="http://schemas.microsoft.com/office/drawing/2014/main" id="{895E08AA-AEE6-4180-A56A-83CA430EC7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2369688"/>
            <a:ext cx="1255303" cy="932973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31" tIns="45716" rIns="91431" bIns="45716" anchor="ctr"/>
          <a:lstStyle/>
          <a:p>
            <a:pPr algn="ctr">
              <a:defRPr/>
            </a:pPr>
            <a:r>
              <a:rPr lang="en-GB" sz="2041" b="1" dirty="0">
                <a:solidFill>
                  <a:schemeClr val="bg1"/>
                </a:solidFill>
                <a:cs typeface="Arial" pitchFamily="34" charset="0"/>
              </a:rPr>
              <a:t>Cassava</a:t>
            </a:r>
          </a:p>
        </p:txBody>
      </p:sp>
      <p:sp>
        <p:nvSpPr>
          <p:cNvPr id="95253" name="Rectangle 33">
            <a:extLst>
              <a:ext uri="{FF2B5EF4-FFF2-40B4-BE49-F238E27FC236}">
                <a16:creationId xmlns:a16="http://schemas.microsoft.com/office/drawing/2014/main" id="{D9477F4B-F00B-49C4-B8A2-E037671C2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9097" y="2379406"/>
            <a:ext cx="1580871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Cassava Tubers</a:t>
            </a:r>
          </a:p>
        </p:txBody>
      </p:sp>
      <p:sp>
        <p:nvSpPr>
          <p:cNvPr id="95254" name="Rectangle 33">
            <a:extLst>
              <a:ext uri="{FF2B5EF4-FFF2-40B4-BE49-F238E27FC236}">
                <a16:creationId xmlns:a16="http://schemas.microsoft.com/office/drawing/2014/main" id="{D54A8578-D59E-47B9-B8D3-2884EEAC98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156" y="2745469"/>
            <a:ext cx="558813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Yield </a:t>
            </a:r>
          </a:p>
        </p:txBody>
      </p:sp>
      <p:sp>
        <p:nvSpPr>
          <p:cNvPr id="95255" name="Rectangle 33">
            <a:extLst>
              <a:ext uri="{FF2B5EF4-FFF2-40B4-BE49-F238E27FC236}">
                <a16:creationId xmlns:a16="http://schemas.microsoft.com/office/drawing/2014/main" id="{64A88194-6A6E-4FF4-805B-1E867FF4D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030" y="3134208"/>
            <a:ext cx="519939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Jobs</a:t>
            </a:r>
          </a:p>
        </p:txBody>
      </p:sp>
      <p:sp>
        <p:nvSpPr>
          <p:cNvPr id="95256" name="Rectangle 33">
            <a:extLst>
              <a:ext uri="{FF2B5EF4-FFF2-40B4-BE49-F238E27FC236}">
                <a16:creationId xmlns:a16="http://schemas.microsoft.com/office/drawing/2014/main" id="{1FCD7181-65E8-4C98-87A1-69C8727A8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4407" y="2379406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34 Million MT</a:t>
            </a:r>
          </a:p>
        </p:txBody>
      </p:sp>
      <p:sp>
        <p:nvSpPr>
          <p:cNvPr id="95257" name="Rectangle 33">
            <a:extLst>
              <a:ext uri="{FF2B5EF4-FFF2-40B4-BE49-F238E27FC236}">
                <a16:creationId xmlns:a16="http://schemas.microsoft.com/office/drawing/2014/main" id="{CDFBD188-265A-49C3-96DE-83A38A7012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3491" y="2379406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51 Million MT</a:t>
            </a:r>
          </a:p>
        </p:txBody>
      </p:sp>
      <p:sp>
        <p:nvSpPr>
          <p:cNvPr id="95258" name="Rectangle 33">
            <a:extLst>
              <a:ext uri="{FF2B5EF4-FFF2-40B4-BE49-F238E27FC236}">
                <a16:creationId xmlns:a16="http://schemas.microsoft.com/office/drawing/2014/main" id="{A1048C49-2C1F-4654-A843-33AA6DE0E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4407" y="2726032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12.5 MT/Ha</a:t>
            </a:r>
          </a:p>
        </p:txBody>
      </p:sp>
      <p:sp>
        <p:nvSpPr>
          <p:cNvPr id="95259" name="Rectangle 33">
            <a:extLst>
              <a:ext uri="{FF2B5EF4-FFF2-40B4-BE49-F238E27FC236}">
                <a16:creationId xmlns:a16="http://schemas.microsoft.com/office/drawing/2014/main" id="{1AE21B65-6FD8-4D34-9144-170AF86834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3491" y="2726032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25 MT/Ha</a:t>
            </a:r>
          </a:p>
        </p:txBody>
      </p:sp>
      <p:sp>
        <p:nvSpPr>
          <p:cNvPr id="95260" name="Rectangle 33">
            <a:extLst>
              <a:ext uri="{FF2B5EF4-FFF2-40B4-BE49-F238E27FC236}">
                <a16:creationId xmlns:a16="http://schemas.microsoft.com/office/drawing/2014/main" id="{5353E501-6E22-4D3A-8E97-2142862041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3491" y="3134208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1.2 Million</a:t>
            </a:r>
          </a:p>
        </p:txBody>
      </p:sp>
      <p:sp>
        <p:nvSpPr>
          <p:cNvPr id="38" name="Right Arrow 37">
            <a:extLst>
              <a:ext uri="{FF2B5EF4-FFF2-40B4-BE49-F238E27FC236}">
                <a16:creationId xmlns:a16="http://schemas.microsoft.com/office/drawing/2014/main" id="{988F5345-4C19-4229-833C-7763945B62B8}"/>
              </a:ext>
            </a:extLst>
          </p:cNvPr>
          <p:cNvSpPr/>
          <p:nvPr/>
        </p:nvSpPr>
        <p:spPr bwMode="auto">
          <a:xfrm>
            <a:off x="4627882" y="2418281"/>
            <a:ext cx="2798919" cy="16521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39" name="Right Arrow 38">
            <a:extLst>
              <a:ext uri="{FF2B5EF4-FFF2-40B4-BE49-F238E27FC236}">
                <a16:creationId xmlns:a16="http://schemas.microsoft.com/office/drawing/2014/main" id="{DA18F764-8F30-499C-AB06-11D2321328FF}"/>
              </a:ext>
            </a:extLst>
          </p:cNvPr>
          <p:cNvSpPr/>
          <p:nvPr/>
        </p:nvSpPr>
        <p:spPr bwMode="auto">
          <a:xfrm>
            <a:off x="4627882" y="2779483"/>
            <a:ext cx="2798919" cy="16683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40" name="Right Arrow 39">
            <a:extLst>
              <a:ext uri="{FF2B5EF4-FFF2-40B4-BE49-F238E27FC236}">
                <a16:creationId xmlns:a16="http://schemas.microsoft.com/office/drawing/2014/main" id="{5BFA5A28-7FFC-49CD-B984-53F55BC8697D}"/>
              </a:ext>
            </a:extLst>
          </p:cNvPr>
          <p:cNvSpPr/>
          <p:nvPr/>
        </p:nvSpPr>
        <p:spPr bwMode="auto">
          <a:xfrm>
            <a:off x="4684572" y="3155264"/>
            <a:ext cx="2798919" cy="16683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41" name="AutoShape 15">
            <a:extLst>
              <a:ext uri="{FF2B5EF4-FFF2-40B4-BE49-F238E27FC236}">
                <a16:creationId xmlns:a16="http://schemas.microsoft.com/office/drawing/2014/main" id="{8217655C-9F48-49AA-A76C-776A1FE9E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3725414"/>
            <a:ext cx="1255303" cy="932973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31" tIns="45716" rIns="91431" bIns="45716" anchor="ctr"/>
          <a:lstStyle/>
          <a:p>
            <a:pPr algn="ctr">
              <a:defRPr/>
            </a:pPr>
            <a:r>
              <a:rPr lang="en-GB" sz="2041" b="1" dirty="0">
                <a:solidFill>
                  <a:schemeClr val="bg1"/>
                </a:solidFill>
                <a:cs typeface="Arial" pitchFamily="34" charset="0"/>
              </a:rPr>
              <a:t>Sorghum</a:t>
            </a:r>
          </a:p>
        </p:txBody>
      </p:sp>
      <p:sp>
        <p:nvSpPr>
          <p:cNvPr id="95265" name="Rectangle 33">
            <a:extLst>
              <a:ext uri="{FF2B5EF4-FFF2-40B4-BE49-F238E27FC236}">
                <a16:creationId xmlns:a16="http://schemas.microsoft.com/office/drawing/2014/main" id="{E8E0CF39-6E61-4CAE-AEB5-80F7F7B361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0721" y="3757809"/>
            <a:ext cx="1358966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Sorghum Grain</a:t>
            </a:r>
          </a:p>
        </p:txBody>
      </p:sp>
      <p:sp>
        <p:nvSpPr>
          <p:cNvPr id="95266" name="Rectangle 33">
            <a:extLst>
              <a:ext uri="{FF2B5EF4-FFF2-40B4-BE49-F238E27FC236}">
                <a16:creationId xmlns:a16="http://schemas.microsoft.com/office/drawing/2014/main" id="{FF6DF579-8ED3-4F74-BB57-5D1AF4A9E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2495" y="4123871"/>
            <a:ext cx="557192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Yield </a:t>
            </a:r>
          </a:p>
        </p:txBody>
      </p:sp>
      <p:sp>
        <p:nvSpPr>
          <p:cNvPr id="95267" name="Rectangle 33">
            <a:extLst>
              <a:ext uri="{FF2B5EF4-FFF2-40B4-BE49-F238E27FC236}">
                <a16:creationId xmlns:a16="http://schemas.microsoft.com/office/drawing/2014/main" id="{1C4FA5E6-096E-4FF5-8A73-5C64D33A7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1369" y="4510991"/>
            <a:ext cx="518318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Jobs</a:t>
            </a:r>
          </a:p>
        </p:txBody>
      </p:sp>
      <p:sp>
        <p:nvSpPr>
          <p:cNvPr id="95268" name="Rectangle 33">
            <a:extLst>
              <a:ext uri="{FF2B5EF4-FFF2-40B4-BE49-F238E27FC236}">
                <a16:creationId xmlns:a16="http://schemas.microsoft.com/office/drawing/2014/main" id="{914DB782-E9CE-4395-A37D-E78ECFB21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125" y="3757809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9.3 Million MT</a:t>
            </a:r>
          </a:p>
        </p:txBody>
      </p:sp>
      <p:sp>
        <p:nvSpPr>
          <p:cNvPr id="95269" name="Rectangle 33">
            <a:extLst>
              <a:ext uri="{FF2B5EF4-FFF2-40B4-BE49-F238E27FC236}">
                <a16:creationId xmlns:a16="http://schemas.microsoft.com/office/drawing/2014/main" id="{65AFAC09-71D1-48E6-93FF-BDD3CC7467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3210" y="3757809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10.3 Million MT</a:t>
            </a:r>
          </a:p>
        </p:txBody>
      </p:sp>
      <p:sp>
        <p:nvSpPr>
          <p:cNvPr id="95270" name="Rectangle 46">
            <a:extLst>
              <a:ext uri="{FF2B5EF4-FFF2-40B4-BE49-F238E27FC236}">
                <a16:creationId xmlns:a16="http://schemas.microsoft.com/office/drawing/2014/main" id="{4A58D67D-42F3-4713-AC68-8AB91E8DF3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125" y="4104434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0.75 MT/Ha</a:t>
            </a:r>
          </a:p>
        </p:txBody>
      </p:sp>
      <p:sp>
        <p:nvSpPr>
          <p:cNvPr id="95271" name="Rectangle 33">
            <a:extLst>
              <a:ext uri="{FF2B5EF4-FFF2-40B4-BE49-F238E27FC236}">
                <a16:creationId xmlns:a16="http://schemas.microsoft.com/office/drawing/2014/main" id="{66F5A8D9-4342-4A0C-B175-631523B6E5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3210" y="4104434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2.5 MT/Ha</a:t>
            </a:r>
          </a:p>
        </p:txBody>
      </p:sp>
      <p:sp>
        <p:nvSpPr>
          <p:cNvPr id="95272" name="Rectangle 33">
            <a:extLst>
              <a:ext uri="{FF2B5EF4-FFF2-40B4-BE49-F238E27FC236}">
                <a16:creationId xmlns:a16="http://schemas.microsoft.com/office/drawing/2014/main" id="{A7864C1B-DA23-48AA-A595-8DDDC024C7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3210" y="4510991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150,000</a:t>
            </a: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EB222131-01B2-44F5-BC9A-CCE3EBB206FE}"/>
              </a:ext>
            </a:extLst>
          </p:cNvPr>
          <p:cNvSpPr/>
          <p:nvPr/>
        </p:nvSpPr>
        <p:spPr bwMode="auto">
          <a:xfrm>
            <a:off x="4637600" y="3796683"/>
            <a:ext cx="2798919" cy="16521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51" name="Right Arrow 50">
            <a:extLst>
              <a:ext uri="{FF2B5EF4-FFF2-40B4-BE49-F238E27FC236}">
                <a16:creationId xmlns:a16="http://schemas.microsoft.com/office/drawing/2014/main" id="{85A34C5D-E9E5-4C3A-935D-FE794419146E}"/>
              </a:ext>
            </a:extLst>
          </p:cNvPr>
          <p:cNvSpPr/>
          <p:nvPr/>
        </p:nvSpPr>
        <p:spPr bwMode="auto">
          <a:xfrm>
            <a:off x="4637600" y="4157886"/>
            <a:ext cx="2798919" cy="166833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52" name="Right Arrow 51">
            <a:extLst>
              <a:ext uri="{FF2B5EF4-FFF2-40B4-BE49-F238E27FC236}">
                <a16:creationId xmlns:a16="http://schemas.microsoft.com/office/drawing/2014/main" id="{F11F8377-4AF5-40ED-85FA-B2DE79BA3120}"/>
              </a:ext>
            </a:extLst>
          </p:cNvPr>
          <p:cNvSpPr/>
          <p:nvPr/>
        </p:nvSpPr>
        <p:spPr bwMode="auto">
          <a:xfrm>
            <a:off x="4694291" y="4533668"/>
            <a:ext cx="2798919" cy="16521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53" name="AutoShape 15">
            <a:extLst>
              <a:ext uri="{FF2B5EF4-FFF2-40B4-BE49-F238E27FC236}">
                <a16:creationId xmlns:a16="http://schemas.microsoft.com/office/drawing/2014/main" id="{858BCC27-CBCD-4F07-BDA9-F960C48A1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5082760"/>
            <a:ext cx="1255303" cy="932973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31" tIns="45716" rIns="91431" bIns="45716" anchor="ctr"/>
          <a:lstStyle/>
          <a:p>
            <a:pPr algn="ctr">
              <a:defRPr/>
            </a:pPr>
            <a:r>
              <a:rPr lang="en-GB" sz="2041" b="1" dirty="0">
                <a:solidFill>
                  <a:schemeClr val="bg1"/>
                </a:solidFill>
                <a:cs typeface="Arial" pitchFamily="34" charset="0"/>
              </a:rPr>
              <a:t>Cocoa</a:t>
            </a:r>
          </a:p>
        </p:txBody>
      </p:sp>
      <p:sp>
        <p:nvSpPr>
          <p:cNvPr id="95277" name="Rectangle 33">
            <a:extLst>
              <a:ext uri="{FF2B5EF4-FFF2-40B4-BE49-F238E27FC236}">
                <a16:creationId xmlns:a16="http://schemas.microsoft.com/office/drawing/2014/main" id="{7E1796BD-0314-4757-AF06-8D150E48D6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0019" y="5152410"/>
            <a:ext cx="1214809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Cocoa Beans</a:t>
            </a:r>
          </a:p>
        </p:txBody>
      </p:sp>
      <p:sp>
        <p:nvSpPr>
          <p:cNvPr id="95278" name="Rectangle 33">
            <a:extLst>
              <a:ext uri="{FF2B5EF4-FFF2-40B4-BE49-F238E27FC236}">
                <a16:creationId xmlns:a16="http://schemas.microsoft.com/office/drawing/2014/main" id="{FAE16BA0-CCB3-4E65-B2E8-57793531F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6016" y="5516852"/>
            <a:ext cx="558811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Yield </a:t>
            </a:r>
          </a:p>
        </p:txBody>
      </p:sp>
      <p:sp>
        <p:nvSpPr>
          <p:cNvPr id="95279" name="Rectangle 33">
            <a:extLst>
              <a:ext uri="{FF2B5EF4-FFF2-40B4-BE49-F238E27FC236}">
                <a16:creationId xmlns:a16="http://schemas.microsoft.com/office/drawing/2014/main" id="{6D2E7DB8-ED40-45B6-92D3-ED6F460076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6509" y="5905591"/>
            <a:ext cx="518318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Jobs</a:t>
            </a:r>
          </a:p>
        </p:txBody>
      </p:sp>
      <p:sp>
        <p:nvSpPr>
          <p:cNvPr id="95280" name="Rectangle 33">
            <a:extLst>
              <a:ext uri="{FF2B5EF4-FFF2-40B4-BE49-F238E27FC236}">
                <a16:creationId xmlns:a16="http://schemas.microsoft.com/office/drawing/2014/main" id="{412BD309-BC06-470A-89D8-B01D3CD10A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9266" y="5152410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250,000 MT</a:t>
            </a:r>
          </a:p>
        </p:txBody>
      </p:sp>
      <p:sp>
        <p:nvSpPr>
          <p:cNvPr id="95281" name="Rectangle 33">
            <a:extLst>
              <a:ext uri="{FF2B5EF4-FFF2-40B4-BE49-F238E27FC236}">
                <a16:creationId xmlns:a16="http://schemas.microsoft.com/office/drawing/2014/main" id="{14C0FD51-057A-4694-BD0D-7AAA928E68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8351" y="5152410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500,000 MT</a:t>
            </a:r>
          </a:p>
        </p:txBody>
      </p:sp>
      <p:sp>
        <p:nvSpPr>
          <p:cNvPr id="95282" name="Rectangle 58">
            <a:extLst>
              <a:ext uri="{FF2B5EF4-FFF2-40B4-BE49-F238E27FC236}">
                <a16:creationId xmlns:a16="http://schemas.microsoft.com/office/drawing/2014/main" id="{5B0315A4-AC46-4B58-97CF-7928DB955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9266" y="5499035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300 Kg/Ha</a:t>
            </a:r>
          </a:p>
        </p:txBody>
      </p:sp>
      <p:sp>
        <p:nvSpPr>
          <p:cNvPr id="95283" name="Rectangle 33">
            <a:extLst>
              <a:ext uri="{FF2B5EF4-FFF2-40B4-BE49-F238E27FC236}">
                <a16:creationId xmlns:a16="http://schemas.microsoft.com/office/drawing/2014/main" id="{EA3037E9-925A-42F0-814E-AFA909A6A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8351" y="5499035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500 Kg/Ha</a:t>
            </a:r>
          </a:p>
        </p:txBody>
      </p:sp>
      <p:sp>
        <p:nvSpPr>
          <p:cNvPr id="95284" name="Rectangle 33">
            <a:extLst>
              <a:ext uri="{FF2B5EF4-FFF2-40B4-BE49-F238E27FC236}">
                <a16:creationId xmlns:a16="http://schemas.microsoft.com/office/drawing/2014/main" id="{D741B47B-4EF1-43D3-9E2B-6041F7E2AB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8351" y="5905591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360,000</a:t>
            </a:r>
          </a:p>
        </p:txBody>
      </p:sp>
      <p:sp>
        <p:nvSpPr>
          <p:cNvPr id="62" name="Right Arrow 61">
            <a:extLst>
              <a:ext uri="{FF2B5EF4-FFF2-40B4-BE49-F238E27FC236}">
                <a16:creationId xmlns:a16="http://schemas.microsoft.com/office/drawing/2014/main" id="{568D63F7-85AE-42F2-81B1-C38CEBC97F9E}"/>
              </a:ext>
            </a:extLst>
          </p:cNvPr>
          <p:cNvSpPr/>
          <p:nvPr/>
        </p:nvSpPr>
        <p:spPr bwMode="auto">
          <a:xfrm>
            <a:off x="4632740" y="5189664"/>
            <a:ext cx="2798919" cy="16683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63" name="Right Arrow 62">
            <a:extLst>
              <a:ext uri="{FF2B5EF4-FFF2-40B4-BE49-F238E27FC236}">
                <a16:creationId xmlns:a16="http://schemas.microsoft.com/office/drawing/2014/main" id="{6A376265-BD0D-441C-BE7C-E58B4C28B1F7}"/>
              </a:ext>
            </a:extLst>
          </p:cNvPr>
          <p:cNvSpPr/>
          <p:nvPr/>
        </p:nvSpPr>
        <p:spPr bwMode="auto">
          <a:xfrm>
            <a:off x="4632740" y="5552487"/>
            <a:ext cx="2798919" cy="16521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64" name="Right Arrow 63">
            <a:extLst>
              <a:ext uri="{FF2B5EF4-FFF2-40B4-BE49-F238E27FC236}">
                <a16:creationId xmlns:a16="http://schemas.microsoft.com/office/drawing/2014/main" id="{EFBF0E26-B7FF-4CF8-BD0C-826DC41FB961}"/>
              </a:ext>
            </a:extLst>
          </p:cNvPr>
          <p:cNvSpPr/>
          <p:nvPr/>
        </p:nvSpPr>
        <p:spPr bwMode="auto">
          <a:xfrm>
            <a:off x="4689432" y="5926648"/>
            <a:ext cx="2798919" cy="166833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22E854E-9A54-4A58-AF34-17ADB4773506}"/>
              </a:ext>
            </a:extLst>
          </p:cNvPr>
          <p:cNvSpPr/>
          <p:nvPr/>
        </p:nvSpPr>
        <p:spPr>
          <a:xfrm>
            <a:off x="665018" y="6321316"/>
            <a:ext cx="3345873" cy="2242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Title 11">
            <a:extLst>
              <a:ext uri="{FF2B5EF4-FFF2-40B4-BE49-F238E27FC236}">
                <a16:creationId xmlns:a16="http://schemas.microsoft.com/office/drawing/2014/main" id="{1609CB59-8190-4AC6-847D-74CA66C43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39" y="312612"/>
            <a:ext cx="8944231" cy="391978"/>
          </a:xfrm>
        </p:spPr>
        <p:txBody>
          <a:bodyPr vert="horz" lIns="91431" tIns="45716" rIns="91431" bIns="45716" rtlCol="0" anchor="ctr">
            <a:noAutofit/>
          </a:bodyPr>
          <a:lstStyle/>
          <a:p>
            <a:r>
              <a:rPr lang="en-US" altLang="en-US" sz="2800" b="1" dirty="0"/>
              <a:t>USE OF PERFORMANCE INDICATORS FOR SPECIFIC SECTORS</a:t>
            </a:r>
            <a:endParaRPr lang="en-US" altLang="en-US" sz="2800" dirty="0"/>
          </a:p>
        </p:txBody>
      </p:sp>
      <p:sp>
        <p:nvSpPr>
          <p:cNvPr id="9219" name="Slide Number Placeholder 6">
            <a:extLst>
              <a:ext uri="{FF2B5EF4-FFF2-40B4-BE49-F238E27FC236}">
                <a16:creationId xmlns:a16="http://schemas.microsoft.com/office/drawing/2014/main" id="{88F424B4-23F2-4BC4-9F05-EFD274B86F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6749" y="6511376"/>
            <a:ext cx="427613" cy="366062"/>
          </a:xfrm>
        </p:spPr>
        <p:txBody>
          <a:bodyPr vert="horz" lIns="91431" tIns="45716" rIns="91431" bIns="45716" rtlCol="0" anchor="ctr"/>
          <a:lstStyle>
            <a:lvl1pPr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8032" indent="-29155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6203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2684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9165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5646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32128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8609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5090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</a:pPr>
            <a:fld id="{81B0E709-330D-42F1-99D8-8F0631D80F88}" type="slidenum">
              <a:rPr lang="en-US" altLang="en-US" sz="1020">
                <a:solidFill>
                  <a:schemeClr val="bg1"/>
                </a:solidFill>
              </a:rPr>
              <a:pPr eaLnBrk="1" hangingPunct="1">
                <a:buClr>
                  <a:schemeClr val="tx1"/>
                </a:buClr>
              </a:pPr>
              <a:t>14</a:t>
            </a:fld>
            <a:endParaRPr lang="en-US" altLang="en-US" sz="1020">
              <a:solidFill>
                <a:schemeClr val="bg1"/>
              </a:solidFill>
            </a:endParaRPr>
          </a:p>
        </p:txBody>
      </p:sp>
      <p:sp>
        <p:nvSpPr>
          <p:cNvPr id="96260" name="Rectangle 33">
            <a:extLst>
              <a:ext uri="{FF2B5EF4-FFF2-40B4-BE49-F238E27FC236}">
                <a16:creationId xmlns:a16="http://schemas.microsoft.com/office/drawing/2014/main" id="{D7E37B7E-37DB-4F53-80B6-935D3B6DC2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8495" y="800155"/>
            <a:ext cx="903818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tx2"/>
              </a:buClr>
              <a:buSzPct val="120000"/>
            </a:pPr>
            <a:r>
              <a:rPr lang="en-US" altLang="en-US" sz="1428" b="1" dirty="0">
                <a:solidFill>
                  <a:srgbClr val="FF0000"/>
                </a:solidFill>
              </a:rPr>
              <a:t>2010</a:t>
            </a:r>
          </a:p>
        </p:txBody>
      </p:sp>
      <p:sp>
        <p:nvSpPr>
          <p:cNvPr id="96261" name="Rectangle 33">
            <a:extLst>
              <a:ext uri="{FF2B5EF4-FFF2-40B4-BE49-F238E27FC236}">
                <a16:creationId xmlns:a16="http://schemas.microsoft.com/office/drawing/2014/main" id="{B55E351E-5E2D-4521-AAE2-E9338D339A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7579" y="800155"/>
            <a:ext cx="903818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tx2"/>
              </a:buClr>
              <a:buSzPct val="120000"/>
            </a:pPr>
            <a:r>
              <a:rPr lang="en-US" altLang="en-US" sz="1428" b="1" dirty="0">
                <a:solidFill>
                  <a:srgbClr val="FF0000"/>
                </a:solidFill>
              </a:rPr>
              <a:t>2015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E997D3A-4B88-4C9C-ADF5-3B81C98DA614}"/>
              </a:ext>
            </a:extLst>
          </p:cNvPr>
          <p:cNvCxnSpPr/>
          <p:nvPr/>
        </p:nvCxnSpPr>
        <p:spPr>
          <a:xfrm>
            <a:off x="3150674" y="1017200"/>
            <a:ext cx="1399460" cy="162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83AA967-322D-4DA5-814F-21CCCE9F5424}"/>
              </a:ext>
            </a:extLst>
          </p:cNvPr>
          <p:cNvCxnSpPr/>
          <p:nvPr/>
        </p:nvCxnSpPr>
        <p:spPr>
          <a:xfrm>
            <a:off x="7488351" y="1017200"/>
            <a:ext cx="1399460" cy="162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utoShape 15">
            <a:extLst>
              <a:ext uri="{FF2B5EF4-FFF2-40B4-BE49-F238E27FC236}">
                <a16:creationId xmlns:a16="http://schemas.microsoft.com/office/drawing/2014/main" id="{74B2FF17-1ACF-4B43-9347-4CA19DCC79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1162977"/>
            <a:ext cx="1255303" cy="932973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31" tIns="45716" rIns="91431" bIns="45716" anchor="ctr"/>
          <a:lstStyle/>
          <a:p>
            <a:pPr algn="ctr">
              <a:defRPr/>
            </a:pPr>
            <a:r>
              <a:rPr lang="en-GB" sz="2041" b="1" dirty="0">
                <a:solidFill>
                  <a:schemeClr val="bg1"/>
                </a:solidFill>
                <a:cs typeface="Arial" pitchFamily="34" charset="0"/>
              </a:rPr>
              <a:t>Cotton</a:t>
            </a:r>
          </a:p>
        </p:txBody>
      </p:sp>
      <p:sp>
        <p:nvSpPr>
          <p:cNvPr id="96265" name="Rectangle 33">
            <a:extLst>
              <a:ext uri="{FF2B5EF4-FFF2-40B4-BE49-F238E27FC236}">
                <a16:creationId xmlns:a16="http://schemas.microsoft.com/office/drawing/2014/main" id="{FFBD6B55-92EB-4792-BD8F-D4254C4DC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9599" y="1172696"/>
            <a:ext cx="1080370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Cotton Lint</a:t>
            </a:r>
          </a:p>
        </p:txBody>
      </p:sp>
      <p:sp>
        <p:nvSpPr>
          <p:cNvPr id="96266" name="Rectangle 33">
            <a:extLst>
              <a:ext uri="{FF2B5EF4-FFF2-40B4-BE49-F238E27FC236}">
                <a16:creationId xmlns:a16="http://schemas.microsoft.com/office/drawing/2014/main" id="{8A0041CF-FC20-44C9-8863-ABE0C29A2D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156" y="1538758"/>
            <a:ext cx="558813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Yield </a:t>
            </a:r>
          </a:p>
        </p:txBody>
      </p:sp>
      <p:sp>
        <p:nvSpPr>
          <p:cNvPr id="96267" name="Rectangle 33">
            <a:extLst>
              <a:ext uri="{FF2B5EF4-FFF2-40B4-BE49-F238E27FC236}">
                <a16:creationId xmlns:a16="http://schemas.microsoft.com/office/drawing/2014/main" id="{A60237B2-6D9B-4281-800E-D91DA3732C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030" y="1927497"/>
            <a:ext cx="519939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Jobs</a:t>
            </a:r>
          </a:p>
        </p:txBody>
      </p:sp>
      <p:sp>
        <p:nvSpPr>
          <p:cNvPr id="96268" name="Rectangle 33">
            <a:extLst>
              <a:ext uri="{FF2B5EF4-FFF2-40B4-BE49-F238E27FC236}">
                <a16:creationId xmlns:a16="http://schemas.microsoft.com/office/drawing/2014/main" id="{E06BBA54-A694-4FFA-9131-300A951A1E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4407" y="1172696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20,000 MT</a:t>
            </a:r>
          </a:p>
        </p:txBody>
      </p:sp>
      <p:sp>
        <p:nvSpPr>
          <p:cNvPr id="96269" name="Rectangle 33">
            <a:extLst>
              <a:ext uri="{FF2B5EF4-FFF2-40B4-BE49-F238E27FC236}">
                <a16:creationId xmlns:a16="http://schemas.microsoft.com/office/drawing/2014/main" id="{E4EECBED-6E64-4CC2-A4A3-28C302C68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3491" y="1172696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140,000 MT</a:t>
            </a:r>
          </a:p>
        </p:txBody>
      </p:sp>
      <p:sp>
        <p:nvSpPr>
          <p:cNvPr id="96270" name="Rectangle 33">
            <a:extLst>
              <a:ext uri="{FF2B5EF4-FFF2-40B4-BE49-F238E27FC236}">
                <a16:creationId xmlns:a16="http://schemas.microsoft.com/office/drawing/2014/main" id="{B89C501C-082B-48CE-B9B5-6E0D1EC92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4407" y="1519321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150 Kg/Ha</a:t>
            </a:r>
          </a:p>
        </p:txBody>
      </p:sp>
      <p:sp>
        <p:nvSpPr>
          <p:cNvPr id="96271" name="Rectangle 33">
            <a:extLst>
              <a:ext uri="{FF2B5EF4-FFF2-40B4-BE49-F238E27FC236}">
                <a16:creationId xmlns:a16="http://schemas.microsoft.com/office/drawing/2014/main" id="{4E9F5762-1795-4C36-B1A1-245189412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3491" y="1519321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400 Kg/Ha</a:t>
            </a:r>
          </a:p>
        </p:txBody>
      </p:sp>
      <p:sp>
        <p:nvSpPr>
          <p:cNvPr id="96272" name="Rectangle 33">
            <a:extLst>
              <a:ext uri="{FF2B5EF4-FFF2-40B4-BE49-F238E27FC236}">
                <a16:creationId xmlns:a16="http://schemas.microsoft.com/office/drawing/2014/main" id="{2F41666C-E420-4432-9283-9702BA3EE4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3491" y="1927497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125,000</a:t>
            </a:r>
          </a:p>
        </p:txBody>
      </p:sp>
      <p:sp>
        <p:nvSpPr>
          <p:cNvPr id="38" name="Right Arrow 37">
            <a:extLst>
              <a:ext uri="{FF2B5EF4-FFF2-40B4-BE49-F238E27FC236}">
                <a16:creationId xmlns:a16="http://schemas.microsoft.com/office/drawing/2014/main" id="{217DB023-A7B9-401D-8B9A-DB0DD0BF4CAD}"/>
              </a:ext>
            </a:extLst>
          </p:cNvPr>
          <p:cNvSpPr/>
          <p:nvPr/>
        </p:nvSpPr>
        <p:spPr bwMode="auto">
          <a:xfrm>
            <a:off x="4627882" y="1211570"/>
            <a:ext cx="2798919" cy="16683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39" name="Right Arrow 38">
            <a:extLst>
              <a:ext uri="{FF2B5EF4-FFF2-40B4-BE49-F238E27FC236}">
                <a16:creationId xmlns:a16="http://schemas.microsoft.com/office/drawing/2014/main" id="{7A4FB12A-952D-4FD2-AC8B-84ED3EB3C518}"/>
              </a:ext>
            </a:extLst>
          </p:cNvPr>
          <p:cNvSpPr/>
          <p:nvPr/>
        </p:nvSpPr>
        <p:spPr bwMode="auto">
          <a:xfrm>
            <a:off x="4627882" y="1572773"/>
            <a:ext cx="2798919" cy="166833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40" name="Right Arrow 39">
            <a:extLst>
              <a:ext uri="{FF2B5EF4-FFF2-40B4-BE49-F238E27FC236}">
                <a16:creationId xmlns:a16="http://schemas.microsoft.com/office/drawing/2014/main" id="{FA80B791-DABC-48FF-B979-C67C4A2D188B}"/>
              </a:ext>
            </a:extLst>
          </p:cNvPr>
          <p:cNvSpPr/>
          <p:nvPr/>
        </p:nvSpPr>
        <p:spPr bwMode="auto">
          <a:xfrm>
            <a:off x="4684572" y="1948554"/>
            <a:ext cx="2798919" cy="166833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41" name="AutoShape 15">
            <a:extLst>
              <a:ext uri="{FF2B5EF4-FFF2-40B4-BE49-F238E27FC236}">
                <a16:creationId xmlns:a16="http://schemas.microsoft.com/office/drawing/2014/main" id="{D8AA26B6-5D26-4AC4-8806-DD64C6EAB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2487929"/>
            <a:ext cx="1255303" cy="932973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31" tIns="45716" rIns="91431" bIns="45716" anchor="ctr"/>
          <a:lstStyle/>
          <a:p>
            <a:pPr algn="ctr">
              <a:defRPr/>
            </a:pPr>
            <a:r>
              <a:rPr lang="en-GB" sz="2041" b="1" dirty="0">
                <a:solidFill>
                  <a:schemeClr val="bg1"/>
                </a:solidFill>
                <a:cs typeface="Arial" pitchFamily="34" charset="0"/>
              </a:rPr>
              <a:t>Fertilizer</a:t>
            </a:r>
          </a:p>
        </p:txBody>
      </p:sp>
      <p:sp>
        <p:nvSpPr>
          <p:cNvPr id="96277" name="Rectangle 33">
            <a:extLst>
              <a:ext uri="{FF2B5EF4-FFF2-40B4-BE49-F238E27FC236}">
                <a16:creationId xmlns:a16="http://schemas.microsoft.com/office/drawing/2014/main" id="{FA60C5EC-6950-4A9C-9035-0F5D9D8A7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0721" y="2632087"/>
            <a:ext cx="1358966" cy="672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Number of </a:t>
            </a:r>
          </a:p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Farmers </a:t>
            </a:r>
          </a:p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 b="1">
                <a:solidFill>
                  <a:schemeClr val="tx1"/>
                </a:solidFill>
              </a:rPr>
              <a:t>Reached </a:t>
            </a:r>
          </a:p>
        </p:txBody>
      </p:sp>
      <p:sp>
        <p:nvSpPr>
          <p:cNvPr id="96278" name="Rectangle 33">
            <a:extLst>
              <a:ext uri="{FF2B5EF4-FFF2-40B4-BE49-F238E27FC236}">
                <a16:creationId xmlns:a16="http://schemas.microsoft.com/office/drawing/2014/main" id="{601F2470-B4EB-4025-B00C-CC9BE669A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125" y="2857231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550,000</a:t>
            </a:r>
            <a:r>
              <a:rPr lang="en-US" altLang="en-US" sz="1428" baseline="30000">
                <a:solidFill>
                  <a:schemeClr val="tx1"/>
                </a:solidFill>
              </a:rPr>
              <a:t>†</a:t>
            </a:r>
          </a:p>
        </p:txBody>
      </p:sp>
      <p:sp>
        <p:nvSpPr>
          <p:cNvPr id="96279" name="Rectangle 33">
            <a:extLst>
              <a:ext uri="{FF2B5EF4-FFF2-40B4-BE49-F238E27FC236}">
                <a16:creationId xmlns:a16="http://schemas.microsoft.com/office/drawing/2014/main" id="{3D503DF1-8106-4095-9F6A-6E1E208AD2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3210" y="2857231"/>
            <a:ext cx="1302275" cy="224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Ctr="1">
            <a:spAutoFit/>
          </a:bodyPr>
          <a:lstStyle>
            <a:lvl1pPr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buClr>
                <a:schemeClr val="tx2"/>
              </a:buClr>
              <a:buSzPct val="120000"/>
            </a:pPr>
            <a:r>
              <a:rPr lang="en-US" altLang="en-US" sz="1428">
                <a:solidFill>
                  <a:schemeClr val="tx1"/>
                </a:solidFill>
              </a:rPr>
              <a:t>20,000,000</a:t>
            </a: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E63DDB5C-9C3A-4E34-9C26-70CC68308C13}"/>
              </a:ext>
            </a:extLst>
          </p:cNvPr>
          <p:cNvSpPr/>
          <p:nvPr/>
        </p:nvSpPr>
        <p:spPr bwMode="auto">
          <a:xfrm>
            <a:off x="4637600" y="2896105"/>
            <a:ext cx="2798919" cy="165214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3526">
              <a:buClr>
                <a:schemeClr val="tx2"/>
              </a:buClr>
              <a:defRPr/>
            </a:pPr>
            <a:endParaRPr lang="en-US" sz="1837">
              <a:latin typeface="Arial" charset="0"/>
              <a:cs typeface="Arial" charset="0"/>
            </a:endParaRPr>
          </a:p>
        </p:txBody>
      </p:sp>
      <p:sp>
        <p:nvSpPr>
          <p:cNvPr id="96281" name="TextBox 2">
            <a:extLst>
              <a:ext uri="{FF2B5EF4-FFF2-40B4-BE49-F238E27FC236}">
                <a16:creationId xmlns:a16="http://schemas.microsoft.com/office/drawing/2014/main" id="{C46D0CF2-D43F-4B1C-B7CC-ABDB47E28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0" y="5251214"/>
            <a:ext cx="9025219" cy="47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24">
                <a:solidFill>
                  <a:schemeClr val="tx1"/>
                </a:solidFill>
              </a:rPr>
              <a:t>† Assumes 500,000 metric tons of fertilizer is targeted at 5 million farmers (100kg i.e. 2 bags per farmer), only reaching 11% of targeted farmers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013C316-D7AE-4125-8139-B563DCD800F3}"/>
              </a:ext>
            </a:extLst>
          </p:cNvPr>
          <p:cNvSpPr/>
          <p:nvPr/>
        </p:nvSpPr>
        <p:spPr>
          <a:xfrm>
            <a:off x="665018" y="6057900"/>
            <a:ext cx="3345873" cy="1870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Policy, program and project budgeting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Budgeting at the Subsector Leve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Guided by the sector policy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Crop sector, fertilizer sector, processing sector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Agroecological budgeting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0160131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60" name="Rectangle 87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264035" y="170074"/>
            <a:ext cx="8565716" cy="596066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2000" dirty="0">
                <a:solidFill>
                  <a:schemeClr val="accent6">
                    <a:lumMod val="50000"/>
                  </a:schemeClr>
                </a:solidFill>
              </a:rPr>
              <a:t>3.1  Identified 10 high-potential breadbaskets in which to pilot investments - (1/2)</a:t>
            </a:r>
            <a:endParaRPr lang="en-GB" sz="2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8675" name="Rectangle 280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fld id="{3E1E7817-C2F2-4117-A8EE-6E6C1AE2C9BD}" type="datetimeFigureOut">
              <a:rPr lang="en-US" smtClean="0"/>
              <a:pPr/>
              <a:t>4/7/2021</a:t>
            </a:fld>
            <a:endParaRPr lang="en-GB" sz="1000" b="0" dirty="0">
              <a:solidFill>
                <a:schemeClr val="bg1"/>
              </a:solidFill>
            </a:endParaRPr>
          </a:p>
        </p:txBody>
      </p:sp>
      <p:sp>
        <p:nvSpPr>
          <p:cNvPr id="14341" name="Freeform 2"/>
          <p:cNvSpPr>
            <a:spLocks/>
          </p:cNvSpPr>
          <p:nvPr/>
        </p:nvSpPr>
        <p:spPr bwMode="gray">
          <a:xfrm>
            <a:off x="6056584" y="2528423"/>
            <a:ext cx="1393063" cy="2092710"/>
          </a:xfrm>
          <a:custGeom>
            <a:avLst/>
            <a:gdLst>
              <a:gd name="T0" fmla="*/ 2147483647 w 822"/>
              <a:gd name="T1" fmla="*/ 2147483647 h 1236"/>
              <a:gd name="T2" fmla="*/ 2147483647 w 822"/>
              <a:gd name="T3" fmla="*/ 2147483647 h 1236"/>
              <a:gd name="T4" fmla="*/ 2147483647 w 822"/>
              <a:gd name="T5" fmla="*/ 2147483647 h 1236"/>
              <a:gd name="T6" fmla="*/ 2147483647 w 822"/>
              <a:gd name="T7" fmla="*/ 2147483647 h 1236"/>
              <a:gd name="T8" fmla="*/ 2147483647 w 822"/>
              <a:gd name="T9" fmla="*/ 2147483647 h 1236"/>
              <a:gd name="T10" fmla="*/ 2147483647 w 822"/>
              <a:gd name="T11" fmla="*/ 2147483647 h 1236"/>
              <a:gd name="T12" fmla="*/ 2147483647 w 822"/>
              <a:gd name="T13" fmla="*/ 2147483647 h 1236"/>
              <a:gd name="T14" fmla="*/ 2147483647 w 822"/>
              <a:gd name="T15" fmla="*/ 2147483647 h 1236"/>
              <a:gd name="T16" fmla="*/ 2147483647 w 822"/>
              <a:gd name="T17" fmla="*/ 2147483647 h 1236"/>
              <a:gd name="T18" fmla="*/ 2147483647 w 822"/>
              <a:gd name="T19" fmla="*/ 2147483647 h 1236"/>
              <a:gd name="T20" fmla="*/ 2147483647 w 822"/>
              <a:gd name="T21" fmla="*/ 2147483647 h 1236"/>
              <a:gd name="T22" fmla="*/ 2147483647 w 822"/>
              <a:gd name="T23" fmla="*/ 2147483647 h 1236"/>
              <a:gd name="T24" fmla="*/ 2147483647 w 822"/>
              <a:gd name="T25" fmla="*/ 2147483647 h 1236"/>
              <a:gd name="T26" fmla="*/ 2147483647 w 822"/>
              <a:gd name="T27" fmla="*/ 2147483647 h 1236"/>
              <a:gd name="T28" fmla="*/ 2147483647 w 822"/>
              <a:gd name="T29" fmla="*/ 2147483647 h 1236"/>
              <a:gd name="T30" fmla="*/ 2147483647 w 822"/>
              <a:gd name="T31" fmla="*/ 2147483647 h 1236"/>
              <a:gd name="T32" fmla="*/ 2147483647 w 822"/>
              <a:gd name="T33" fmla="*/ 2147483647 h 1236"/>
              <a:gd name="T34" fmla="*/ 2147483647 w 822"/>
              <a:gd name="T35" fmla="*/ 2147483647 h 1236"/>
              <a:gd name="T36" fmla="*/ 2147483647 w 822"/>
              <a:gd name="T37" fmla="*/ 2147483647 h 1236"/>
              <a:gd name="T38" fmla="*/ 2147483647 w 822"/>
              <a:gd name="T39" fmla="*/ 2147483647 h 1236"/>
              <a:gd name="T40" fmla="*/ 2147483647 w 822"/>
              <a:gd name="T41" fmla="*/ 2147483647 h 1236"/>
              <a:gd name="T42" fmla="*/ 2147483647 w 822"/>
              <a:gd name="T43" fmla="*/ 2147483647 h 1236"/>
              <a:gd name="T44" fmla="*/ 2147483647 w 822"/>
              <a:gd name="T45" fmla="*/ 2147483647 h 1236"/>
              <a:gd name="T46" fmla="*/ 2147483647 w 822"/>
              <a:gd name="T47" fmla="*/ 2147483647 h 1236"/>
              <a:gd name="T48" fmla="*/ 2147483647 w 822"/>
              <a:gd name="T49" fmla="*/ 2147483647 h 1236"/>
              <a:gd name="T50" fmla="*/ 2147483647 w 822"/>
              <a:gd name="T51" fmla="*/ 2147483647 h 1236"/>
              <a:gd name="T52" fmla="*/ 2147483647 w 822"/>
              <a:gd name="T53" fmla="*/ 2147483647 h 1236"/>
              <a:gd name="T54" fmla="*/ 2147483647 w 822"/>
              <a:gd name="T55" fmla="*/ 2147483647 h 1236"/>
              <a:gd name="T56" fmla="*/ 2147483647 w 822"/>
              <a:gd name="T57" fmla="*/ 2147483647 h 1236"/>
              <a:gd name="T58" fmla="*/ 2147483647 w 822"/>
              <a:gd name="T59" fmla="*/ 2147483647 h 1236"/>
              <a:gd name="T60" fmla="*/ 2147483647 w 822"/>
              <a:gd name="T61" fmla="*/ 2147483647 h 1236"/>
              <a:gd name="T62" fmla="*/ 2147483647 w 822"/>
              <a:gd name="T63" fmla="*/ 2147483647 h 1236"/>
              <a:gd name="T64" fmla="*/ 2147483647 w 822"/>
              <a:gd name="T65" fmla="*/ 2147483647 h 1236"/>
              <a:gd name="T66" fmla="*/ 2147483647 w 822"/>
              <a:gd name="T67" fmla="*/ 2147483647 h 1236"/>
              <a:gd name="T68" fmla="*/ 2147483647 w 822"/>
              <a:gd name="T69" fmla="*/ 2147483647 h 1236"/>
              <a:gd name="T70" fmla="*/ 2147483647 w 822"/>
              <a:gd name="T71" fmla="*/ 2147483647 h 1236"/>
              <a:gd name="T72" fmla="*/ 2147483647 w 822"/>
              <a:gd name="T73" fmla="*/ 2147483647 h 1236"/>
              <a:gd name="T74" fmla="*/ 2147483647 w 822"/>
              <a:gd name="T75" fmla="*/ 2147483647 h 1236"/>
              <a:gd name="T76" fmla="*/ 2147483647 w 822"/>
              <a:gd name="T77" fmla="*/ 2147483647 h 1236"/>
              <a:gd name="T78" fmla="*/ 2147483647 w 822"/>
              <a:gd name="T79" fmla="*/ 2147483647 h 1236"/>
              <a:gd name="T80" fmla="*/ 2147483647 w 822"/>
              <a:gd name="T81" fmla="*/ 2147483647 h 1236"/>
              <a:gd name="T82" fmla="*/ 2147483647 w 822"/>
              <a:gd name="T83" fmla="*/ 2147483647 h 1236"/>
              <a:gd name="T84" fmla="*/ 2147483647 w 822"/>
              <a:gd name="T85" fmla="*/ 2147483647 h 1236"/>
              <a:gd name="T86" fmla="*/ 2147483647 w 822"/>
              <a:gd name="T87" fmla="*/ 2147483647 h 1236"/>
              <a:gd name="T88" fmla="*/ 2147483647 w 822"/>
              <a:gd name="T89" fmla="*/ 2147483647 h 1236"/>
              <a:gd name="T90" fmla="*/ 2147483647 w 822"/>
              <a:gd name="T91" fmla="*/ 2147483647 h 1236"/>
              <a:gd name="T92" fmla="*/ 2147483647 w 822"/>
              <a:gd name="T93" fmla="*/ 2147483647 h 1236"/>
              <a:gd name="T94" fmla="*/ 2147483647 w 822"/>
              <a:gd name="T95" fmla="*/ 2147483647 h 1236"/>
              <a:gd name="T96" fmla="*/ 2147483647 w 822"/>
              <a:gd name="T97" fmla="*/ 2147483647 h 1236"/>
              <a:gd name="T98" fmla="*/ 2147483647 w 822"/>
              <a:gd name="T99" fmla="*/ 2147483647 h 1236"/>
              <a:gd name="T100" fmla="*/ 2147483647 w 822"/>
              <a:gd name="T101" fmla="*/ 2147483647 h 1236"/>
              <a:gd name="T102" fmla="*/ 2147483647 w 822"/>
              <a:gd name="T103" fmla="*/ 2147483647 h 1236"/>
              <a:gd name="T104" fmla="*/ 2147483647 w 822"/>
              <a:gd name="T105" fmla="*/ 2147483647 h 1236"/>
              <a:gd name="T106" fmla="*/ 2147483647 w 822"/>
              <a:gd name="T107" fmla="*/ 2147483647 h 1236"/>
              <a:gd name="T108" fmla="*/ 2147483647 w 822"/>
              <a:gd name="T109" fmla="*/ 2147483647 h 1236"/>
              <a:gd name="T110" fmla="*/ 2147483647 w 822"/>
              <a:gd name="T111" fmla="*/ 2147483647 h 1236"/>
              <a:gd name="T112" fmla="*/ 2147483647 w 822"/>
              <a:gd name="T113" fmla="*/ 2147483647 h 1236"/>
              <a:gd name="T114" fmla="*/ 2147483647 w 822"/>
              <a:gd name="T115" fmla="*/ 2147483647 h 1236"/>
              <a:gd name="T116" fmla="*/ 2147483647 w 822"/>
              <a:gd name="T117" fmla="*/ 2147483647 h 1236"/>
              <a:gd name="T118" fmla="*/ 2147483647 w 822"/>
              <a:gd name="T119" fmla="*/ 2147483647 h 1236"/>
              <a:gd name="T120" fmla="*/ 2147483647 w 822"/>
              <a:gd name="T121" fmla="*/ 2147483647 h 12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22"/>
              <a:gd name="T184" fmla="*/ 0 h 1236"/>
              <a:gd name="T185" fmla="*/ 822 w 822"/>
              <a:gd name="T186" fmla="*/ 1236 h 12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22" h="1236">
                <a:moveTo>
                  <a:pt x="187" y="1236"/>
                </a:moveTo>
                <a:lnTo>
                  <a:pt x="187" y="1230"/>
                </a:lnTo>
                <a:lnTo>
                  <a:pt x="182" y="1219"/>
                </a:lnTo>
                <a:lnTo>
                  <a:pt x="176" y="1213"/>
                </a:lnTo>
                <a:lnTo>
                  <a:pt x="176" y="1202"/>
                </a:lnTo>
                <a:lnTo>
                  <a:pt x="176" y="1196"/>
                </a:lnTo>
                <a:lnTo>
                  <a:pt x="170" y="1179"/>
                </a:lnTo>
                <a:lnTo>
                  <a:pt x="170" y="1173"/>
                </a:lnTo>
                <a:lnTo>
                  <a:pt x="170" y="1168"/>
                </a:lnTo>
                <a:lnTo>
                  <a:pt x="170" y="1162"/>
                </a:lnTo>
                <a:lnTo>
                  <a:pt x="170" y="1156"/>
                </a:lnTo>
                <a:lnTo>
                  <a:pt x="170" y="1151"/>
                </a:lnTo>
                <a:lnTo>
                  <a:pt x="170" y="1145"/>
                </a:lnTo>
                <a:lnTo>
                  <a:pt x="170" y="1139"/>
                </a:lnTo>
                <a:lnTo>
                  <a:pt x="170" y="1134"/>
                </a:lnTo>
                <a:lnTo>
                  <a:pt x="170" y="1122"/>
                </a:lnTo>
                <a:lnTo>
                  <a:pt x="165" y="1122"/>
                </a:lnTo>
                <a:lnTo>
                  <a:pt x="159" y="1117"/>
                </a:lnTo>
                <a:lnTo>
                  <a:pt x="159" y="1111"/>
                </a:lnTo>
                <a:lnTo>
                  <a:pt x="153" y="1111"/>
                </a:lnTo>
                <a:lnTo>
                  <a:pt x="153" y="1105"/>
                </a:lnTo>
                <a:lnTo>
                  <a:pt x="148" y="1105"/>
                </a:lnTo>
                <a:lnTo>
                  <a:pt x="142" y="1105"/>
                </a:lnTo>
                <a:lnTo>
                  <a:pt x="136" y="1094"/>
                </a:lnTo>
                <a:lnTo>
                  <a:pt x="131" y="1094"/>
                </a:lnTo>
                <a:lnTo>
                  <a:pt x="131" y="1082"/>
                </a:lnTo>
                <a:lnTo>
                  <a:pt x="125" y="1082"/>
                </a:lnTo>
                <a:lnTo>
                  <a:pt x="119" y="1077"/>
                </a:lnTo>
                <a:lnTo>
                  <a:pt x="114" y="1071"/>
                </a:lnTo>
                <a:lnTo>
                  <a:pt x="114" y="1065"/>
                </a:lnTo>
                <a:lnTo>
                  <a:pt x="108" y="1065"/>
                </a:lnTo>
                <a:lnTo>
                  <a:pt x="102" y="1060"/>
                </a:lnTo>
                <a:lnTo>
                  <a:pt x="97" y="1060"/>
                </a:lnTo>
                <a:lnTo>
                  <a:pt x="91" y="1060"/>
                </a:lnTo>
                <a:lnTo>
                  <a:pt x="91" y="1065"/>
                </a:lnTo>
                <a:lnTo>
                  <a:pt x="85" y="1065"/>
                </a:lnTo>
                <a:lnTo>
                  <a:pt x="80" y="1071"/>
                </a:lnTo>
                <a:lnTo>
                  <a:pt x="80" y="1077"/>
                </a:lnTo>
                <a:lnTo>
                  <a:pt x="80" y="1082"/>
                </a:lnTo>
                <a:lnTo>
                  <a:pt x="74" y="1088"/>
                </a:lnTo>
                <a:lnTo>
                  <a:pt x="74" y="1094"/>
                </a:lnTo>
                <a:lnTo>
                  <a:pt x="68" y="1099"/>
                </a:lnTo>
                <a:lnTo>
                  <a:pt x="63" y="1105"/>
                </a:lnTo>
                <a:lnTo>
                  <a:pt x="57" y="1099"/>
                </a:lnTo>
                <a:lnTo>
                  <a:pt x="51" y="1099"/>
                </a:lnTo>
                <a:lnTo>
                  <a:pt x="51" y="1094"/>
                </a:lnTo>
                <a:lnTo>
                  <a:pt x="46" y="1094"/>
                </a:lnTo>
                <a:lnTo>
                  <a:pt x="46" y="1082"/>
                </a:lnTo>
                <a:lnTo>
                  <a:pt x="40" y="1077"/>
                </a:lnTo>
                <a:lnTo>
                  <a:pt x="40" y="1071"/>
                </a:lnTo>
                <a:lnTo>
                  <a:pt x="34" y="1060"/>
                </a:lnTo>
                <a:lnTo>
                  <a:pt x="34" y="1054"/>
                </a:lnTo>
                <a:lnTo>
                  <a:pt x="29" y="1048"/>
                </a:lnTo>
                <a:lnTo>
                  <a:pt x="23" y="1037"/>
                </a:lnTo>
                <a:lnTo>
                  <a:pt x="17" y="1031"/>
                </a:lnTo>
                <a:lnTo>
                  <a:pt x="17" y="1026"/>
                </a:lnTo>
                <a:lnTo>
                  <a:pt x="12" y="1026"/>
                </a:lnTo>
                <a:lnTo>
                  <a:pt x="6" y="1026"/>
                </a:lnTo>
                <a:lnTo>
                  <a:pt x="0" y="1020"/>
                </a:lnTo>
                <a:lnTo>
                  <a:pt x="6" y="1020"/>
                </a:lnTo>
                <a:lnTo>
                  <a:pt x="6" y="1014"/>
                </a:lnTo>
                <a:lnTo>
                  <a:pt x="12" y="1009"/>
                </a:lnTo>
                <a:lnTo>
                  <a:pt x="17" y="1009"/>
                </a:lnTo>
                <a:lnTo>
                  <a:pt x="17" y="1003"/>
                </a:lnTo>
                <a:lnTo>
                  <a:pt x="17" y="997"/>
                </a:lnTo>
                <a:lnTo>
                  <a:pt x="23" y="997"/>
                </a:lnTo>
                <a:lnTo>
                  <a:pt x="23" y="992"/>
                </a:lnTo>
                <a:lnTo>
                  <a:pt x="29" y="992"/>
                </a:lnTo>
                <a:lnTo>
                  <a:pt x="29" y="986"/>
                </a:lnTo>
                <a:lnTo>
                  <a:pt x="34" y="986"/>
                </a:lnTo>
                <a:lnTo>
                  <a:pt x="34" y="980"/>
                </a:lnTo>
                <a:lnTo>
                  <a:pt x="40" y="980"/>
                </a:lnTo>
                <a:lnTo>
                  <a:pt x="46" y="975"/>
                </a:lnTo>
                <a:lnTo>
                  <a:pt x="46" y="969"/>
                </a:lnTo>
                <a:lnTo>
                  <a:pt x="46" y="963"/>
                </a:lnTo>
                <a:lnTo>
                  <a:pt x="51" y="963"/>
                </a:lnTo>
                <a:lnTo>
                  <a:pt x="51" y="958"/>
                </a:lnTo>
                <a:lnTo>
                  <a:pt x="51" y="952"/>
                </a:lnTo>
                <a:lnTo>
                  <a:pt x="57" y="952"/>
                </a:lnTo>
                <a:lnTo>
                  <a:pt x="63" y="946"/>
                </a:lnTo>
                <a:lnTo>
                  <a:pt x="63" y="941"/>
                </a:lnTo>
                <a:lnTo>
                  <a:pt x="68" y="941"/>
                </a:lnTo>
                <a:lnTo>
                  <a:pt x="68" y="935"/>
                </a:lnTo>
                <a:lnTo>
                  <a:pt x="74" y="929"/>
                </a:lnTo>
                <a:lnTo>
                  <a:pt x="74" y="924"/>
                </a:lnTo>
                <a:lnTo>
                  <a:pt x="80" y="924"/>
                </a:lnTo>
                <a:lnTo>
                  <a:pt x="80" y="918"/>
                </a:lnTo>
                <a:lnTo>
                  <a:pt x="80" y="912"/>
                </a:lnTo>
                <a:lnTo>
                  <a:pt x="85" y="912"/>
                </a:lnTo>
                <a:lnTo>
                  <a:pt x="85" y="907"/>
                </a:lnTo>
                <a:lnTo>
                  <a:pt x="91" y="901"/>
                </a:lnTo>
                <a:lnTo>
                  <a:pt x="97" y="895"/>
                </a:lnTo>
                <a:lnTo>
                  <a:pt x="102" y="895"/>
                </a:lnTo>
                <a:lnTo>
                  <a:pt x="108" y="895"/>
                </a:lnTo>
                <a:lnTo>
                  <a:pt x="108" y="890"/>
                </a:lnTo>
                <a:lnTo>
                  <a:pt x="114" y="890"/>
                </a:lnTo>
                <a:lnTo>
                  <a:pt x="119" y="884"/>
                </a:lnTo>
                <a:lnTo>
                  <a:pt x="125" y="884"/>
                </a:lnTo>
                <a:lnTo>
                  <a:pt x="131" y="878"/>
                </a:lnTo>
                <a:lnTo>
                  <a:pt x="136" y="873"/>
                </a:lnTo>
                <a:lnTo>
                  <a:pt x="136" y="867"/>
                </a:lnTo>
                <a:lnTo>
                  <a:pt x="142" y="867"/>
                </a:lnTo>
                <a:lnTo>
                  <a:pt x="142" y="861"/>
                </a:lnTo>
                <a:lnTo>
                  <a:pt x="148" y="861"/>
                </a:lnTo>
                <a:lnTo>
                  <a:pt x="148" y="856"/>
                </a:lnTo>
                <a:lnTo>
                  <a:pt x="148" y="850"/>
                </a:lnTo>
                <a:lnTo>
                  <a:pt x="148" y="844"/>
                </a:lnTo>
                <a:lnTo>
                  <a:pt x="148" y="839"/>
                </a:lnTo>
                <a:lnTo>
                  <a:pt x="148" y="816"/>
                </a:lnTo>
                <a:lnTo>
                  <a:pt x="153" y="805"/>
                </a:lnTo>
                <a:lnTo>
                  <a:pt x="153" y="799"/>
                </a:lnTo>
                <a:lnTo>
                  <a:pt x="153" y="793"/>
                </a:lnTo>
                <a:lnTo>
                  <a:pt x="153" y="788"/>
                </a:lnTo>
                <a:lnTo>
                  <a:pt x="159" y="788"/>
                </a:lnTo>
                <a:lnTo>
                  <a:pt x="159" y="776"/>
                </a:lnTo>
                <a:lnTo>
                  <a:pt x="165" y="776"/>
                </a:lnTo>
                <a:lnTo>
                  <a:pt x="165" y="771"/>
                </a:lnTo>
                <a:lnTo>
                  <a:pt x="176" y="759"/>
                </a:lnTo>
                <a:lnTo>
                  <a:pt x="182" y="748"/>
                </a:lnTo>
                <a:lnTo>
                  <a:pt x="182" y="742"/>
                </a:lnTo>
                <a:lnTo>
                  <a:pt x="187" y="731"/>
                </a:lnTo>
                <a:lnTo>
                  <a:pt x="187" y="725"/>
                </a:lnTo>
                <a:lnTo>
                  <a:pt x="187" y="720"/>
                </a:lnTo>
                <a:lnTo>
                  <a:pt x="182" y="714"/>
                </a:lnTo>
                <a:lnTo>
                  <a:pt x="182" y="708"/>
                </a:lnTo>
                <a:lnTo>
                  <a:pt x="182" y="703"/>
                </a:lnTo>
                <a:lnTo>
                  <a:pt x="176" y="703"/>
                </a:lnTo>
                <a:lnTo>
                  <a:pt x="165" y="697"/>
                </a:lnTo>
                <a:lnTo>
                  <a:pt x="165" y="691"/>
                </a:lnTo>
                <a:lnTo>
                  <a:pt x="153" y="691"/>
                </a:lnTo>
                <a:lnTo>
                  <a:pt x="153" y="686"/>
                </a:lnTo>
                <a:lnTo>
                  <a:pt x="148" y="680"/>
                </a:lnTo>
                <a:lnTo>
                  <a:pt x="148" y="674"/>
                </a:lnTo>
                <a:lnTo>
                  <a:pt x="136" y="674"/>
                </a:lnTo>
                <a:lnTo>
                  <a:pt x="136" y="669"/>
                </a:lnTo>
                <a:lnTo>
                  <a:pt x="136" y="663"/>
                </a:lnTo>
                <a:lnTo>
                  <a:pt x="131" y="663"/>
                </a:lnTo>
                <a:lnTo>
                  <a:pt x="125" y="657"/>
                </a:lnTo>
                <a:lnTo>
                  <a:pt x="125" y="652"/>
                </a:lnTo>
                <a:lnTo>
                  <a:pt x="125" y="646"/>
                </a:lnTo>
                <a:lnTo>
                  <a:pt x="125" y="635"/>
                </a:lnTo>
                <a:lnTo>
                  <a:pt x="125" y="623"/>
                </a:lnTo>
                <a:lnTo>
                  <a:pt x="125" y="618"/>
                </a:lnTo>
                <a:lnTo>
                  <a:pt x="125" y="606"/>
                </a:lnTo>
                <a:lnTo>
                  <a:pt x="125" y="601"/>
                </a:lnTo>
                <a:lnTo>
                  <a:pt x="125" y="595"/>
                </a:lnTo>
                <a:lnTo>
                  <a:pt x="119" y="595"/>
                </a:lnTo>
                <a:lnTo>
                  <a:pt x="119" y="589"/>
                </a:lnTo>
                <a:lnTo>
                  <a:pt x="119" y="584"/>
                </a:lnTo>
                <a:lnTo>
                  <a:pt x="114" y="584"/>
                </a:lnTo>
                <a:lnTo>
                  <a:pt x="114" y="578"/>
                </a:lnTo>
                <a:lnTo>
                  <a:pt x="108" y="578"/>
                </a:lnTo>
                <a:lnTo>
                  <a:pt x="108" y="572"/>
                </a:lnTo>
                <a:lnTo>
                  <a:pt x="102" y="572"/>
                </a:lnTo>
                <a:lnTo>
                  <a:pt x="102" y="567"/>
                </a:lnTo>
                <a:lnTo>
                  <a:pt x="97" y="567"/>
                </a:lnTo>
                <a:lnTo>
                  <a:pt x="97" y="561"/>
                </a:lnTo>
                <a:lnTo>
                  <a:pt x="91" y="561"/>
                </a:lnTo>
                <a:lnTo>
                  <a:pt x="85" y="555"/>
                </a:lnTo>
                <a:lnTo>
                  <a:pt x="85" y="550"/>
                </a:lnTo>
                <a:lnTo>
                  <a:pt x="80" y="550"/>
                </a:lnTo>
                <a:lnTo>
                  <a:pt x="68" y="550"/>
                </a:lnTo>
                <a:lnTo>
                  <a:pt x="63" y="544"/>
                </a:lnTo>
                <a:lnTo>
                  <a:pt x="57" y="538"/>
                </a:lnTo>
                <a:lnTo>
                  <a:pt x="51" y="538"/>
                </a:lnTo>
                <a:lnTo>
                  <a:pt x="51" y="533"/>
                </a:lnTo>
                <a:lnTo>
                  <a:pt x="51" y="527"/>
                </a:lnTo>
                <a:lnTo>
                  <a:pt x="51" y="521"/>
                </a:lnTo>
                <a:lnTo>
                  <a:pt x="46" y="521"/>
                </a:lnTo>
                <a:lnTo>
                  <a:pt x="46" y="516"/>
                </a:lnTo>
                <a:lnTo>
                  <a:pt x="40" y="516"/>
                </a:lnTo>
                <a:lnTo>
                  <a:pt x="40" y="510"/>
                </a:lnTo>
                <a:lnTo>
                  <a:pt x="40" y="504"/>
                </a:lnTo>
                <a:lnTo>
                  <a:pt x="40" y="499"/>
                </a:lnTo>
                <a:lnTo>
                  <a:pt x="34" y="499"/>
                </a:lnTo>
                <a:lnTo>
                  <a:pt x="23" y="487"/>
                </a:lnTo>
                <a:lnTo>
                  <a:pt x="29" y="487"/>
                </a:lnTo>
                <a:lnTo>
                  <a:pt x="34" y="482"/>
                </a:lnTo>
                <a:lnTo>
                  <a:pt x="46" y="482"/>
                </a:lnTo>
                <a:lnTo>
                  <a:pt x="63" y="482"/>
                </a:lnTo>
                <a:lnTo>
                  <a:pt x="68" y="482"/>
                </a:lnTo>
                <a:lnTo>
                  <a:pt x="68" y="476"/>
                </a:lnTo>
                <a:lnTo>
                  <a:pt x="74" y="476"/>
                </a:lnTo>
                <a:lnTo>
                  <a:pt x="80" y="470"/>
                </a:lnTo>
                <a:lnTo>
                  <a:pt x="85" y="470"/>
                </a:lnTo>
                <a:lnTo>
                  <a:pt x="91" y="470"/>
                </a:lnTo>
                <a:lnTo>
                  <a:pt x="97" y="470"/>
                </a:lnTo>
                <a:lnTo>
                  <a:pt x="102" y="470"/>
                </a:lnTo>
                <a:lnTo>
                  <a:pt x="102" y="465"/>
                </a:lnTo>
                <a:lnTo>
                  <a:pt x="108" y="465"/>
                </a:lnTo>
                <a:lnTo>
                  <a:pt x="114" y="465"/>
                </a:lnTo>
                <a:lnTo>
                  <a:pt x="119" y="459"/>
                </a:lnTo>
                <a:lnTo>
                  <a:pt x="125" y="453"/>
                </a:lnTo>
                <a:lnTo>
                  <a:pt x="131" y="453"/>
                </a:lnTo>
                <a:lnTo>
                  <a:pt x="136" y="453"/>
                </a:lnTo>
                <a:lnTo>
                  <a:pt x="136" y="448"/>
                </a:lnTo>
                <a:lnTo>
                  <a:pt x="136" y="442"/>
                </a:lnTo>
                <a:lnTo>
                  <a:pt x="142" y="442"/>
                </a:lnTo>
                <a:lnTo>
                  <a:pt x="148" y="436"/>
                </a:lnTo>
                <a:lnTo>
                  <a:pt x="153" y="436"/>
                </a:lnTo>
                <a:lnTo>
                  <a:pt x="153" y="431"/>
                </a:lnTo>
                <a:lnTo>
                  <a:pt x="153" y="425"/>
                </a:lnTo>
                <a:lnTo>
                  <a:pt x="159" y="425"/>
                </a:lnTo>
                <a:lnTo>
                  <a:pt x="165" y="425"/>
                </a:lnTo>
                <a:lnTo>
                  <a:pt x="165" y="419"/>
                </a:lnTo>
                <a:lnTo>
                  <a:pt x="170" y="414"/>
                </a:lnTo>
                <a:lnTo>
                  <a:pt x="170" y="402"/>
                </a:lnTo>
                <a:lnTo>
                  <a:pt x="170" y="397"/>
                </a:lnTo>
                <a:lnTo>
                  <a:pt x="170" y="391"/>
                </a:lnTo>
                <a:lnTo>
                  <a:pt x="170" y="374"/>
                </a:lnTo>
                <a:lnTo>
                  <a:pt x="170" y="368"/>
                </a:lnTo>
                <a:lnTo>
                  <a:pt x="170" y="363"/>
                </a:lnTo>
                <a:lnTo>
                  <a:pt x="170" y="357"/>
                </a:lnTo>
                <a:lnTo>
                  <a:pt x="170" y="351"/>
                </a:lnTo>
                <a:lnTo>
                  <a:pt x="165" y="346"/>
                </a:lnTo>
                <a:lnTo>
                  <a:pt x="165" y="340"/>
                </a:lnTo>
                <a:lnTo>
                  <a:pt x="165" y="334"/>
                </a:lnTo>
                <a:lnTo>
                  <a:pt x="165" y="329"/>
                </a:lnTo>
                <a:lnTo>
                  <a:pt x="159" y="317"/>
                </a:lnTo>
                <a:lnTo>
                  <a:pt x="182" y="329"/>
                </a:lnTo>
                <a:lnTo>
                  <a:pt x="187" y="329"/>
                </a:lnTo>
                <a:lnTo>
                  <a:pt x="199" y="329"/>
                </a:lnTo>
                <a:lnTo>
                  <a:pt x="204" y="329"/>
                </a:lnTo>
                <a:lnTo>
                  <a:pt x="210" y="329"/>
                </a:lnTo>
                <a:lnTo>
                  <a:pt x="216" y="329"/>
                </a:lnTo>
                <a:lnTo>
                  <a:pt x="227" y="329"/>
                </a:lnTo>
                <a:lnTo>
                  <a:pt x="233" y="329"/>
                </a:lnTo>
                <a:lnTo>
                  <a:pt x="244" y="317"/>
                </a:lnTo>
                <a:lnTo>
                  <a:pt x="250" y="317"/>
                </a:lnTo>
                <a:lnTo>
                  <a:pt x="250" y="312"/>
                </a:lnTo>
                <a:lnTo>
                  <a:pt x="250" y="300"/>
                </a:lnTo>
                <a:lnTo>
                  <a:pt x="255" y="289"/>
                </a:lnTo>
                <a:lnTo>
                  <a:pt x="255" y="283"/>
                </a:lnTo>
                <a:lnTo>
                  <a:pt x="255" y="278"/>
                </a:lnTo>
                <a:lnTo>
                  <a:pt x="255" y="272"/>
                </a:lnTo>
                <a:lnTo>
                  <a:pt x="261" y="272"/>
                </a:lnTo>
                <a:lnTo>
                  <a:pt x="267" y="266"/>
                </a:lnTo>
                <a:lnTo>
                  <a:pt x="267" y="261"/>
                </a:lnTo>
                <a:lnTo>
                  <a:pt x="272" y="261"/>
                </a:lnTo>
                <a:lnTo>
                  <a:pt x="272" y="255"/>
                </a:lnTo>
                <a:lnTo>
                  <a:pt x="278" y="255"/>
                </a:lnTo>
                <a:lnTo>
                  <a:pt x="284" y="244"/>
                </a:lnTo>
                <a:lnTo>
                  <a:pt x="289" y="238"/>
                </a:lnTo>
                <a:lnTo>
                  <a:pt x="295" y="238"/>
                </a:lnTo>
                <a:lnTo>
                  <a:pt x="301" y="232"/>
                </a:lnTo>
                <a:lnTo>
                  <a:pt x="306" y="232"/>
                </a:lnTo>
                <a:lnTo>
                  <a:pt x="312" y="227"/>
                </a:lnTo>
                <a:lnTo>
                  <a:pt x="318" y="227"/>
                </a:lnTo>
                <a:lnTo>
                  <a:pt x="323" y="227"/>
                </a:lnTo>
                <a:lnTo>
                  <a:pt x="323" y="221"/>
                </a:lnTo>
                <a:lnTo>
                  <a:pt x="329" y="221"/>
                </a:lnTo>
                <a:lnTo>
                  <a:pt x="335" y="221"/>
                </a:lnTo>
                <a:lnTo>
                  <a:pt x="340" y="215"/>
                </a:lnTo>
                <a:lnTo>
                  <a:pt x="352" y="215"/>
                </a:lnTo>
                <a:lnTo>
                  <a:pt x="357" y="215"/>
                </a:lnTo>
                <a:lnTo>
                  <a:pt x="369" y="215"/>
                </a:lnTo>
                <a:lnTo>
                  <a:pt x="386" y="215"/>
                </a:lnTo>
                <a:lnTo>
                  <a:pt x="397" y="215"/>
                </a:lnTo>
                <a:lnTo>
                  <a:pt x="403" y="215"/>
                </a:lnTo>
                <a:lnTo>
                  <a:pt x="409" y="215"/>
                </a:lnTo>
                <a:lnTo>
                  <a:pt x="414" y="210"/>
                </a:lnTo>
                <a:lnTo>
                  <a:pt x="420" y="204"/>
                </a:lnTo>
                <a:lnTo>
                  <a:pt x="426" y="198"/>
                </a:lnTo>
                <a:lnTo>
                  <a:pt x="443" y="181"/>
                </a:lnTo>
                <a:lnTo>
                  <a:pt x="448" y="181"/>
                </a:lnTo>
                <a:lnTo>
                  <a:pt x="448" y="175"/>
                </a:lnTo>
                <a:lnTo>
                  <a:pt x="454" y="170"/>
                </a:lnTo>
                <a:lnTo>
                  <a:pt x="460" y="164"/>
                </a:lnTo>
                <a:lnTo>
                  <a:pt x="465" y="164"/>
                </a:lnTo>
                <a:lnTo>
                  <a:pt x="477" y="153"/>
                </a:lnTo>
                <a:lnTo>
                  <a:pt x="482" y="147"/>
                </a:lnTo>
                <a:lnTo>
                  <a:pt x="482" y="141"/>
                </a:lnTo>
                <a:lnTo>
                  <a:pt x="494" y="136"/>
                </a:lnTo>
                <a:lnTo>
                  <a:pt x="499" y="130"/>
                </a:lnTo>
                <a:lnTo>
                  <a:pt x="505" y="130"/>
                </a:lnTo>
                <a:lnTo>
                  <a:pt x="505" y="124"/>
                </a:lnTo>
                <a:lnTo>
                  <a:pt x="511" y="124"/>
                </a:lnTo>
                <a:lnTo>
                  <a:pt x="516" y="119"/>
                </a:lnTo>
                <a:lnTo>
                  <a:pt x="522" y="119"/>
                </a:lnTo>
                <a:lnTo>
                  <a:pt x="528" y="119"/>
                </a:lnTo>
                <a:lnTo>
                  <a:pt x="533" y="119"/>
                </a:lnTo>
                <a:lnTo>
                  <a:pt x="539" y="124"/>
                </a:lnTo>
                <a:lnTo>
                  <a:pt x="545" y="130"/>
                </a:lnTo>
                <a:lnTo>
                  <a:pt x="550" y="130"/>
                </a:lnTo>
                <a:lnTo>
                  <a:pt x="556" y="136"/>
                </a:lnTo>
                <a:lnTo>
                  <a:pt x="562" y="141"/>
                </a:lnTo>
                <a:lnTo>
                  <a:pt x="567" y="141"/>
                </a:lnTo>
                <a:lnTo>
                  <a:pt x="573" y="147"/>
                </a:lnTo>
                <a:lnTo>
                  <a:pt x="579" y="147"/>
                </a:lnTo>
                <a:lnTo>
                  <a:pt x="584" y="153"/>
                </a:lnTo>
                <a:lnTo>
                  <a:pt x="590" y="158"/>
                </a:lnTo>
                <a:lnTo>
                  <a:pt x="596" y="158"/>
                </a:lnTo>
                <a:lnTo>
                  <a:pt x="601" y="158"/>
                </a:lnTo>
                <a:lnTo>
                  <a:pt x="607" y="158"/>
                </a:lnTo>
                <a:lnTo>
                  <a:pt x="618" y="158"/>
                </a:lnTo>
                <a:lnTo>
                  <a:pt x="635" y="164"/>
                </a:lnTo>
                <a:lnTo>
                  <a:pt x="647" y="164"/>
                </a:lnTo>
                <a:lnTo>
                  <a:pt x="647" y="158"/>
                </a:lnTo>
                <a:lnTo>
                  <a:pt x="652" y="158"/>
                </a:lnTo>
                <a:lnTo>
                  <a:pt x="658" y="158"/>
                </a:lnTo>
                <a:lnTo>
                  <a:pt x="658" y="153"/>
                </a:lnTo>
                <a:lnTo>
                  <a:pt x="664" y="153"/>
                </a:lnTo>
                <a:lnTo>
                  <a:pt x="664" y="147"/>
                </a:lnTo>
                <a:lnTo>
                  <a:pt x="664" y="130"/>
                </a:lnTo>
                <a:lnTo>
                  <a:pt x="669" y="130"/>
                </a:lnTo>
                <a:lnTo>
                  <a:pt x="669" y="124"/>
                </a:lnTo>
                <a:lnTo>
                  <a:pt x="669" y="119"/>
                </a:lnTo>
                <a:lnTo>
                  <a:pt x="669" y="113"/>
                </a:lnTo>
                <a:lnTo>
                  <a:pt x="669" y="107"/>
                </a:lnTo>
                <a:lnTo>
                  <a:pt x="669" y="102"/>
                </a:lnTo>
                <a:lnTo>
                  <a:pt x="675" y="102"/>
                </a:lnTo>
                <a:lnTo>
                  <a:pt x="675" y="96"/>
                </a:lnTo>
                <a:lnTo>
                  <a:pt x="675" y="90"/>
                </a:lnTo>
                <a:lnTo>
                  <a:pt x="681" y="85"/>
                </a:lnTo>
                <a:lnTo>
                  <a:pt x="681" y="79"/>
                </a:lnTo>
                <a:lnTo>
                  <a:pt x="686" y="68"/>
                </a:lnTo>
                <a:lnTo>
                  <a:pt x="692" y="51"/>
                </a:lnTo>
                <a:lnTo>
                  <a:pt x="698" y="39"/>
                </a:lnTo>
                <a:lnTo>
                  <a:pt x="698" y="34"/>
                </a:lnTo>
                <a:lnTo>
                  <a:pt x="698" y="22"/>
                </a:lnTo>
                <a:lnTo>
                  <a:pt x="703" y="17"/>
                </a:lnTo>
                <a:lnTo>
                  <a:pt x="709" y="17"/>
                </a:lnTo>
                <a:lnTo>
                  <a:pt x="709" y="11"/>
                </a:lnTo>
                <a:lnTo>
                  <a:pt x="715" y="11"/>
                </a:lnTo>
                <a:lnTo>
                  <a:pt x="720" y="11"/>
                </a:lnTo>
                <a:lnTo>
                  <a:pt x="726" y="11"/>
                </a:lnTo>
                <a:lnTo>
                  <a:pt x="743" y="11"/>
                </a:lnTo>
                <a:lnTo>
                  <a:pt x="754" y="11"/>
                </a:lnTo>
                <a:lnTo>
                  <a:pt x="760" y="11"/>
                </a:lnTo>
                <a:lnTo>
                  <a:pt x="766" y="11"/>
                </a:lnTo>
                <a:lnTo>
                  <a:pt x="766" y="5"/>
                </a:lnTo>
                <a:lnTo>
                  <a:pt x="771" y="5"/>
                </a:lnTo>
                <a:lnTo>
                  <a:pt x="777" y="5"/>
                </a:lnTo>
                <a:lnTo>
                  <a:pt x="783" y="5"/>
                </a:lnTo>
                <a:lnTo>
                  <a:pt x="788" y="0"/>
                </a:lnTo>
                <a:lnTo>
                  <a:pt x="800" y="0"/>
                </a:lnTo>
                <a:lnTo>
                  <a:pt x="817" y="0"/>
                </a:lnTo>
                <a:lnTo>
                  <a:pt x="822" y="0"/>
                </a:lnTo>
                <a:lnTo>
                  <a:pt x="822" y="5"/>
                </a:lnTo>
                <a:lnTo>
                  <a:pt x="817" y="5"/>
                </a:lnTo>
                <a:lnTo>
                  <a:pt x="817" y="17"/>
                </a:lnTo>
                <a:lnTo>
                  <a:pt x="811" y="22"/>
                </a:lnTo>
                <a:lnTo>
                  <a:pt x="805" y="22"/>
                </a:lnTo>
                <a:lnTo>
                  <a:pt x="805" y="28"/>
                </a:lnTo>
                <a:lnTo>
                  <a:pt x="800" y="28"/>
                </a:lnTo>
                <a:lnTo>
                  <a:pt x="800" y="34"/>
                </a:lnTo>
                <a:lnTo>
                  <a:pt x="794" y="39"/>
                </a:lnTo>
                <a:lnTo>
                  <a:pt x="794" y="45"/>
                </a:lnTo>
                <a:lnTo>
                  <a:pt x="788" y="56"/>
                </a:lnTo>
                <a:lnTo>
                  <a:pt x="788" y="62"/>
                </a:lnTo>
                <a:lnTo>
                  <a:pt x="788" y="68"/>
                </a:lnTo>
                <a:lnTo>
                  <a:pt x="788" y="73"/>
                </a:lnTo>
                <a:lnTo>
                  <a:pt x="783" y="73"/>
                </a:lnTo>
                <a:lnTo>
                  <a:pt x="783" y="79"/>
                </a:lnTo>
                <a:lnTo>
                  <a:pt x="777" y="85"/>
                </a:lnTo>
                <a:lnTo>
                  <a:pt x="771" y="85"/>
                </a:lnTo>
                <a:lnTo>
                  <a:pt x="766" y="90"/>
                </a:lnTo>
                <a:lnTo>
                  <a:pt x="766" y="102"/>
                </a:lnTo>
                <a:lnTo>
                  <a:pt x="766" y="107"/>
                </a:lnTo>
                <a:lnTo>
                  <a:pt x="766" y="113"/>
                </a:lnTo>
                <a:lnTo>
                  <a:pt x="766" y="119"/>
                </a:lnTo>
                <a:lnTo>
                  <a:pt x="766" y="124"/>
                </a:lnTo>
                <a:lnTo>
                  <a:pt x="766" y="130"/>
                </a:lnTo>
                <a:lnTo>
                  <a:pt x="771" y="130"/>
                </a:lnTo>
                <a:lnTo>
                  <a:pt x="771" y="136"/>
                </a:lnTo>
                <a:lnTo>
                  <a:pt x="771" y="141"/>
                </a:lnTo>
                <a:lnTo>
                  <a:pt x="771" y="147"/>
                </a:lnTo>
                <a:lnTo>
                  <a:pt x="771" y="153"/>
                </a:lnTo>
                <a:lnTo>
                  <a:pt x="766" y="153"/>
                </a:lnTo>
                <a:lnTo>
                  <a:pt x="766" y="158"/>
                </a:lnTo>
                <a:lnTo>
                  <a:pt x="760" y="164"/>
                </a:lnTo>
                <a:lnTo>
                  <a:pt x="760" y="170"/>
                </a:lnTo>
                <a:lnTo>
                  <a:pt x="760" y="175"/>
                </a:lnTo>
                <a:lnTo>
                  <a:pt x="760" y="181"/>
                </a:lnTo>
                <a:lnTo>
                  <a:pt x="760" y="187"/>
                </a:lnTo>
                <a:lnTo>
                  <a:pt x="754" y="193"/>
                </a:lnTo>
                <a:lnTo>
                  <a:pt x="754" y="198"/>
                </a:lnTo>
                <a:lnTo>
                  <a:pt x="760" y="204"/>
                </a:lnTo>
                <a:lnTo>
                  <a:pt x="760" y="210"/>
                </a:lnTo>
                <a:lnTo>
                  <a:pt x="754" y="215"/>
                </a:lnTo>
                <a:lnTo>
                  <a:pt x="754" y="221"/>
                </a:lnTo>
                <a:lnTo>
                  <a:pt x="749" y="227"/>
                </a:lnTo>
                <a:lnTo>
                  <a:pt x="743" y="232"/>
                </a:lnTo>
                <a:lnTo>
                  <a:pt x="743" y="238"/>
                </a:lnTo>
                <a:lnTo>
                  <a:pt x="743" y="244"/>
                </a:lnTo>
                <a:lnTo>
                  <a:pt x="743" y="249"/>
                </a:lnTo>
                <a:lnTo>
                  <a:pt x="737" y="255"/>
                </a:lnTo>
                <a:lnTo>
                  <a:pt x="732" y="261"/>
                </a:lnTo>
                <a:lnTo>
                  <a:pt x="726" y="266"/>
                </a:lnTo>
                <a:lnTo>
                  <a:pt x="726" y="272"/>
                </a:lnTo>
                <a:lnTo>
                  <a:pt x="720" y="272"/>
                </a:lnTo>
                <a:lnTo>
                  <a:pt x="715" y="278"/>
                </a:lnTo>
                <a:lnTo>
                  <a:pt x="709" y="278"/>
                </a:lnTo>
                <a:lnTo>
                  <a:pt x="703" y="278"/>
                </a:lnTo>
                <a:lnTo>
                  <a:pt x="698" y="278"/>
                </a:lnTo>
                <a:lnTo>
                  <a:pt x="692" y="278"/>
                </a:lnTo>
                <a:lnTo>
                  <a:pt x="692" y="283"/>
                </a:lnTo>
                <a:lnTo>
                  <a:pt x="686" y="283"/>
                </a:lnTo>
                <a:lnTo>
                  <a:pt x="681" y="289"/>
                </a:lnTo>
                <a:lnTo>
                  <a:pt x="681" y="295"/>
                </a:lnTo>
                <a:lnTo>
                  <a:pt x="675" y="300"/>
                </a:lnTo>
                <a:lnTo>
                  <a:pt x="669" y="312"/>
                </a:lnTo>
                <a:lnTo>
                  <a:pt x="664" y="312"/>
                </a:lnTo>
                <a:lnTo>
                  <a:pt x="664" y="317"/>
                </a:lnTo>
                <a:lnTo>
                  <a:pt x="669" y="323"/>
                </a:lnTo>
                <a:lnTo>
                  <a:pt x="675" y="329"/>
                </a:lnTo>
                <a:lnTo>
                  <a:pt x="675" y="334"/>
                </a:lnTo>
                <a:lnTo>
                  <a:pt x="675" y="340"/>
                </a:lnTo>
                <a:lnTo>
                  <a:pt x="669" y="346"/>
                </a:lnTo>
                <a:lnTo>
                  <a:pt x="669" y="351"/>
                </a:lnTo>
                <a:lnTo>
                  <a:pt x="664" y="351"/>
                </a:lnTo>
                <a:lnTo>
                  <a:pt x="658" y="357"/>
                </a:lnTo>
                <a:lnTo>
                  <a:pt x="658" y="363"/>
                </a:lnTo>
                <a:lnTo>
                  <a:pt x="658" y="368"/>
                </a:lnTo>
                <a:lnTo>
                  <a:pt x="664" y="374"/>
                </a:lnTo>
                <a:lnTo>
                  <a:pt x="669" y="380"/>
                </a:lnTo>
                <a:lnTo>
                  <a:pt x="675" y="380"/>
                </a:lnTo>
                <a:lnTo>
                  <a:pt x="675" y="385"/>
                </a:lnTo>
                <a:lnTo>
                  <a:pt x="681" y="385"/>
                </a:lnTo>
                <a:lnTo>
                  <a:pt x="681" y="391"/>
                </a:lnTo>
                <a:lnTo>
                  <a:pt x="681" y="397"/>
                </a:lnTo>
                <a:lnTo>
                  <a:pt x="681" y="402"/>
                </a:lnTo>
                <a:lnTo>
                  <a:pt x="675" y="402"/>
                </a:lnTo>
                <a:lnTo>
                  <a:pt x="669" y="408"/>
                </a:lnTo>
                <a:lnTo>
                  <a:pt x="669" y="414"/>
                </a:lnTo>
                <a:lnTo>
                  <a:pt x="669" y="419"/>
                </a:lnTo>
                <a:lnTo>
                  <a:pt x="669" y="425"/>
                </a:lnTo>
                <a:lnTo>
                  <a:pt x="669" y="431"/>
                </a:lnTo>
                <a:lnTo>
                  <a:pt x="669" y="436"/>
                </a:lnTo>
                <a:lnTo>
                  <a:pt x="664" y="442"/>
                </a:lnTo>
                <a:lnTo>
                  <a:pt x="664" y="448"/>
                </a:lnTo>
                <a:lnTo>
                  <a:pt x="664" y="453"/>
                </a:lnTo>
                <a:lnTo>
                  <a:pt x="664" y="459"/>
                </a:lnTo>
                <a:lnTo>
                  <a:pt x="664" y="465"/>
                </a:lnTo>
                <a:lnTo>
                  <a:pt x="664" y="470"/>
                </a:lnTo>
                <a:lnTo>
                  <a:pt x="664" y="476"/>
                </a:lnTo>
                <a:lnTo>
                  <a:pt x="658" y="476"/>
                </a:lnTo>
                <a:lnTo>
                  <a:pt x="658" y="482"/>
                </a:lnTo>
                <a:lnTo>
                  <a:pt x="652" y="482"/>
                </a:lnTo>
                <a:lnTo>
                  <a:pt x="647" y="482"/>
                </a:lnTo>
                <a:lnTo>
                  <a:pt x="647" y="487"/>
                </a:lnTo>
                <a:lnTo>
                  <a:pt x="641" y="487"/>
                </a:lnTo>
                <a:lnTo>
                  <a:pt x="635" y="487"/>
                </a:lnTo>
                <a:lnTo>
                  <a:pt x="630" y="487"/>
                </a:lnTo>
                <a:lnTo>
                  <a:pt x="630" y="493"/>
                </a:lnTo>
                <a:lnTo>
                  <a:pt x="624" y="493"/>
                </a:lnTo>
                <a:lnTo>
                  <a:pt x="618" y="493"/>
                </a:lnTo>
                <a:lnTo>
                  <a:pt x="613" y="493"/>
                </a:lnTo>
                <a:lnTo>
                  <a:pt x="601" y="493"/>
                </a:lnTo>
                <a:lnTo>
                  <a:pt x="596" y="493"/>
                </a:lnTo>
                <a:lnTo>
                  <a:pt x="596" y="499"/>
                </a:lnTo>
                <a:lnTo>
                  <a:pt x="584" y="499"/>
                </a:lnTo>
                <a:lnTo>
                  <a:pt x="579" y="504"/>
                </a:lnTo>
                <a:lnTo>
                  <a:pt x="573" y="510"/>
                </a:lnTo>
                <a:lnTo>
                  <a:pt x="567" y="510"/>
                </a:lnTo>
                <a:lnTo>
                  <a:pt x="562" y="516"/>
                </a:lnTo>
                <a:lnTo>
                  <a:pt x="556" y="516"/>
                </a:lnTo>
                <a:lnTo>
                  <a:pt x="556" y="521"/>
                </a:lnTo>
                <a:lnTo>
                  <a:pt x="550" y="527"/>
                </a:lnTo>
                <a:lnTo>
                  <a:pt x="545" y="527"/>
                </a:lnTo>
                <a:lnTo>
                  <a:pt x="533" y="533"/>
                </a:lnTo>
                <a:lnTo>
                  <a:pt x="528" y="538"/>
                </a:lnTo>
                <a:lnTo>
                  <a:pt x="528" y="544"/>
                </a:lnTo>
                <a:lnTo>
                  <a:pt x="528" y="550"/>
                </a:lnTo>
                <a:lnTo>
                  <a:pt x="539" y="550"/>
                </a:lnTo>
                <a:lnTo>
                  <a:pt x="545" y="550"/>
                </a:lnTo>
                <a:lnTo>
                  <a:pt x="545" y="555"/>
                </a:lnTo>
                <a:lnTo>
                  <a:pt x="545" y="561"/>
                </a:lnTo>
                <a:lnTo>
                  <a:pt x="545" y="567"/>
                </a:lnTo>
                <a:lnTo>
                  <a:pt x="545" y="572"/>
                </a:lnTo>
                <a:lnTo>
                  <a:pt x="545" y="578"/>
                </a:lnTo>
                <a:lnTo>
                  <a:pt x="545" y="584"/>
                </a:lnTo>
                <a:lnTo>
                  <a:pt x="545" y="589"/>
                </a:lnTo>
                <a:lnTo>
                  <a:pt x="545" y="595"/>
                </a:lnTo>
                <a:lnTo>
                  <a:pt x="539" y="595"/>
                </a:lnTo>
                <a:lnTo>
                  <a:pt x="539" y="601"/>
                </a:lnTo>
                <a:lnTo>
                  <a:pt x="539" y="606"/>
                </a:lnTo>
                <a:lnTo>
                  <a:pt x="539" y="612"/>
                </a:lnTo>
                <a:lnTo>
                  <a:pt x="533" y="618"/>
                </a:lnTo>
                <a:lnTo>
                  <a:pt x="533" y="623"/>
                </a:lnTo>
                <a:lnTo>
                  <a:pt x="539" y="623"/>
                </a:lnTo>
                <a:lnTo>
                  <a:pt x="539" y="629"/>
                </a:lnTo>
                <a:lnTo>
                  <a:pt x="539" y="635"/>
                </a:lnTo>
                <a:lnTo>
                  <a:pt x="539" y="640"/>
                </a:lnTo>
                <a:lnTo>
                  <a:pt x="539" y="646"/>
                </a:lnTo>
                <a:lnTo>
                  <a:pt x="539" y="652"/>
                </a:lnTo>
                <a:lnTo>
                  <a:pt x="533" y="652"/>
                </a:lnTo>
                <a:lnTo>
                  <a:pt x="533" y="657"/>
                </a:lnTo>
                <a:lnTo>
                  <a:pt x="533" y="663"/>
                </a:lnTo>
                <a:lnTo>
                  <a:pt x="533" y="669"/>
                </a:lnTo>
                <a:lnTo>
                  <a:pt x="528" y="674"/>
                </a:lnTo>
                <a:lnTo>
                  <a:pt x="528" y="680"/>
                </a:lnTo>
                <a:lnTo>
                  <a:pt x="522" y="686"/>
                </a:lnTo>
                <a:lnTo>
                  <a:pt x="522" y="691"/>
                </a:lnTo>
                <a:lnTo>
                  <a:pt x="516" y="697"/>
                </a:lnTo>
                <a:lnTo>
                  <a:pt x="511" y="703"/>
                </a:lnTo>
                <a:lnTo>
                  <a:pt x="505" y="703"/>
                </a:lnTo>
                <a:lnTo>
                  <a:pt x="505" y="708"/>
                </a:lnTo>
                <a:lnTo>
                  <a:pt x="505" y="714"/>
                </a:lnTo>
                <a:lnTo>
                  <a:pt x="511" y="714"/>
                </a:lnTo>
                <a:lnTo>
                  <a:pt x="505" y="720"/>
                </a:lnTo>
                <a:lnTo>
                  <a:pt x="505" y="725"/>
                </a:lnTo>
                <a:lnTo>
                  <a:pt x="505" y="731"/>
                </a:lnTo>
                <a:lnTo>
                  <a:pt x="505" y="737"/>
                </a:lnTo>
                <a:lnTo>
                  <a:pt x="511" y="742"/>
                </a:lnTo>
                <a:lnTo>
                  <a:pt x="511" y="748"/>
                </a:lnTo>
                <a:lnTo>
                  <a:pt x="511" y="759"/>
                </a:lnTo>
                <a:lnTo>
                  <a:pt x="505" y="759"/>
                </a:lnTo>
                <a:lnTo>
                  <a:pt x="499" y="765"/>
                </a:lnTo>
                <a:lnTo>
                  <a:pt x="494" y="765"/>
                </a:lnTo>
                <a:lnTo>
                  <a:pt x="494" y="759"/>
                </a:lnTo>
                <a:lnTo>
                  <a:pt x="488" y="759"/>
                </a:lnTo>
                <a:lnTo>
                  <a:pt x="488" y="765"/>
                </a:lnTo>
                <a:lnTo>
                  <a:pt x="482" y="765"/>
                </a:lnTo>
                <a:lnTo>
                  <a:pt x="477" y="771"/>
                </a:lnTo>
                <a:lnTo>
                  <a:pt x="477" y="776"/>
                </a:lnTo>
                <a:lnTo>
                  <a:pt x="477" y="782"/>
                </a:lnTo>
                <a:lnTo>
                  <a:pt x="477" y="788"/>
                </a:lnTo>
                <a:lnTo>
                  <a:pt x="471" y="793"/>
                </a:lnTo>
                <a:lnTo>
                  <a:pt x="465" y="799"/>
                </a:lnTo>
                <a:lnTo>
                  <a:pt x="465" y="805"/>
                </a:lnTo>
                <a:lnTo>
                  <a:pt x="460" y="805"/>
                </a:lnTo>
                <a:lnTo>
                  <a:pt x="454" y="805"/>
                </a:lnTo>
                <a:lnTo>
                  <a:pt x="448" y="810"/>
                </a:lnTo>
                <a:lnTo>
                  <a:pt x="437" y="816"/>
                </a:lnTo>
                <a:lnTo>
                  <a:pt x="431" y="822"/>
                </a:lnTo>
                <a:lnTo>
                  <a:pt x="426" y="822"/>
                </a:lnTo>
                <a:lnTo>
                  <a:pt x="426" y="816"/>
                </a:lnTo>
                <a:lnTo>
                  <a:pt x="420" y="816"/>
                </a:lnTo>
                <a:lnTo>
                  <a:pt x="414" y="816"/>
                </a:lnTo>
                <a:lnTo>
                  <a:pt x="409" y="810"/>
                </a:lnTo>
                <a:lnTo>
                  <a:pt x="397" y="810"/>
                </a:lnTo>
                <a:lnTo>
                  <a:pt x="392" y="810"/>
                </a:lnTo>
                <a:lnTo>
                  <a:pt x="392" y="816"/>
                </a:lnTo>
                <a:lnTo>
                  <a:pt x="392" y="822"/>
                </a:lnTo>
                <a:lnTo>
                  <a:pt x="386" y="827"/>
                </a:lnTo>
                <a:lnTo>
                  <a:pt x="380" y="833"/>
                </a:lnTo>
                <a:lnTo>
                  <a:pt x="380" y="839"/>
                </a:lnTo>
                <a:lnTo>
                  <a:pt x="380" y="844"/>
                </a:lnTo>
                <a:lnTo>
                  <a:pt x="380" y="850"/>
                </a:lnTo>
                <a:lnTo>
                  <a:pt x="374" y="856"/>
                </a:lnTo>
                <a:lnTo>
                  <a:pt x="369" y="861"/>
                </a:lnTo>
                <a:lnTo>
                  <a:pt x="363" y="861"/>
                </a:lnTo>
                <a:lnTo>
                  <a:pt x="357" y="861"/>
                </a:lnTo>
                <a:lnTo>
                  <a:pt x="352" y="861"/>
                </a:lnTo>
                <a:lnTo>
                  <a:pt x="352" y="867"/>
                </a:lnTo>
                <a:lnTo>
                  <a:pt x="346" y="867"/>
                </a:lnTo>
                <a:lnTo>
                  <a:pt x="335" y="867"/>
                </a:lnTo>
                <a:lnTo>
                  <a:pt x="329" y="867"/>
                </a:lnTo>
                <a:lnTo>
                  <a:pt x="323" y="873"/>
                </a:lnTo>
                <a:lnTo>
                  <a:pt x="318" y="873"/>
                </a:lnTo>
                <a:lnTo>
                  <a:pt x="312" y="873"/>
                </a:lnTo>
                <a:lnTo>
                  <a:pt x="312" y="878"/>
                </a:lnTo>
                <a:lnTo>
                  <a:pt x="306" y="878"/>
                </a:lnTo>
                <a:lnTo>
                  <a:pt x="306" y="890"/>
                </a:lnTo>
                <a:lnTo>
                  <a:pt x="306" y="895"/>
                </a:lnTo>
                <a:lnTo>
                  <a:pt x="306" y="901"/>
                </a:lnTo>
                <a:lnTo>
                  <a:pt x="306" y="907"/>
                </a:lnTo>
                <a:lnTo>
                  <a:pt x="306" y="912"/>
                </a:lnTo>
                <a:lnTo>
                  <a:pt x="312" y="918"/>
                </a:lnTo>
                <a:lnTo>
                  <a:pt x="312" y="929"/>
                </a:lnTo>
                <a:lnTo>
                  <a:pt x="318" y="952"/>
                </a:lnTo>
                <a:lnTo>
                  <a:pt x="318" y="963"/>
                </a:lnTo>
                <a:lnTo>
                  <a:pt x="318" y="969"/>
                </a:lnTo>
                <a:lnTo>
                  <a:pt x="312" y="975"/>
                </a:lnTo>
                <a:lnTo>
                  <a:pt x="306" y="980"/>
                </a:lnTo>
                <a:lnTo>
                  <a:pt x="306" y="986"/>
                </a:lnTo>
                <a:lnTo>
                  <a:pt x="301" y="986"/>
                </a:lnTo>
                <a:lnTo>
                  <a:pt x="301" y="992"/>
                </a:lnTo>
                <a:lnTo>
                  <a:pt x="301" y="997"/>
                </a:lnTo>
                <a:lnTo>
                  <a:pt x="295" y="997"/>
                </a:lnTo>
                <a:lnTo>
                  <a:pt x="301" y="1003"/>
                </a:lnTo>
                <a:lnTo>
                  <a:pt x="301" y="1009"/>
                </a:lnTo>
                <a:lnTo>
                  <a:pt x="301" y="1014"/>
                </a:lnTo>
                <a:lnTo>
                  <a:pt x="301" y="1020"/>
                </a:lnTo>
                <a:lnTo>
                  <a:pt x="301" y="1026"/>
                </a:lnTo>
                <a:lnTo>
                  <a:pt x="301" y="1031"/>
                </a:lnTo>
                <a:lnTo>
                  <a:pt x="301" y="1037"/>
                </a:lnTo>
                <a:lnTo>
                  <a:pt x="301" y="1043"/>
                </a:lnTo>
                <a:lnTo>
                  <a:pt x="295" y="1048"/>
                </a:lnTo>
                <a:lnTo>
                  <a:pt x="295" y="1054"/>
                </a:lnTo>
                <a:lnTo>
                  <a:pt x="289" y="1054"/>
                </a:lnTo>
                <a:lnTo>
                  <a:pt x="289" y="1060"/>
                </a:lnTo>
                <a:lnTo>
                  <a:pt x="284" y="1060"/>
                </a:lnTo>
                <a:lnTo>
                  <a:pt x="284" y="1065"/>
                </a:lnTo>
                <a:lnTo>
                  <a:pt x="278" y="1071"/>
                </a:lnTo>
                <a:lnTo>
                  <a:pt x="272" y="1077"/>
                </a:lnTo>
                <a:lnTo>
                  <a:pt x="267" y="1082"/>
                </a:lnTo>
                <a:lnTo>
                  <a:pt x="261" y="1088"/>
                </a:lnTo>
                <a:lnTo>
                  <a:pt x="255" y="1094"/>
                </a:lnTo>
                <a:lnTo>
                  <a:pt x="255" y="1099"/>
                </a:lnTo>
                <a:lnTo>
                  <a:pt x="250" y="1105"/>
                </a:lnTo>
                <a:lnTo>
                  <a:pt x="250" y="1111"/>
                </a:lnTo>
                <a:lnTo>
                  <a:pt x="244" y="1111"/>
                </a:lnTo>
                <a:lnTo>
                  <a:pt x="244" y="1117"/>
                </a:lnTo>
                <a:lnTo>
                  <a:pt x="244" y="1122"/>
                </a:lnTo>
                <a:lnTo>
                  <a:pt x="238" y="1122"/>
                </a:lnTo>
                <a:lnTo>
                  <a:pt x="238" y="1128"/>
                </a:lnTo>
                <a:lnTo>
                  <a:pt x="238" y="1134"/>
                </a:lnTo>
                <a:lnTo>
                  <a:pt x="238" y="1139"/>
                </a:lnTo>
                <a:lnTo>
                  <a:pt x="238" y="1145"/>
                </a:lnTo>
                <a:lnTo>
                  <a:pt x="238" y="1151"/>
                </a:lnTo>
                <a:lnTo>
                  <a:pt x="233" y="1151"/>
                </a:lnTo>
                <a:lnTo>
                  <a:pt x="233" y="1156"/>
                </a:lnTo>
                <a:lnTo>
                  <a:pt x="233" y="1162"/>
                </a:lnTo>
                <a:lnTo>
                  <a:pt x="233" y="1173"/>
                </a:lnTo>
                <a:lnTo>
                  <a:pt x="233" y="1185"/>
                </a:lnTo>
                <a:lnTo>
                  <a:pt x="233" y="1190"/>
                </a:lnTo>
                <a:lnTo>
                  <a:pt x="238" y="1196"/>
                </a:lnTo>
                <a:lnTo>
                  <a:pt x="238" y="1202"/>
                </a:lnTo>
                <a:lnTo>
                  <a:pt x="227" y="1207"/>
                </a:lnTo>
                <a:lnTo>
                  <a:pt x="221" y="1207"/>
                </a:lnTo>
                <a:lnTo>
                  <a:pt x="216" y="1213"/>
                </a:lnTo>
                <a:lnTo>
                  <a:pt x="210" y="1213"/>
                </a:lnTo>
                <a:lnTo>
                  <a:pt x="204" y="1213"/>
                </a:lnTo>
                <a:lnTo>
                  <a:pt x="204" y="1219"/>
                </a:lnTo>
                <a:lnTo>
                  <a:pt x="199" y="1224"/>
                </a:lnTo>
                <a:lnTo>
                  <a:pt x="193" y="1236"/>
                </a:lnTo>
                <a:lnTo>
                  <a:pt x="187" y="123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42" name="Freeform 3"/>
          <p:cNvSpPr>
            <a:spLocks/>
          </p:cNvSpPr>
          <p:nvPr/>
        </p:nvSpPr>
        <p:spPr bwMode="gray">
          <a:xfrm>
            <a:off x="4483719" y="1558195"/>
            <a:ext cx="1861197" cy="1844890"/>
          </a:xfrm>
          <a:custGeom>
            <a:avLst/>
            <a:gdLst>
              <a:gd name="T0" fmla="*/ 2147483647 w 1099"/>
              <a:gd name="T1" fmla="*/ 2147483647 h 1089"/>
              <a:gd name="T2" fmla="*/ 2147483647 w 1099"/>
              <a:gd name="T3" fmla="*/ 2147483647 h 1089"/>
              <a:gd name="T4" fmla="*/ 2147483647 w 1099"/>
              <a:gd name="T5" fmla="*/ 2147483647 h 1089"/>
              <a:gd name="T6" fmla="*/ 2147483647 w 1099"/>
              <a:gd name="T7" fmla="*/ 2147483647 h 1089"/>
              <a:gd name="T8" fmla="*/ 2147483647 w 1099"/>
              <a:gd name="T9" fmla="*/ 2147483647 h 1089"/>
              <a:gd name="T10" fmla="*/ 2147483647 w 1099"/>
              <a:gd name="T11" fmla="*/ 2147483647 h 1089"/>
              <a:gd name="T12" fmla="*/ 2147483647 w 1099"/>
              <a:gd name="T13" fmla="*/ 2147483647 h 1089"/>
              <a:gd name="T14" fmla="*/ 2147483647 w 1099"/>
              <a:gd name="T15" fmla="*/ 2147483647 h 1089"/>
              <a:gd name="T16" fmla="*/ 2147483647 w 1099"/>
              <a:gd name="T17" fmla="*/ 2147483647 h 1089"/>
              <a:gd name="T18" fmla="*/ 2147483647 w 1099"/>
              <a:gd name="T19" fmla="*/ 2147483647 h 1089"/>
              <a:gd name="T20" fmla="*/ 2147483647 w 1099"/>
              <a:gd name="T21" fmla="*/ 2147483647 h 1089"/>
              <a:gd name="T22" fmla="*/ 2147483647 w 1099"/>
              <a:gd name="T23" fmla="*/ 2147483647 h 1089"/>
              <a:gd name="T24" fmla="*/ 2147483647 w 1099"/>
              <a:gd name="T25" fmla="*/ 2147483647 h 1089"/>
              <a:gd name="T26" fmla="*/ 2147483647 w 1099"/>
              <a:gd name="T27" fmla="*/ 2147483647 h 1089"/>
              <a:gd name="T28" fmla="*/ 2147483647 w 1099"/>
              <a:gd name="T29" fmla="*/ 2147483647 h 1089"/>
              <a:gd name="T30" fmla="*/ 2147483647 w 1099"/>
              <a:gd name="T31" fmla="*/ 2147483647 h 1089"/>
              <a:gd name="T32" fmla="*/ 2147483647 w 1099"/>
              <a:gd name="T33" fmla="*/ 2147483647 h 1089"/>
              <a:gd name="T34" fmla="*/ 2147483647 w 1099"/>
              <a:gd name="T35" fmla="*/ 2147483647 h 1089"/>
              <a:gd name="T36" fmla="*/ 2147483647 w 1099"/>
              <a:gd name="T37" fmla="*/ 2147483647 h 1089"/>
              <a:gd name="T38" fmla="*/ 2147483647 w 1099"/>
              <a:gd name="T39" fmla="*/ 2147483647 h 1089"/>
              <a:gd name="T40" fmla="*/ 2147483647 w 1099"/>
              <a:gd name="T41" fmla="*/ 2147483647 h 1089"/>
              <a:gd name="T42" fmla="*/ 2147483647 w 1099"/>
              <a:gd name="T43" fmla="*/ 2147483647 h 1089"/>
              <a:gd name="T44" fmla="*/ 2147483647 w 1099"/>
              <a:gd name="T45" fmla="*/ 2147483647 h 1089"/>
              <a:gd name="T46" fmla="*/ 2147483647 w 1099"/>
              <a:gd name="T47" fmla="*/ 2147483647 h 1089"/>
              <a:gd name="T48" fmla="*/ 2147483647 w 1099"/>
              <a:gd name="T49" fmla="*/ 2147483647 h 1089"/>
              <a:gd name="T50" fmla="*/ 2147483647 w 1099"/>
              <a:gd name="T51" fmla="*/ 2147483647 h 1089"/>
              <a:gd name="T52" fmla="*/ 2147483647 w 1099"/>
              <a:gd name="T53" fmla="*/ 2147483647 h 1089"/>
              <a:gd name="T54" fmla="*/ 2147483647 w 1099"/>
              <a:gd name="T55" fmla="*/ 2147483647 h 1089"/>
              <a:gd name="T56" fmla="*/ 2147483647 w 1099"/>
              <a:gd name="T57" fmla="*/ 2147483647 h 1089"/>
              <a:gd name="T58" fmla="*/ 2147483647 w 1099"/>
              <a:gd name="T59" fmla="*/ 2147483647 h 1089"/>
              <a:gd name="T60" fmla="*/ 2147483647 w 1099"/>
              <a:gd name="T61" fmla="*/ 2147483647 h 1089"/>
              <a:gd name="T62" fmla="*/ 2147483647 w 1099"/>
              <a:gd name="T63" fmla="*/ 2147483647 h 1089"/>
              <a:gd name="T64" fmla="*/ 2147483647 w 1099"/>
              <a:gd name="T65" fmla="*/ 2147483647 h 1089"/>
              <a:gd name="T66" fmla="*/ 2147483647 w 1099"/>
              <a:gd name="T67" fmla="*/ 2147483647 h 1089"/>
              <a:gd name="T68" fmla="*/ 2147483647 w 1099"/>
              <a:gd name="T69" fmla="*/ 2147483647 h 1089"/>
              <a:gd name="T70" fmla="*/ 2147483647 w 1099"/>
              <a:gd name="T71" fmla="*/ 2147483647 h 1089"/>
              <a:gd name="T72" fmla="*/ 2147483647 w 1099"/>
              <a:gd name="T73" fmla="*/ 2147483647 h 1089"/>
              <a:gd name="T74" fmla="*/ 2147483647 w 1099"/>
              <a:gd name="T75" fmla="*/ 2147483647 h 1089"/>
              <a:gd name="T76" fmla="*/ 2147483647 w 1099"/>
              <a:gd name="T77" fmla="*/ 2147483647 h 1089"/>
              <a:gd name="T78" fmla="*/ 2147483647 w 1099"/>
              <a:gd name="T79" fmla="*/ 2147483647 h 1089"/>
              <a:gd name="T80" fmla="*/ 2147483647 w 1099"/>
              <a:gd name="T81" fmla="*/ 2147483647 h 1089"/>
              <a:gd name="T82" fmla="*/ 2147483647 w 1099"/>
              <a:gd name="T83" fmla="*/ 2147483647 h 1089"/>
              <a:gd name="T84" fmla="*/ 2147483647 w 1099"/>
              <a:gd name="T85" fmla="*/ 2147483647 h 1089"/>
              <a:gd name="T86" fmla="*/ 2147483647 w 1099"/>
              <a:gd name="T87" fmla="*/ 2147483647 h 1089"/>
              <a:gd name="T88" fmla="*/ 2147483647 w 1099"/>
              <a:gd name="T89" fmla="*/ 2147483647 h 1089"/>
              <a:gd name="T90" fmla="*/ 2147483647 w 1099"/>
              <a:gd name="T91" fmla="*/ 2147483647 h 1089"/>
              <a:gd name="T92" fmla="*/ 2147483647 w 1099"/>
              <a:gd name="T93" fmla="*/ 2147483647 h 1089"/>
              <a:gd name="T94" fmla="*/ 2147483647 w 1099"/>
              <a:gd name="T95" fmla="*/ 2147483647 h 1089"/>
              <a:gd name="T96" fmla="*/ 2147483647 w 1099"/>
              <a:gd name="T97" fmla="*/ 2147483647 h 1089"/>
              <a:gd name="T98" fmla="*/ 2147483647 w 1099"/>
              <a:gd name="T99" fmla="*/ 2147483647 h 1089"/>
              <a:gd name="T100" fmla="*/ 2147483647 w 1099"/>
              <a:gd name="T101" fmla="*/ 2147483647 h 1089"/>
              <a:gd name="T102" fmla="*/ 2147483647 w 1099"/>
              <a:gd name="T103" fmla="*/ 2147483647 h 1089"/>
              <a:gd name="T104" fmla="*/ 2147483647 w 1099"/>
              <a:gd name="T105" fmla="*/ 2147483647 h 1089"/>
              <a:gd name="T106" fmla="*/ 2147483647 w 1099"/>
              <a:gd name="T107" fmla="*/ 2147483647 h 1089"/>
              <a:gd name="T108" fmla="*/ 2147483647 w 1099"/>
              <a:gd name="T109" fmla="*/ 2147483647 h 1089"/>
              <a:gd name="T110" fmla="*/ 2147483647 w 1099"/>
              <a:gd name="T111" fmla="*/ 2147483647 h 1089"/>
              <a:gd name="T112" fmla="*/ 2147483647 w 1099"/>
              <a:gd name="T113" fmla="*/ 2147483647 h 1089"/>
              <a:gd name="T114" fmla="*/ 2147483647 w 1099"/>
              <a:gd name="T115" fmla="*/ 2147483647 h 1089"/>
              <a:gd name="T116" fmla="*/ 2147483647 w 1099"/>
              <a:gd name="T117" fmla="*/ 2147483647 h 1089"/>
              <a:gd name="T118" fmla="*/ 2147483647 w 1099"/>
              <a:gd name="T119" fmla="*/ 2147483647 h 1089"/>
              <a:gd name="T120" fmla="*/ 2147483647 w 1099"/>
              <a:gd name="T121" fmla="*/ 2147483647 h 10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099"/>
              <a:gd name="T184" fmla="*/ 0 h 1089"/>
              <a:gd name="T185" fmla="*/ 1099 w 1099"/>
              <a:gd name="T186" fmla="*/ 1089 h 10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099" h="1089">
                <a:moveTo>
                  <a:pt x="17" y="766"/>
                </a:moveTo>
                <a:lnTo>
                  <a:pt x="11" y="760"/>
                </a:lnTo>
                <a:lnTo>
                  <a:pt x="5" y="748"/>
                </a:lnTo>
                <a:lnTo>
                  <a:pt x="0" y="737"/>
                </a:lnTo>
                <a:lnTo>
                  <a:pt x="0" y="731"/>
                </a:lnTo>
                <a:lnTo>
                  <a:pt x="0" y="726"/>
                </a:lnTo>
                <a:lnTo>
                  <a:pt x="5" y="720"/>
                </a:lnTo>
                <a:lnTo>
                  <a:pt x="5" y="714"/>
                </a:lnTo>
                <a:lnTo>
                  <a:pt x="5" y="709"/>
                </a:lnTo>
                <a:lnTo>
                  <a:pt x="11" y="709"/>
                </a:lnTo>
                <a:lnTo>
                  <a:pt x="11" y="703"/>
                </a:lnTo>
                <a:lnTo>
                  <a:pt x="17" y="703"/>
                </a:lnTo>
                <a:lnTo>
                  <a:pt x="17" y="697"/>
                </a:lnTo>
                <a:lnTo>
                  <a:pt x="17" y="692"/>
                </a:lnTo>
                <a:lnTo>
                  <a:pt x="22" y="686"/>
                </a:lnTo>
                <a:lnTo>
                  <a:pt x="28" y="680"/>
                </a:lnTo>
                <a:lnTo>
                  <a:pt x="28" y="675"/>
                </a:lnTo>
                <a:lnTo>
                  <a:pt x="34" y="675"/>
                </a:lnTo>
                <a:lnTo>
                  <a:pt x="39" y="669"/>
                </a:lnTo>
                <a:lnTo>
                  <a:pt x="39" y="663"/>
                </a:lnTo>
                <a:lnTo>
                  <a:pt x="39" y="658"/>
                </a:lnTo>
                <a:lnTo>
                  <a:pt x="39" y="652"/>
                </a:lnTo>
                <a:lnTo>
                  <a:pt x="39" y="646"/>
                </a:lnTo>
                <a:lnTo>
                  <a:pt x="39" y="635"/>
                </a:lnTo>
                <a:lnTo>
                  <a:pt x="39" y="629"/>
                </a:lnTo>
                <a:lnTo>
                  <a:pt x="34" y="624"/>
                </a:lnTo>
                <a:lnTo>
                  <a:pt x="28" y="624"/>
                </a:lnTo>
                <a:lnTo>
                  <a:pt x="28" y="618"/>
                </a:lnTo>
                <a:lnTo>
                  <a:pt x="22" y="612"/>
                </a:lnTo>
                <a:lnTo>
                  <a:pt x="17" y="607"/>
                </a:lnTo>
                <a:lnTo>
                  <a:pt x="17" y="601"/>
                </a:lnTo>
                <a:lnTo>
                  <a:pt x="17" y="595"/>
                </a:lnTo>
                <a:lnTo>
                  <a:pt x="11" y="590"/>
                </a:lnTo>
                <a:lnTo>
                  <a:pt x="11" y="584"/>
                </a:lnTo>
                <a:lnTo>
                  <a:pt x="11" y="567"/>
                </a:lnTo>
                <a:lnTo>
                  <a:pt x="17" y="556"/>
                </a:lnTo>
                <a:lnTo>
                  <a:pt x="17" y="550"/>
                </a:lnTo>
                <a:lnTo>
                  <a:pt x="17" y="539"/>
                </a:lnTo>
                <a:lnTo>
                  <a:pt x="17" y="533"/>
                </a:lnTo>
                <a:lnTo>
                  <a:pt x="17" y="527"/>
                </a:lnTo>
                <a:lnTo>
                  <a:pt x="17" y="522"/>
                </a:lnTo>
                <a:lnTo>
                  <a:pt x="22" y="522"/>
                </a:lnTo>
                <a:lnTo>
                  <a:pt x="22" y="516"/>
                </a:lnTo>
                <a:lnTo>
                  <a:pt x="28" y="516"/>
                </a:lnTo>
                <a:lnTo>
                  <a:pt x="28" y="510"/>
                </a:lnTo>
                <a:lnTo>
                  <a:pt x="34" y="510"/>
                </a:lnTo>
                <a:lnTo>
                  <a:pt x="39" y="510"/>
                </a:lnTo>
                <a:lnTo>
                  <a:pt x="45" y="510"/>
                </a:lnTo>
                <a:lnTo>
                  <a:pt x="51" y="510"/>
                </a:lnTo>
                <a:lnTo>
                  <a:pt x="56" y="505"/>
                </a:lnTo>
                <a:lnTo>
                  <a:pt x="56" y="499"/>
                </a:lnTo>
                <a:lnTo>
                  <a:pt x="68" y="499"/>
                </a:lnTo>
                <a:lnTo>
                  <a:pt x="68" y="493"/>
                </a:lnTo>
                <a:lnTo>
                  <a:pt x="68" y="488"/>
                </a:lnTo>
                <a:lnTo>
                  <a:pt x="68" y="482"/>
                </a:lnTo>
                <a:lnTo>
                  <a:pt x="73" y="482"/>
                </a:lnTo>
                <a:lnTo>
                  <a:pt x="73" y="476"/>
                </a:lnTo>
                <a:lnTo>
                  <a:pt x="79" y="471"/>
                </a:lnTo>
                <a:lnTo>
                  <a:pt x="90" y="459"/>
                </a:lnTo>
                <a:lnTo>
                  <a:pt x="96" y="459"/>
                </a:lnTo>
                <a:lnTo>
                  <a:pt x="96" y="454"/>
                </a:lnTo>
                <a:lnTo>
                  <a:pt x="102" y="454"/>
                </a:lnTo>
                <a:lnTo>
                  <a:pt x="102" y="448"/>
                </a:lnTo>
                <a:lnTo>
                  <a:pt x="102" y="442"/>
                </a:lnTo>
                <a:lnTo>
                  <a:pt x="107" y="442"/>
                </a:lnTo>
                <a:lnTo>
                  <a:pt x="113" y="442"/>
                </a:lnTo>
                <a:lnTo>
                  <a:pt x="113" y="437"/>
                </a:lnTo>
                <a:lnTo>
                  <a:pt x="124" y="431"/>
                </a:lnTo>
                <a:lnTo>
                  <a:pt x="130" y="431"/>
                </a:lnTo>
                <a:lnTo>
                  <a:pt x="136" y="431"/>
                </a:lnTo>
                <a:lnTo>
                  <a:pt x="141" y="431"/>
                </a:lnTo>
                <a:lnTo>
                  <a:pt x="147" y="431"/>
                </a:lnTo>
                <a:lnTo>
                  <a:pt x="153" y="431"/>
                </a:lnTo>
                <a:lnTo>
                  <a:pt x="158" y="431"/>
                </a:lnTo>
                <a:lnTo>
                  <a:pt x="158" y="425"/>
                </a:lnTo>
                <a:lnTo>
                  <a:pt x="164" y="425"/>
                </a:lnTo>
                <a:lnTo>
                  <a:pt x="170" y="425"/>
                </a:lnTo>
                <a:lnTo>
                  <a:pt x="170" y="420"/>
                </a:lnTo>
                <a:lnTo>
                  <a:pt x="181" y="420"/>
                </a:lnTo>
                <a:lnTo>
                  <a:pt x="187" y="425"/>
                </a:lnTo>
                <a:lnTo>
                  <a:pt x="192" y="420"/>
                </a:lnTo>
                <a:lnTo>
                  <a:pt x="198" y="420"/>
                </a:lnTo>
                <a:lnTo>
                  <a:pt x="209" y="420"/>
                </a:lnTo>
                <a:lnTo>
                  <a:pt x="209" y="425"/>
                </a:lnTo>
                <a:lnTo>
                  <a:pt x="215" y="425"/>
                </a:lnTo>
                <a:lnTo>
                  <a:pt x="221" y="425"/>
                </a:lnTo>
                <a:lnTo>
                  <a:pt x="226" y="425"/>
                </a:lnTo>
                <a:lnTo>
                  <a:pt x="226" y="431"/>
                </a:lnTo>
                <a:lnTo>
                  <a:pt x="232" y="431"/>
                </a:lnTo>
                <a:lnTo>
                  <a:pt x="238" y="431"/>
                </a:lnTo>
                <a:lnTo>
                  <a:pt x="238" y="437"/>
                </a:lnTo>
                <a:lnTo>
                  <a:pt x="243" y="437"/>
                </a:lnTo>
                <a:lnTo>
                  <a:pt x="255" y="442"/>
                </a:lnTo>
                <a:lnTo>
                  <a:pt x="266" y="437"/>
                </a:lnTo>
                <a:lnTo>
                  <a:pt x="272" y="431"/>
                </a:lnTo>
                <a:lnTo>
                  <a:pt x="277" y="431"/>
                </a:lnTo>
                <a:lnTo>
                  <a:pt x="283" y="431"/>
                </a:lnTo>
                <a:lnTo>
                  <a:pt x="289" y="431"/>
                </a:lnTo>
                <a:lnTo>
                  <a:pt x="294" y="437"/>
                </a:lnTo>
                <a:lnTo>
                  <a:pt x="294" y="442"/>
                </a:lnTo>
                <a:lnTo>
                  <a:pt x="294" y="448"/>
                </a:lnTo>
                <a:lnTo>
                  <a:pt x="300" y="454"/>
                </a:lnTo>
                <a:lnTo>
                  <a:pt x="300" y="459"/>
                </a:lnTo>
                <a:lnTo>
                  <a:pt x="306" y="459"/>
                </a:lnTo>
                <a:lnTo>
                  <a:pt x="311" y="459"/>
                </a:lnTo>
                <a:lnTo>
                  <a:pt x="323" y="459"/>
                </a:lnTo>
                <a:lnTo>
                  <a:pt x="328" y="459"/>
                </a:lnTo>
                <a:lnTo>
                  <a:pt x="334" y="459"/>
                </a:lnTo>
                <a:lnTo>
                  <a:pt x="340" y="459"/>
                </a:lnTo>
                <a:lnTo>
                  <a:pt x="345" y="459"/>
                </a:lnTo>
                <a:lnTo>
                  <a:pt x="351" y="454"/>
                </a:lnTo>
                <a:lnTo>
                  <a:pt x="362" y="454"/>
                </a:lnTo>
                <a:lnTo>
                  <a:pt x="368" y="454"/>
                </a:lnTo>
                <a:lnTo>
                  <a:pt x="374" y="454"/>
                </a:lnTo>
                <a:lnTo>
                  <a:pt x="379" y="454"/>
                </a:lnTo>
                <a:lnTo>
                  <a:pt x="379" y="459"/>
                </a:lnTo>
                <a:lnTo>
                  <a:pt x="385" y="459"/>
                </a:lnTo>
                <a:lnTo>
                  <a:pt x="385" y="465"/>
                </a:lnTo>
                <a:lnTo>
                  <a:pt x="391" y="465"/>
                </a:lnTo>
                <a:lnTo>
                  <a:pt x="391" y="471"/>
                </a:lnTo>
                <a:lnTo>
                  <a:pt x="396" y="476"/>
                </a:lnTo>
                <a:lnTo>
                  <a:pt x="396" y="482"/>
                </a:lnTo>
                <a:lnTo>
                  <a:pt x="402" y="493"/>
                </a:lnTo>
                <a:lnTo>
                  <a:pt x="402" y="499"/>
                </a:lnTo>
                <a:lnTo>
                  <a:pt x="408" y="510"/>
                </a:lnTo>
                <a:lnTo>
                  <a:pt x="408" y="527"/>
                </a:lnTo>
                <a:lnTo>
                  <a:pt x="413" y="539"/>
                </a:lnTo>
                <a:lnTo>
                  <a:pt x="413" y="544"/>
                </a:lnTo>
                <a:lnTo>
                  <a:pt x="419" y="550"/>
                </a:lnTo>
                <a:lnTo>
                  <a:pt x="425" y="556"/>
                </a:lnTo>
                <a:lnTo>
                  <a:pt x="431" y="550"/>
                </a:lnTo>
                <a:lnTo>
                  <a:pt x="436" y="550"/>
                </a:lnTo>
                <a:lnTo>
                  <a:pt x="453" y="556"/>
                </a:lnTo>
                <a:lnTo>
                  <a:pt x="476" y="556"/>
                </a:lnTo>
                <a:lnTo>
                  <a:pt x="482" y="556"/>
                </a:lnTo>
                <a:lnTo>
                  <a:pt x="487" y="556"/>
                </a:lnTo>
                <a:lnTo>
                  <a:pt x="487" y="561"/>
                </a:lnTo>
                <a:lnTo>
                  <a:pt x="493" y="561"/>
                </a:lnTo>
                <a:lnTo>
                  <a:pt x="499" y="567"/>
                </a:lnTo>
                <a:lnTo>
                  <a:pt x="504" y="567"/>
                </a:lnTo>
                <a:lnTo>
                  <a:pt x="510" y="567"/>
                </a:lnTo>
                <a:lnTo>
                  <a:pt x="510" y="561"/>
                </a:lnTo>
                <a:lnTo>
                  <a:pt x="504" y="556"/>
                </a:lnTo>
                <a:lnTo>
                  <a:pt x="499" y="550"/>
                </a:lnTo>
                <a:lnTo>
                  <a:pt x="493" y="550"/>
                </a:lnTo>
                <a:lnTo>
                  <a:pt x="493" y="544"/>
                </a:lnTo>
                <a:lnTo>
                  <a:pt x="493" y="539"/>
                </a:lnTo>
                <a:lnTo>
                  <a:pt x="493" y="527"/>
                </a:lnTo>
                <a:lnTo>
                  <a:pt x="499" y="522"/>
                </a:lnTo>
                <a:lnTo>
                  <a:pt x="504" y="522"/>
                </a:lnTo>
                <a:lnTo>
                  <a:pt x="510" y="516"/>
                </a:lnTo>
                <a:lnTo>
                  <a:pt x="516" y="516"/>
                </a:lnTo>
                <a:lnTo>
                  <a:pt x="521" y="510"/>
                </a:lnTo>
                <a:lnTo>
                  <a:pt x="533" y="510"/>
                </a:lnTo>
                <a:lnTo>
                  <a:pt x="538" y="510"/>
                </a:lnTo>
                <a:lnTo>
                  <a:pt x="544" y="510"/>
                </a:lnTo>
                <a:lnTo>
                  <a:pt x="550" y="510"/>
                </a:lnTo>
                <a:lnTo>
                  <a:pt x="550" y="505"/>
                </a:lnTo>
                <a:lnTo>
                  <a:pt x="555" y="499"/>
                </a:lnTo>
                <a:lnTo>
                  <a:pt x="561" y="499"/>
                </a:lnTo>
                <a:lnTo>
                  <a:pt x="561" y="493"/>
                </a:lnTo>
                <a:lnTo>
                  <a:pt x="567" y="493"/>
                </a:lnTo>
                <a:lnTo>
                  <a:pt x="567" y="488"/>
                </a:lnTo>
                <a:lnTo>
                  <a:pt x="567" y="482"/>
                </a:lnTo>
                <a:lnTo>
                  <a:pt x="567" y="476"/>
                </a:lnTo>
                <a:lnTo>
                  <a:pt x="561" y="471"/>
                </a:lnTo>
                <a:lnTo>
                  <a:pt x="550" y="471"/>
                </a:lnTo>
                <a:lnTo>
                  <a:pt x="544" y="471"/>
                </a:lnTo>
                <a:lnTo>
                  <a:pt x="538" y="471"/>
                </a:lnTo>
                <a:lnTo>
                  <a:pt x="533" y="471"/>
                </a:lnTo>
                <a:lnTo>
                  <a:pt x="521" y="465"/>
                </a:lnTo>
                <a:lnTo>
                  <a:pt x="510" y="459"/>
                </a:lnTo>
                <a:lnTo>
                  <a:pt x="504" y="459"/>
                </a:lnTo>
                <a:lnTo>
                  <a:pt x="493" y="459"/>
                </a:lnTo>
                <a:lnTo>
                  <a:pt x="482" y="454"/>
                </a:lnTo>
                <a:lnTo>
                  <a:pt x="470" y="454"/>
                </a:lnTo>
                <a:lnTo>
                  <a:pt x="465" y="454"/>
                </a:lnTo>
                <a:lnTo>
                  <a:pt x="459" y="454"/>
                </a:lnTo>
                <a:lnTo>
                  <a:pt x="453" y="454"/>
                </a:lnTo>
                <a:lnTo>
                  <a:pt x="442" y="454"/>
                </a:lnTo>
                <a:lnTo>
                  <a:pt x="431" y="448"/>
                </a:lnTo>
                <a:lnTo>
                  <a:pt x="425" y="442"/>
                </a:lnTo>
                <a:lnTo>
                  <a:pt x="425" y="437"/>
                </a:lnTo>
                <a:lnTo>
                  <a:pt x="419" y="431"/>
                </a:lnTo>
                <a:lnTo>
                  <a:pt x="413" y="431"/>
                </a:lnTo>
                <a:lnTo>
                  <a:pt x="413" y="425"/>
                </a:lnTo>
                <a:lnTo>
                  <a:pt x="413" y="420"/>
                </a:lnTo>
                <a:lnTo>
                  <a:pt x="408" y="420"/>
                </a:lnTo>
                <a:lnTo>
                  <a:pt x="408" y="414"/>
                </a:lnTo>
                <a:lnTo>
                  <a:pt x="408" y="408"/>
                </a:lnTo>
                <a:lnTo>
                  <a:pt x="396" y="397"/>
                </a:lnTo>
                <a:lnTo>
                  <a:pt x="396" y="391"/>
                </a:lnTo>
                <a:lnTo>
                  <a:pt x="391" y="386"/>
                </a:lnTo>
                <a:lnTo>
                  <a:pt x="385" y="386"/>
                </a:lnTo>
                <a:lnTo>
                  <a:pt x="379" y="386"/>
                </a:lnTo>
                <a:lnTo>
                  <a:pt x="379" y="380"/>
                </a:lnTo>
                <a:lnTo>
                  <a:pt x="374" y="380"/>
                </a:lnTo>
                <a:lnTo>
                  <a:pt x="374" y="374"/>
                </a:lnTo>
                <a:lnTo>
                  <a:pt x="368" y="374"/>
                </a:lnTo>
                <a:lnTo>
                  <a:pt x="368" y="369"/>
                </a:lnTo>
                <a:lnTo>
                  <a:pt x="368" y="363"/>
                </a:lnTo>
                <a:lnTo>
                  <a:pt x="368" y="357"/>
                </a:lnTo>
                <a:lnTo>
                  <a:pt x="374" y="357"/>
                </a:lnTo>
                <a:lnTo>
                  <a:pt x="374" y="352"/>
                </a:lnTo>
                <a:lnTo>
                  <a:pt x="379" y="352"/>
                </a:lnTo>
                <a:lnTo>
                  <a:pt x="379" y="346"/>
                </a:lnTo>
                <a:lnTo>
                  <a:pt x="379" y="340"/>
                </a:lnTo>
                <a:lnTo>
                  <a:pt x="379" y="335"/>
                </a:lnTo>
                <a:lnTo>
                  <a:pt x="379" y="329"/>
                </a:lnTo>
                <a:lnTo>
                  <a:pt x="385" y="318"/>
                </a:lnTo>
                <a:lnTo>
                  <a:pt x="379" y="318"/>
                </a:lnTo>
                <a:lnTo>
                  <a:pt x="379" y="312"/>
                </a:lnTo>
                <a:lnTo>
                  <a:pt x="379" y="306"/>
                </a:lnTo>
                <a:lnTo>
                  <a:pt x="379" y="301"/>
                </a:lnTo>
                <a:lnTo>
                  <a:pt x="374" y="295"/>
                </a:lnTo>
                <a:lnTo>
                  <a:pt x="368" y="289"/>
                </a:lnTo>
                <a:lnTo>
                  <a:pt x="368" y="284"/>
                </a:lnTo>
                <a:lnTo>
                  <a:pt x="362" y="278"/>
                </a:lnTo>
                <a:lnTo>
                  <a:pt x="357" y="278"/>
                </a:lnTo>
                <a:lnTo>
                  <a:pt x="351" y="278"/>
                </a:lnTo>
                <a:lnTo>
                  <a:pt x="351" y="284"/>
                </a:lnTo>
                <a:lnTo>
                  <a:pt x="345" y="284"/>
                </a:lnTo>
                <a:lnTo>
                  <a:pt x="340" y="284"/>
                </a:lnTo>
                <a:lnTo>
                  <a:pt x="334" y="289"/>
                </a:lnTo>
                <a:lnTo>
                  <a:pt x="328" y="289"/>
                </a:lnTo>
                <a:lnTo>
                  <a:pt x="323" y="289"/>
                </a:lnTo>
                <a:lnTo>
                  <a:pt x="317" y="289"/>
                </a:lnTo>
                <a:lnTo>
                  <a:pt x="317" y="284"/>
                </a:lnTo>
                <a:lnTo>
                  <a:pt x="311" y="278"/>
                </a:lnTo>
                <a:lnTo>
                  <a:pt x="311" y="272"/>
                </a:lnTo>
                <a:lnTo>
                  <a:pt x="317" y="272"/>
                </a:lnTo>
                <a:lnTo>
                  <a:pt x="317" y="267"/>
                </a:lnTo>
                <a:lnTo>
                  <a:pt x="323" y="267"/>
                </a:lnTo>
                <a:lnTo>
                  <a:pt x="323" y="261"/>
                </a:lnTo>
                <a:lnTo>
                  <a:pt x="328" y="261"/>
                </a:lnTo>
                <a:lnTo>
                  <a:pt x="328" y="255"/>
                </a:lnTo>
                <a:lnTo>
                  <a:pt x="328" y="250"/>
                </a:lnTo>
                <a:lnTo>
                  <a:pt x="334" y="250"/>
                </a:lnTo>
                <a:lnTo>
                  <a:pt x="340" y="244"/>
                </a:lnTo>
                <a:lnTo>
                  <a:pt x="345" y="244"/>
                </a:lnTo>
                <a:lnTo>
                  <a:pt x="351" y="238"/>
                </a:lnTo>
                <a:lnTo>
                  <a:pt x="357" y="238"/>
                </a:lnTo>
                <a:lnTo>
                  <a:pt x="362" y="233"/>
                </a:lnTo>
                <a:lnTo>
                  <a:pt x="368" y="233"/>
                </a:lnTo>
                <a:lnTo>
                  <a:pt x="374" y="233"/>
                </a:lnTo>
                <a:lnTo>
                  <a:pt x="379" y="233"/>
                </a:lnTo>
                <a:lnTo>
                  <a:pt x="385" y="233"/>
                </a:lnTo>
                <a:lnTo>
                  <a:pt x="385" y="227"/>
                </a:lnTo>
                <a:lnTo>
                  <a:pt x="391" y="227"/>
                </a:lnTo>
                <a:lnTo>
                  <a:pt x="408" y="221"/>
                </a:lnTo>
                <a:lnTo>
                  <a:pt x="413" y="216"/>
                </a:lnTo>
                <a:lnTo>
                  <a:pt x="419" y="216"/>
                </a:lnTo>
                <a:lnTo>
                  <a:pt x="425" y="216"/>
                </a:lnTo>
                <a:lnTo>
                  <a:pt x="425" y="210"/>
                </a:lnTo>
                <a:lnTo>
                  <a:pt x="431" y="210"/>
                </a:lnTo>
                <a:lnTo>
                  <a:pt x="436" y="204"/>
                </a:lnTo>
                <a:lnTo>
                  <a:pt x="442" y="204"/>
                </a:lnTo>
                <a:lnTo>
                  <a:pt x="448" y="199"/>
                </a:lnTo>
                <a:lnTo>
                  <a:pt x="453" y="199"/>
                </a:lnTo>
                <a:lnTo>
                  <a:pt x="465" y="193"/>
                </a:lnTo>
                <a:lnTo>
                  <a:pt x="470" y="193"/>
                </a:lnTo>
                <a:lnTo>
                  <a:pt x="476" y="193"/>
                </a:lnTo>
                <a:lnTo>
                  <a:pt x="482" y="193"/>
                </a:lnTo>
                <a:lnTo>
                  <a:pt x="482" y="187"/>
                </a:lnTo>
                <a:lnTo>
                  <a:pt x="487" y="182"/>
                </a:lnTo>
                <a:lnTo>
                  <a:pt x="493" y="176"/>
                </a:lnTo>
                <a:lnTo>
                  <a:pt x="493" y="170"/>
                </a:lnTo>
                <a:lnTo>
                  <a:pt x="493" y="165"/>
                </a:lnTo>
                <a:lnTo>
                  <a:pt x="499" y="165"/>
                </a:lnTo>
                <a:lnTo>
                  <a:pt x="499" y="159"/>
                </a:lnTo>
                <a:lnTo>
                  <a:pt x="499" y="153"/>
                </a:lnTo>
                <a:lnTo>
                  <a:pt x="499" y="131"/>
                </a:lnTo>
                <a:lnTo>
                  <a:pt x="499" y="108"/>
                </a:lnTo>
                <a:lnTo>
                  <a:pt x="504" y="97"/>
                </a:lnTo>
                <a:lnTo>
                  <a:pt x="504" y="91"/>
                </a:lnTo>
                <a:lnTo>
                  <a:pt x="510" y="80"/>
                </a:lnTo>
                <a:lnTo>
                  <a:pt x="510" y="68"/>
                </a:lnTo>
                <a:lnTo>
                  <a:pt x="516" y="63"/>
                </a:lnTo>
                <a:lnTo>
                  <a:pt x="516" y="57"/>
                </a:lnTo>
                <a:lnTo>
                  <a:pt x="516" y="51"/>
                </a:lnTo>
                <a:lnTo>
                  <a:pt x="521" y="51"/>
                </a:lnTo>
                <a:lnTo>
                  <a:pt x="527" y="51"/>
                </a:lnTo>
                <a:lnTo>
                  <a:pt x="527" y="46"/>
                </a:lnTo>
                <a:lnTo>
                  <a:pt x="533" y="40"/>
                </a:lnTo>
                <a:lnTo>
                  <a:pt x="538" y="40"/>
                </a:lnTo>
                <a:lnTo>
                  <a:pt x="544" y="34"/>
                </a:lnTo>
                <a:lnTo>
                  <a:pt x="550" y="34"/>
                </a:lnTo>
                <a:lnTo>
                  <a:pt x="561" y="34"/>
                </a:lnTo>
                <a:lnTo>
                  <a:pt x="567" y="34"/>
                </a:lnTo>
                <a:lnTo>
                  <a:pt x="572" y="34"/>
                </a:lnTo>
                <a:lnTo>
                  <a:pt x="584" y="29"/>
                </a:lnTo>
                <a:lnTo>
                  <a:pt x="589" y="29"/>
                </a:lnTo>
                <a:lnTo>
                  <a:pt x="595" y="34"/>
                </a:lnTo>
                <a:lnTo>
                  <a:pt x="601" y="34"/>
                </a:lnTo>
                <a:lnTo>
                  <a:pt x="606" y="34"/>
                </a:lnTo>
                <a:lnTo>
                  <a:pt x="612" y="34"/>
                </a:lnTo>
                <a:lnTo>
                  <a:pt x="612" y="29"/>
                </a:lnTo>
                <a:lnTo>
                  <a:pt x="612" y="23"/>
                </a:lnTo>
                <a:lnTo>
                  <a:pt x="618" y="23"/>
                </a:lnTo>
                <a:lnTo>
                  <a:pt x="623" y="23"/>
                </a:lnTo>
                <a:lnTo>
                  <a:pt x="629" y="17"/>
                </a:lnTo>
                <a:lnTo>
                  <a:pt x="635" y="12"/>
                </a:lnTo>
                <a:lnTo>
                  <a:pt x="640" y="12"/>
                </a:lnTo>
                <a:lnTo>
                  <a:pt x="640" y="6"/>
                </a:lnTo>
                <a:lnTo>
                  <a:pt x="646" y="6"/>
                </a:lnTo>
                <a:lnTo>
                  <a:pt x="652" y="6"/>
                </a:lnTo>
                <a:lnTo>
                  <a:pt x="652" y="0"/>
                </a:lnTo>
                <a:lnTo>
                  <a:pt x="657" y="6"/>
                </a:lnTo>
                <a:lnTo>
                  <a:pt x="663" y="6"/>
                </a:lnTo>
                <a:lnTo>
                  <a:pt x="669" y="12"/>
                </a:lnTo>
                <a:lnTo>
                  <a:pt x="674" y="12"/>
                </a:lnTo>
                <a:lnTo>
                  <a:pt x="680" y="17"/>
                </a:lnTo>
                <a:lnTo>
                  <a:pt x="680" y="23"/>
                </a:lnTo>
                <a:lnTo>
                  <a:pt x="691" y="34"/>
                </a:lnTo>
                <a:lnTo>
                  <a:pt x="691" y="40"/>
                </a:lnTo>
                <a:lnTo>
                  <a:pt x="697" y="46"/>
                </a:lnTo>
                <a:lnTo>
                  <a:pt x="697" y="51"/>
                </a:lnTo>
                <a:lnTo>
                  <a:pt x="697" y="63"/>
                </a:lnTo>
                <a:lnTo>
                  <a:pt x="697" y="74"/>
                </a:lnTo>
                <a:lnTo>
                  <a:pt x="697" y="85"/>
                </a:lnTo>
                <a:lnTo>
                  <a:pt x="703" y="97"/>
                </a:lnTo>
                <a:lnTo>
                  <a:pt x="703" y="108"/>
                </a:lnTo>
                <a:lnTo>
                  <a:pt x="703" y="114"/>
                </a:lnTo>
                <a:lnTo>
                  <a:pt x="703" y="119"/>
                </a:lnTo>
                <a:lnTo>
                  <a:pt x="708" y="125"/>
                </a:lnTo>
                <a:lnTo>
                  <a:pt x="708" y="131"/>
                </a:lnTo>
                <a:lnTo>
                  <a:pt x="708" y="136"/>
                </a:lnTo>
                <a:lnTo>
                  <a:pt x="714" y="148"/>
                </a:lnTo>
                <a:lnTo>
                  <a:pt x="720" y="153"/>
                </a:lnTo>
                <a:lnTo>
                  <a:pt x="720" y="159"/>
                </a:lnTo>
                <a:lnTo>
                  <a:pt x="720" y="165"/>
                </a:lnTo>
                <a:lnTo>
                  <a:pt x="720" y="176"/>
                </a:lnTo>
                <a:lnTo>
                  <a:pt x="720" y="182"/>
                </a:lnTo>
                <a:lnTo>
                  <a:pt x="720" y="193"/>
                </a:lnTo>
                <a:lnTo>
                  <a:pt x="720" y="204"/>
                </a:lnTo>
                <a:lnTo>
                  <a:pt x="725" y="216"/>
                </a:lnTo>
                <a:lnTo>
                  <a:pt x="725" y="221"/>
                </a:lnTo>
                <a:lnTo>
                  <a:pt x="731" y="221"/>
                </a:lnTo>
                <a:lnTo>
                  <a:pt x="731" y="227"/>
                </a:lnTo>
                <a:lnTo>
                  <a:pt x="731" y="233"/>
                </a:lnTo>
                <a:lnTo>
                  <a:pt x="731" y="244"/>
                </a:lnTo>
                <a:lnTo>
                  <a:pt x="731" y="250"/>
                </a:lnTo>
                <a:lnTo>
                  <a:pt x="737" y="255"/>
                </a:lnTo>
                <a:lnTo>
                  <a:pt x="737" y="261"/>
                </a:lnTo>
                <a:lnTo>
                  <a:pt x="742" y="267"/>
                </a:lnTo>
                <a:lnTo>
                  <a:pt x="742" y="272"/>
                </a:lnTo>
                <a:lnTo>
                  <a:pt x="748" y="272"/>
                </a:lnTo>
                <a:lnTo>
                  <a:pt x="748" y="278"/>
                </a:lnTo>
                <a:lnTo>
                  <a:pt x="748" y="284"/>
                </a:lnTo>
                <a:lnTo>
                  <a:pt x="754" y="284"/>
                </a:lnTo>
                <a:lnTo>
                  <a:pt x="754" y="289"/>
                </a:lnTo>
                <a:lnTo>
                  <a:pt x="754" y="295"/>
                </a:lnTo>
                <a:lnTo>
                  <a:pt x="754" y="301"/>
                </a:lnTo>
                <a:lnTo>
                  <a:pt x="759" y="306"/>
                </a:lnTo>
                <a:lnTo>
                  <a:pt x="765" y="329"/>
                </a:lnTo>
                <a:lnTo>
                  <a:pt x="765" y="340"/>
                </a:lnTo>
                <a:lnTo>
                  <a:pt x="765" y="346"/>
                </a:lnTo>
                <a:lnTo>
                  <a:pt x="771" y="352"/>
                </a:lnTo>
                <a:lnTo>
                  <a:pt x="771" y="357"/>
                </a:lnTo>
                <a:lnTo>
                  <a:pt x="771" y="369"/>
                </a:lnTo>
                <a:lnTo>
                  <a:pt x="771" y="374"/>
                </a:lnTo>
                <a:lnTo>
                  <a:pt x="771" y="380"/>
                </a:lnTo>
                <a:lnTo>
                  <a:pt x="771" y="386"/>
                </a:lnTo>
                <a:lnTo>
                  <a:pt x="765" y="391"/>
                </a:lnTo>
                <a:lnTo>
                  <a:pt x="765" y="397"/>
                </a:lnTo>
                <a:lnTo>
                  <a:pt x="759" y="403"/>
                </a:lnTo>
                <a:lnTo>
                  <a:pt x="759" y="408"/>
                </a:lnTo>
                <a:lnTo>
                  <a:pt x="754" y="414"/>
                </a:lnTo>
                <a:lnTo>
                  <a:pt x="748" y="414"/>
                </a:lnTo>
                <a:lnTo>
                  <a:pt x="748" y="420"/>
                </a:lnTo>
                <a:lnTo>
                  <a:pt x="748" y="425"/>
                </a:lnTo>
                <a:lnTo>
                  <a:pt x="754" y="425"/>
                </a:lnTo>
                <a:lnTo>
                  <a:pt x="754" y="431"/>
                </a:lnTo>
                <a:lnTo>
                  <a:pt x="759" y="431"/>
                </a:lnTo>
                <a:lnTo>
                  <a:pt x="759" y="437"/>
                </a:lnTo>
                <a:lnTo>
                  <a:pt x="765" y="437"/>
                </a:lnTo>
                <a:lnTo>
                  <a:pt x="765" y="442"/>
                </a:lnTo>
                <a:lnTo>
                  <a:pt x="771" y="442"/>
                </a:lnTo>
                <a:lnTo>
                  <a:pt x="776" y="442"/>
                </a:lnTo>
                <a:lnTo>
                  <a:pt x="782" y="442"/>
                </a:lnTo>
                <a:lnTo>
                  <a:pt x="788" y="442"/>
                </a:lnTo>
                <a:lnTo>
                  <a:pt x="793" y="442"/>
                </a:lnTo>
                <a:lnTo>
                  <a:pt x="805" y="442"/>
                </a:lnTo>
                <a:lnTo>
                  <a:pt x="810" y="442"/>
                </a:lnTo>
                <a:lnTo>
                  <a:pt x="822" y="442"/>
                </a:lnTo>
                <a:lnTo>
                  <a:pt x="833" y="442"/>
                </a:lnTo>
                <a:lnTo>
                  <a:pt x="844" y="442"/>
                </a:lnTo>
                <a:lnTo>
                  <a:pt x="850" y="442"/>
                </a:lnTo>
                <a:lnTo>
                  <a:pt x="856" y="448"/>
                </a:lnTo>
                <a:lnTo>
                  <a:pt x="861" y="454"/>
                </a:lnTo>
                <a:lnTo>
                  <a:pt x="873" y="454"/>
                </a:lnTo>
                <a:lnTo>
                  <a:pt x="878" y="459"/>
                </a:lnTo>
                <a:lnTo>
                  <a:pt x="890" y="459"/>
                </a:lnTo>
                <a:lnTo>
                  <a:pt x="901" y="459"/>
                </a:lnTo>
                <a:lnTo>
                  <a:pt x="901" y="465"/>
                </a:lnTo>
                <a:lnTo>
                  <a:pt x="907" y="465"/>
                </a:lnTo>
                <a:lnTo>
                  <a:pt x="907" y="471"/>
                </a:lnTo>
                <a:lnTo>
                  <a:pt x="912" y="471"/>
                </a:lnTo>
                <a:lnTo>
                  <a:pt x="918" y="476"/>
                </a:lnTo>
                <a:lnTo>
                  <a:pt x="918" y="482"/>
                </a:lnTo>
                <a:lnTo>
                  <a:pt x="918" y="493"/>
                </a:lnTo>
                <a:lnTo>
                  <a:pt x="918" y="499"/>
                </a:lnTo>
                <a:lnTo>
                  <a:pt x="924" y="505"/>
                </a:lnTo>
                <a:lnTo>
                  <a:pt x="924" y="510"/>
                </a:lnTo>
                <a:lnTo>
                  <a:pt x="929" y="510"/>
                </a:lnTo>
                <a:lnTo>
                  <a:pt x="929" y="516"/>
                </a:lnTo>
                <a:lnTo>
                  <a:pt x="935" y="522"/>
                </a:lnTo>
                <a:lnTo>
                  <a:pt x="941" y="527"/>
                </a:lnTo>
                <a:lnTo>
                  <a:pt x="946" y="527"/>
                </a:lnTo>
                <a:lnTo>
                  <a:pt x="946" y="533"/>
                </a:lnTo>
                <a:lnTo>
                  <a:pt x="952" y="533"/>
                </a:lnTo>
                <a:lnTo>
                  <a:pt x="963" y="544"/>
                </a:lnTo>
                <a:lnTo>
                  <a:pt x="969" y="550"/>
                </a:lnTo>
                <a:lnTo>
                  <a:pt x="975" y="550"/>
                </a:lnTo>
                <a:lnTo>
                  <a:pt x="975" y="556"/>
                </a:lnTo>
                <a:lnTo>
                  <a:pt x="975" y="561"/>
                </a:lnTo>
                <a:lnTo>
                  <a:pt x="980" y="567"/>
                </a:lnTo>
                <a:lnTo>
                  <a:pt x="986" y="567"/>
                </a:lnTo>
                <a:lnTo>
                  <a:pt x="986" y="573"/>
                </a:lnTo>
                <a:lnTo>
                  <a:pt x="986" y="578"/>
                </a:lnTo>
                <a:lnTo>
                  <a:pt x="992" y="584"/>
                </a:lnTo>
                <a:lnTo>
                  <a:pt x="992" y="590"/>
                </a:lnTo>
                <a:lnTo>
                  <a:pt x="992" y="595"/>
                </a:lnTo>
                <a:lnTo>
                  <a:pt x="997" y="607"/>
                </a:lnTo>
                <a:lnTo>
                  <a:pt x="997" y="612"/>
                </a:lnTo>
                <a:lnTo>
                  <a:pt x="997" y="624"/>
                </a:lnTo>
                <a:lnTo>
                  <a:pt x="992" y="635"/>
                </a:lnTo>
                <a:lnTo>
                  <a:pt x="992" y="652"/>
                </a:lnTo>
                <a:lnTo>
                  <a:pt x="992" y="663"/>
                </a:lnTo>
                <a:lnTo>
                  <a:pt x="992" y="669"/>
                </a:lnTo>
                <a:lnTo>
                  <a:pt x="992" y="675"/>
                </a:lnTo>
                <a:lnTo>
                  <a:pt x="992" y="686"/>
                </a:lnTo>
                <a:lnTo>
                  <a:pt x="992" y="692"/>
                </a:lnTo>
                <a:lnTo>
                  <a:pt x="997" y="692"/>
                </a:lnTo>
                <a:lnTo>
                  <a:pt x="997" y="697"/>
                </a:lnTo>
                <a:lnTo>
                  <a:pt x="997" y="703"/>
                </a:lnTo>
                <a:lnTo>
                  <a:pt x="997" y="709"/>
                </a:lnTo>
                <a:lnTo>
                  <a:pt x="1003" y="709"/>
                </a:lnTo>
                <a:lnTo>
                  <a:pt x="1009" y="709"/>
                </a:lnTo>
                <a:lnTo>
                  <a:pt x="1014" y="709"/>
                </a:lnTo>
                <a:lnTo>
                  <a:pt x="1026" y="714"/>
                </a:lnTo>
                <a:lnTo>
                  <a:pt x="1031" y="720"/>
                </a:lnTo>
                <a:lnTo>
                  <a:pt x="1037" y="720"/>
                </a:lnTo>
                <a:lnTo>
                  <a:pt x="1043" y="720"/>
                </a:lnTo>
                <a:lnTo>
                  <a:pt x="1043" y="726"/>
                </a:lnTo>
                <a:lnTo>
                  <a:pt x="1048" y="726"/>
                </a:lnTo>
                <a:lnTo>
                  <a:pt x="1048" y="731"/>
                </a:lnTo>
                <a:lnTo>
                  <a:pt x="1054" y="731"/>
                </a:lnTo>
                <a:lnTo>
                  <a:pt x="1054" y="737"/>
                </a:lnTo>
                <a:lnTo>
                  <a:pt x="1048" y="743"/>
                </a:lnTo>
                <a:lnTo>
                  <a:pt x="1043" y="743"/>
                </a:lnTo>
                <a:lnTo>
                  <a:pt x="1043" y="748"/>
                </a:lnTo>
                <a:lnTo>
                  <a:pt x="1037" y="748"/>
                </a:lnTo>
                <a:lnTo>
                  <a:pt x="1031" y="748"/>
                </a:lnTo>
                <a:lnTo>
                  <a:pt x="1031" y="754"/>
                </a:lnTo>
                <a:lnTo>
                  <a:pt x="1026" y="754"/>
                </a:lnTo>
                <a:lnTo>
                  <a:pt x="1020" y="760"/>
                </a:lnTo>
                <a:lnTo>
                  <a:pt x="1014" y="760"/>
                </a:lnTo>
                <a:lnTo>
                  <a:pt x="1014" y="766"/>
                </a:lnTo>
                <a:lnTo>
                  <a:pt x="1009" y="766"/>
                </a:lnTo>
                <a:lnTo>
                  <a:pt x="1003" y="766"/>
                </a:lnTo>
                <a:lnTo>
                  <a:pt x="1003" y="771"/>
                </a:lnTo>
                <a:lnTo>
                  <a:pt x="997" y="777"/>
                </a:lnTo>
                <a:lnTo>
                  <a:pt x="997" y="783"/>
                </a:lnTo>
                <a:lnTo>
                  <a:pt x="997" y="788"/>
                </a:lnTo>
                <a:lnTo>
                  <a:pt x="992" y="788"/>
                </a:lnTo>
                <a:lnTo>
                  <a:pt x="992" y="794"/>
                </a:lnTo>
                <a:lnTo>
                  <a:pt x="992" y="800"/>
                </a:lnTo>
                <a:lnTo>
                  <a:pt x="997" y="800"/>
                </a:lnTo>
                <a:lnTo>
                  <a:pt x="1003" y="800"/>
                </a:lnTo>
                <a:lnTo>
                  <a:pt x="1003" y="805"/>
                </a:lnTo>
                <a:lnTo>
                  <a:pt x="1009" y="805"/>
                </a:lnTo>
                <a:lnTo>
                  <a:pt x="1014" y="811"/>
                </a:lnTo>
                <a:lnTo>
                  <a:pt x="1014" y="817"/>
                </a:lnTo>
                <a:lnTo>
                  <a:pt x="1020" y="828"/>
                </a:lnTo>
                <a:lnTo>
                  <a:pt x="1026" y="834"/>
                </a:lnTo>
                <a:lnTo>
                  <a:pt x="1031" y="834"/>
                </a:lnTo>
                <a:lnTo>
                  <a:pt x="1031" y="839"/>
                </a:lnTo>
                <a:lnTo>
                  <a:pt x="1037" y="839"/>
                </a:lnTo>
                <a:lnTo>
                  <a:pt x="1043" y="845"/>
                </a:lnTo>
                <a:lnTo>
                  <a:pt x="1054" y="851"/>
                </a:lnTo>
                <a:lnTo>
                  <a:pt x="1060" y="851"/>
                </a:lnTo>
                <a:lnTo>
                  <a:pt x="1065" y="856"/>
                </a:lnTo>
                <a:lnTo>
                  <a:pt x="1071" y="856"/>
                </a:lnTo>
                <a:lnTo>
                  <a:pt x="1071" y="862"/>
                </a:lnTo>
                <a:lnTo>
                  <a:pt x="1077" y="862"/>
                </a:lnTo>
                <a:lnTo>
                  <a:pt x="1077" y="868"/>
                </a:lnTo>
                <a:lnTo>
                  <a:pt x="1082" y="868"/>
                </a:lnTo>
                <a:lnTo>
                  <a:pt x="1082" y="873"/>
                </a:lnTo>
                <a:lnTo>
                  <a:pt x="1082" y="879"/>
                </a:lnTo>
                <a:lnTo>
                  <a:pt x="1082" y="885"/>
                </a:lnTo>
                <a:lnTo>
                  <a:pt x="1088" y="885"/>
                </a:lnTo>
                <a:lnTo>
                  <a:pt x="1088" y="890"/>
                </a:lnTo>
                <a:lnTo>
                  <a:pt x="1094" y="902"/>
                </a:lnTo>
                <a:lnTo>
                  <a:pt x="1094" y="907"/>
                </a:lnTo>
                <a:lnTo>
                  <a:pt x="1094" y="913"/>
                </a:lnTo>
                <a:lnTo>
                  <a:pt x="1094" y="919"/>
                </a:lnTo>
                <a:lnTo>
                  <a:pt x="1099" y="924"/>
                </a:lnTo>
                <a:lnTo>
                  <a:pt x="1099" y="930"/>
                </a:lnTo>
                <a:lnTo>
                  <a:pt x="1099" y="936"/>
                </a:lnTo>
                <a:lnTo>
                  <a:pt x="1099" y="941"/>
                </a:lnTo>
                <a:lnTo>
                  <a:pt x="1099" y="947"/>
                </a:lnTo>
                <a:lnTo>
                  <a:pt x="1099" y="964"/>
                </a:lnTo>
                <a:lnTo>
                  <a:pt x="1099" y="970"/>
                </a:lnTo>
                <a:lnTo>
                  <a:pt x="1099" y="975"/>
                </a:lnTo>
                <a:lnTo>
                  <a:pt x="1099" y="987"/>
                </a:lnTo>
                <a:lnTo>
                  <a:pt x="1094" y="992"/>
                </a:lnTo>
                <a:lnTo>
                  <a:pt x="1094" y="998"/>
                </a:lnTo>
                <a:lnTo>
                  <a:pt x="1088" y="998"/>
                </a:lnTo>
                <a:lnTo>
                  <a:pt x="1082" y="998"/>
                </a:lnTo>
                <a:lnTo>
                  <a:pt x="1082" y="1004"/>
                </a:lnTo>
                <a:lnTo>
                  <a:pt x="1082" y="1009"/>
                </a:lnTo>
                <a:lnTo>
                  <a:pt x="1077" y="1009"/>
                </a:lnTo>
                <a:lnTo>
                  <a:pt x="1071" y="1015"/>
                </a:lnTo>
                <a:lnTo>
                  <a:pt x="1065" y="1015"/>
                </a:lnTo>
                <a:lnTo>
                  <a:pt x="1065" y="1021"/>
                </a:lnTo>
                <a:lnTo>
                  <a:pt x="1065" y="1026"/>
                </a:lnTo>
                <a:lnTo>
                  <a:pt x="1060" y="1026"/>
                </a:lnTo>
                <a:lnTo>
                  <a:pt x="1054" y="1026"/>
                </a:lnTo>
                <a:lnTo>
                  <a:pt x="1048" y="1032"/>
                </a:lnTo>
                <a:lnTo>
                  <a:pt x="1043" y="1038"/>
                </a:lnTo>
                <a:lnTo>
                  <a:pt x="1037" y="1038"/>
                </a:lnTo>
                <a:lnTo>
                  <a:pt x="1031" y="1038"/>
                </a:lnTo>
                <a:lnTo>
                  <a:pt x="1031" y="1043"/>
                </a:lnTo>
                <a:lnTo>
                  <a:pt x="1026" y="1043"/>
                </a:lnTo>
                <a:lnTo>
                  <a:pt x="1020" y="1043"/>
                </a:lnTo>
                <a:lnTo>
                  <a:pt x="1014" y="1043"/>
                </a:lnTo>
                <a:lnTo>
                  <a:pt x="1009" y="1043"/>
                </a:lnTo>
                <a:lnTo>
                  <a:pt x="1003" y="1049"/>
                </a:lnTo>
                <a:lnTo>
                  <a:pt x="997" y="1049"/>
                </a:lnTo>
                <a:lnTo>
                  <a:pt x="997" y="1055"/>
                </a:lnTo>
                <a:lnTo>
                  <a:pt x="992" y="1055"/>
                </a:lnTo>
                <a:lnTo>
                  <a:pt x="975" y="1055"/>
                </a:lnTo>
                <a:lnTo>
                  <a:pt x="963" y="1055"/>
                </a:lnTo>
                <a:lnTo>
                  <a:pt x="958" y="1060"/>
                </a:lnTo>
                <a:lnTo>
                  <a:pt x="952" y="1060"/>
                </a:lnTo>
                <a:lnTo>
                  <a:pt x="946" y="1066"/>
                </a:lnTo>
                <a:lnTo>
                  <a:pt x="941" y="1066"/>
                </a:lnTo>
                <a:lnTo>
                  <a:pt x="935" y="1066"/>
                </a:lnTo>
                <a:lnTo>
                  <a:pt x="929" y="1066"/>
                </a:lnTo>
                <a:lnTo>
                  <a:pt x="929" y="1072"/>
                </a:lnTo>
                <a:lnTo>
                  <a:pt x="924" y="1072"/>
                </a:lnTo>
                <a:lnTo>
                  <a:pt x="924" y="1066"/>
                </a:lnTo>
                <a:lnTo>
                  <a:pt x="918" y="1072"/>
                </a:lnTo>
                <a:lnTo>
                  <a:pt x="907" y="1066"/>
                </a:lnTo>
                <a:lnTo>
                  <a:pt x="901" y="1066"/>
                </a:lnTo>
                <a:lnTo>
                  <a:pt x="895" y="1066"/>
                </a:lnTo>
                <a:lnTo>
                  <a:pt x="895" y="1060"/>
                </a:lnTo>
                <a:lnTo>
                  <a:pt x="890" y="1060"/>
                </a:lnTo>
                <a:lnTo>
                  <a:pt x="884" y="1060"/>
                </a:lnTo>
                <a:lnTo>
                  <a:pt x="878" y="1060"/>
                </a:lnTo>
                <a:lnTo>
                  <a:pt x="861" y="1060"/>
                </a:lnTo>
                <a:lnTo>
                  <a:pt x="850" y="1060"/>
                </a:lnTo>
                <a:lnTo>
                  <a:pt x="833" y="1055"/>
                </a:lnTo>
                <a:lnTo>
                  <a:pt x="827" y="1055"/>
                </a:lnTo>
                <a:lnTo>
                  <a:pt x="816" y="1055"/>
                </a:lnTo>
                <a:lnTo>
                  <a:pt x="805" y="1055"/>
                </a:lnTo>
                <a:lnTo>
                  <a:pt x="793" y="1049"/>
                </a:lnTo>
                <a:lnTo>
                  <a:pt x="788" y="1049"/>
                </a:lnTo>
                <a:lnTo>
                  <a:pt x="776" y="1049"/>
                </a:lnTo>
                <a:lnTo>
                  <a:pt x="771" y="1055"/>
                </a:lnTo>
                <a:lnTo>
                  <a:pt x="765" y="1055"/>
                </a:lnTo>
                <a:lnTo>
                  <a:pt x="759" y="1055"/>
                </a:lnTo>
                <a:lnTo>
                  <a:pt x="754" y="1055"/>
                </a:lnTo>
                <a:lnTo>
                  <a:pt x="748" y="1060"/>
                </a:lnTo>
                <a:lnTo>
                  <a:pt x="742" y="1060"/>
                </a:lnTo>
                <a:lnTo>
                  <a:pt x="742" y="1066"/>
                </a:lnTo>
                <a:lnTo>
                  <a:pt x="737" y="1066"/>
                </a:lnTo>
                <a:lnTo>
                  <a:pt x="731" y="1066"/>
                </a:lnTo>
                <a:lnTo>
                  <a:pt x="725" y="1072"/>
                </a:lnTo>
                <a:lnTo>
                  <a:pt x="720" y="1072"/>
                </a:lnTo>
                <a:lnTo>
                  <a:pt x="720" y="1077"/>
                </a:lnTo>
                <a:lnTo>
                  <a:pt x="714" y="1077"/>
                </a:lnTo>
                <a:lnTo>
                  <a:pt x="708" y="1083"/>
                </a:lnTo>
                <a:lnTo>
                  <a:pt x="703" y="1083"/>
                </a:lnTo>
                <a:lnTo>
                  <a:pt x="697" y="1083"/>
                </a:lnTo>
                <a:lnTo>
                  <a:pt x="686" y="1083"/>
                </a:lnTo>
                <a:lnTo>
                  <a:pt x="680" y="1083"/>
                </a:lnTo>
                <a:lnTo>
                  <a:pt x="674" y="1083"/>
                </a:lnTo>
                <a:lnTo>
                  <a:pt x="657" y="1089"/>
                </a:lnTo>
                <a:lnTo>
                  <a:pt x="652" y="1083"/>
                </a:lnTo>
                <a:lnTo>
                  <a:pt x="646" y="1083"/>
                </a:lnTo>
                <a:lnTo>
                  <a:pt x="640" y="1083"/>
                </a:lnTo>
                <a:lnTo>
                  <a:pt x="640" y="1077"/>
                </a:lnTo>
                <a:lnTo>
                  <a:pt x="635" y="1072"/>
                </a:lnTo>
                <a:lnTo>
                  <a:pt x="629" y="1066"/>
                </a:lnTo>
                <a:lnTo>
                  <a:pt x="618" y="1060"/>
                </a:lnTo>
                <a:lnTo>
                  <a:pt x="612" y="1055"/>
                </a:lnTo>
                <a:lnTo>
                  <a:pt x="606" y="1055"/>
                </a:lnTo>
                <a:lnTo>
                  <a:pt x="606" y="1049"/>
                </a:lnTo>
                <a:lnTo>
                  <a:pt x="601" y="1049"/>
                </a:lnTo>
                <a:lnTo>
                  <a:pt x="595" y="1043"/>
                </a:lnTo>
                <a:lnTo>
                  <a:pt x="589" y="1043"/>
                </a:lnTo>
                <a:lnTo>
                  <a:pt x="584" y="1038"/>
                </a:lnTo>
                <a:lnTo>
                  <a:pt x="578" y="1038"/>
                </a:lnTo>
                <a:lnTo>
                  <a:pt x="572" y="1032"/>
                </a:lnTo>
                <a:lnTo>
                  <a:pt x="572" y="1026"/>
                </a:lnTo>
                <a:lnTo>
                  <a:pt x="567" y="1026"/>
                </a:lnTo>
                <a:lnTo>
                  <a:pt x="561" y="1026"/>
                </a:lnTo>
                <a:lnTo>
                  <a:pt x="550" y="1026"/>
                </a:lnTo>
                <a:lnTo>
                  <a:pt x="550" y="1021"/>
                </a:lnTo>
                <a:lnTo>
                  <a:pt x="538" y="1015"/>
                </a:lnTo>
                <a:lnTo>
                  <a:pt x="521" y="1015"/>
                </a:lnTo>
                <a:lnTo>
                  <a:pt x="516" y="1015"/>
                </a:lnTo>
                <a:lnTo>
                  <a:pt x="510" y="1009"/>
                </a:lnTo>
                <a:lnTo>
                  <a:pt x="504" y="1009"/>
                </a:lnTo>
                <a:lnTo>
                  <a:pt x="504" y="1004"/>
                </a:lnTo>
                <a:lnTo>
                  <a:pt x="504" y="998"/>
                </a:lnTo>
                <a:lnTo>
                  <a:pt x="499" y="998"/>
                </a:lnTo>
                <a:lnTo>
                  <a:pt x="493" y="998"/>
                </a:lnTo>
                <a:lnTo>
                  <a:pt x="487" y="992"/>
                </a:lnTo>
                <a:lnTo>
                  <a:pt x="482" y="987"/>
                </a:lnTo>
                <a:lnTo>
                  <a:pt x="476" y="987"/>
                </a:lnTo>
                <a:lnTo>
                  <a:pt x="465" y="981"/>
                </a:lnTo>
                <a:lnTo>
                  <a:pt x="453" y="981"/>
                </a:lnTo>
                <a:lnTo>
                  <a:pt x="448" y="981"/>
                </a:lnTo>
                <a:lnTo>
                  <a:pt x="442" y="981"/>
                </a:lnTo>
                <a:lnTo>
                  <a:pt x="436" y="975"/>
                </a:lnTo>
                <a:lnTo>
                  <a:pt x="425" y="970"/>
                </a:lnTo>
                <a:lnTo>
                  <a:pt x="419" y="970"/>
                </a:lnTo>
                <a:lnTo>
                  <a:pt x="408" y="970"/>
                </a:lnTo>
                <a:lnTo>
                  <a:pt x="402" y="970"/>
                </a:lnTo>
                <a:lnTo>
                  <a:pt x="396" y="975"/>
                </a:lnTo>
                <a:lnTo>
                  <a:pt x="391" y="981"/>
                </a:lnTo>
                <a:lnTo>
                  <a:pt x="391" y="987"/>
                </a:lnTo>
                <a:lnTo>
                  <a:pt x="396" y="987"/>
                </a:lnTo>
                <a:lnTo>
                  <a:pt x="402" y="987"/>
                </a:lnTo>
                <a:lnTo>
                  <a:pt x="402" y="992"/>
                </a:lnTo>
                <a:lnTo>
                  <a:pt x="402" y="998"/>
                </a:lnTo>
                <a:lnTo>
                  <a:pt x="408" y="998"/>
                </a:lnTo>
                <a:lnTo>
                  <a:pt x="408" y="1004"/>
                </a:lnTo>
                <a:lnTo>
                  <a:pt x="413" y="1009"/>
                </a:lnTo>
                <a:lnTo>
                  <a:pt x="413" y="1015"/>
                </a:lnTo>
                <a:lnTo>
                  <a:pt x="408" y="1021"/>
                </a:lnTo>
                <a:lnTo>
                  <a:pt x="391" y="1026"/>
                </a:lnTo>
                <a:lnTo>
                  <a:pt x="379" y="1026"/>
                </a:lnTo>
                <a:lnTo>
                  <a:pt x="379" y="1032"/>
                </a:lnTo>
                <a:lnTo>
                  <a:pt x="374" y="1038"/>
                </a:lnTo>
                <a:lnTo>
                  <a:pt x="374" y="1043"/>
                </a:lnTo>
                <a:lnTo>
                  <a:pt x="374" y="1049"/>
                </a:lnTo>
                <a:lnTo>
                  <a:pt x="368" y="1049"/>
                </a:lnTo>
                <a:lnTo>
                  <a:pt x="368" y="1055"/>
                </a:lnTo>
                <a:lnTo>
                  <a:pt x="362" y="1055"/>
                </a:lnTo>
                <a:lnTo>
                  <a:pt x="362" y="1060"/>
                </a:lnTo>
                <a:lnTo>
                  <a:pt x="357" y="1060"/>
                </a:lnTo>
                <a:lnTo>
                  <a:pt x="345" y="1066"/>
                </a:lnTo>
                <a:lnTo>
                  <a:pt x="328" y="1066"/>
                </a:lnTo>
                <a:lnTo>
                  <a:pt x="317" y="1066"/>
                </a:lnTo>
                <a:lnTo>
                  <a:pt x="311" y="1066"/>
                </a:lnTo>
                <a:lnTo>
                  <a:pt x="294" y="1066"/>
                </a:lnTo>
                <a:lnTo>
                  <a:pt x="283" y="1066"/>
                </a:lnTo>
                <a:lnTo>
                  <a:pt x="277" y="1066"/>
                </a:lnTo>
                <a:lnTo>
                  <a:pt x="272" y="1066"/>
                </a:lnTo>
                <a:lnTo>
                  <a:pt x="266" y="1066"/>
                </a:lnTo>
                <a:lnTo>
                  <a:pt x="238" y="1060"/>
                </a:lnTo>
                <a:lnTo>
                  <a:pt x="232" y="1055"/>
                </a:lnTo>
                <a:lnTo>
                  <a:pt x="226" y="1055"/>
                </a:lnTo>
                <a:lnTo>
                  <a:pt x="221" y="1055"/>
                </a:lnTo>
                <a:lnTo>
                  <a:pt x="221" y="1049"/>
                </a:lnTo>
                <a:lnTo>
                  <a:pt x="215" y="1049"/>
                </a:lnTo>
                <a:lnTo>
                  <a:pt x="215" y="1043"/>
                </a:lnTo>
                <a:lnTo>
                  <a:pt x="209" y="1043"/>
                </a:lnTo>
                <a:lnTo>
                  <a:pt x="209" y="1038"/>
                </a:lnTo>
                <a:lnTo>
                  <a:pt x="204" y="1038"/>
                </a:lnTo>
                <a:lnTo>
                  <a:pt x="198" y="1032"/>
                </a:lnTo>
                <a:lnTo>
                  <a:pt x="198" y="1026"/>
                </a:lnTo>
                <a:lnTo>
                  <a:pt x="198" y="1021"/>
                </a:lnTo>
                <a:lnTo>
                  <a:pt x="192" y="1015"/>
                </a:lnTo>
                <a:lnTo>
                  <a:pt x="192" y="1009"/>
                </a:lnTo>
                <a:lnTo>
                  <a:pt x="187" y="1009"/>
                </a:lnTo>
                <a:lnTo>
                  <a:pt x="181" y="1009"/>
                </a:lnTo>
                <a:lnTo>
                  <a:pt x="175" y="1009"/>
                </a:lnTo>
                <a:lnTo>
                  <a:pt x="170" y="1009"/>
                </a:lnTo>
                <a:lnTo>
                  <a:pt x="164" y="1009"/>
                </a:lnTo>
                <a:lnTo>
                  <a:pt x="164" y="1004"/>
                </a:lnTo>
                <a:lnTo>
                  <a:pt x="164" y="998"/>
                </a:lnTo>
                <a:lnTo>
                  <a:pt x="158" y="992"/>
                </a:lnTo>
                <a:lnTo>
                  <a:pt x="158" y="987"/>
                </a:lnTo>
                <a:lnTo>
                  <a:pt x="164" y="975"/>
                </a:lnTo>
                <a:lnTo>
                  <a:pt x="164" y="970"/>
                </a:lnTo>
                <a:lnTo>
                  <a:pt x="170" y="970"/>
                </a:lnTo>
                <a:lnTo>
                  <a:pt x="170" y="964"/>
                </a:lnTo>
                <a:lnTo>
                  <a:pt x="170" y="958"/>
                </a:lnTo>
                <a:lnTo>
                  <a:pt x="175" y="947"/>
                </a:lnTo>
                <a:lnTo>
                  <a:pt x="175" y="941"/>
                </a:lnTo>
                <a:lnTo>
                  <a:pt x="175" y="936"/>
                </a:lnTo>
                <a:lnTo>
                  <a:pt x="175" y="930"/>
                </a:lnTo>
                <a:lnTo>
                  <a:pt x="170" y="930"/>
                </a:lnTo>
                <a:lnTo>
                  <a:pt x="170" y="924"/>
                </a:lnTo>
                <a:lnTo>
                  <a:pt x="170" y="919"/>
                </a:lnTo>
                <a:lnTo>
                  <a:pt x="164" y="913"/>
                </a:lnTo>
                <a:lnTo>
                  <a:pt x="164" y="907"/>
                </a:lnTo>
                <a:lnTo>
                  <a:pt x="153" y="902"/>
                </a:lnTo>
                <a:lnTo>
                  <a:pt x="153" y="896"/>
                </a:lnTo>
                <a:lnTo>
                  <a:pt x="147" y="896"/>
                </a:lnTo>
                <a:lnTo>
                  <a:pt x="136" y="890"/>
                </a:lnTo>
                <a:lnTo>
                  <a:pt x="130" y="890"/>
                </a:lnTo>
                <a:lnTo>
                  <a:pt x="124" y="890"/>
                </a:lnTo>
                <a:lnTo>
                  <a:pt x="119" y="896"/>
                </a:lnTo>
                <a:lnTo>
                  <a:pt x="113" y="902"/>
                </a:lnTo>
                <a:lnTo>
                  <a:pt x="107" y="902"/>
                </a:lnTo>
                <a:lnTo>
                  <a:pt x="102" y="907"/>
                </a:lnTo>
                <a:lnTo>
                  <a:pt x="96" y="913"/>
                </a:lnTo>
                <a:lnTo>
                  <a:pt x="96" y="907"/>
                </a:lnTo>
                <a:lnTo>
                  <a:pt x="90" y="902"/>
                </a:lnTo>
                <a:lnTo>
                  <a:pt x="90" y="896"/>
                </a:lnTo>
                <a:lnTo>
                  <a:pt x="90" y="890"/>
                </a:lnTo>
                <a:lnTo>
                  <a:pt x="90" y="879"/>
                </a:lnTo>
                <a:lnTo>
                  <a:pt x="90" y="868"/>
                </a:lnTo>
                <a:lnTo>
                  <a:pt x="90" y="862"/>
                </a:lnTo>
                <a:lnTo>
                  <a:pt x="90" y="856"/>
                </a:lnTo>
                <a:lnTo>
                  <a:pt x="90" y="851"/>
                </a:lnTo>
                <a:lnTo>
                  <a:pt x="90" y="845"/>
                </a:lnTo>
                <a:lnTo>
                  <a:pt x="85" y="839"/>
                </a:lnTo>
                <a:lnTo>
                  <a:pt x="85" y="834"/>
                </a:lnTo>
                <a:lnTo>
                  <a:pt x="85" y="828"/>
                </a:lnTo>
                <a:lnTo>
                  <a:pt x="79" y="822"/>
                </a:lnTo>
                <a:lnTo>
                  <a:pt x="79" y="817"/>
                </a:lnTo>
                <a:lnTo>
                  <a:pt x="79" y="811"/>
                </a:lnTo>
                <a:lnTo>
                  <a:pt x="79" y="805"/>
                </a:lnTo>
                <a:lnTo>
                  <a:pt x="79" y="800"/>
                </a:lnTo>
                <a:lnTo>
                  <a:pt x="79" y="794"/>
                </a:lnTo>
                <a:lnTo>
                  <a:pt x="79" y="788"/>
                </a:lnTo>
                <a:lnTo>
                  <a:pt x="73" y="788"/>
                </a:lnTo>
                <a:lnTo>
                  <a:pt x="73" y="783"/>
                </a:lnTo>
                <a:lnTo>
                  <a:pt x="68" y="783"/>
                </a:lnTo>
                <a:lnTo>
                  <a:pt x="62" y="777"/>
                </a:lnTo>
                <a:lnTo>
                  <a:pt x="56" y="777"/>
                </a:lnTo>
                <a:lnTo>
                  <a:pt x="51" y="777"/>
                </a:lnTo>
                <a:lnTo>
                  <a:pt x="45" y="777"/>
                </a:lnTo>
                <a:lnTo>
                  <a:pt x="34" y="777"/>
                </a:lnTo>
                <a:lnTo>
                  <a:pt x="28" y="771"/>
                </a:lnTo>
                <a:lnTo>
                  <a:pt x="28" y="766"/>
                </a:lnTo>
                <a:lnTo>
                  <a:pt x="22" y="766"/>
                </a:lnTo>
                <a:lnTo>
                  <a:pt x="17" y="76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43" name="Freeform 4"/>
          <p:cNvSpPr>
            <a:spLocks/>
          </p:cNvSpPr>
          <p:nvPr/>
        </p:nvSpPr>
        <p:spPr bwMode="gray">
          <a:xfrm>
            <a:off x="6163493" y="829309"/>
            <a:ext cx="1872536" cy="2256305"/>
          </a:xfrm>
          <a:custGeom>
            <a:avLst/>
            <a:gdLst>
              <a:gd name="T0" fmla="*/ 2147483647 w 1105"/>
              <a:gd name="T1" fmla="*/ 2147483647 h 1333"/>
              <a:gd name="T2" fmla="*/ 2147483647 w 1105"/>
              <a:gd name="T3" fmla="*/ 2147483647 h 1333"/>
              <a:gd name="T4" fmla="*/ 2147483647 w 1105"/>
              <a:gd name="T5" fmla="*/ 2147483647 h 1333"/>
              <a:gd name="T6" fmla="*/ 2147483647 w 1105"/>
              <a:gd name="T7" fmla="*/ 2147483647 h 1333"/>
              <a:gd name="T8" fmla="*/ 2147483647 w 1105"/>
              <a:gd name="T9" fmla="*/ 2147483647 h 1333"/>
              <a:gd name="T10" fmla="*/ 2147483647 w 1105"/>
              <a:gd name="T11" fmla="*/ 2147483647 h 1333"/>
              <a:gd name="T12" fmla="*/ 2147483647 w 1105"/>
              <a:gd name="T13" fmla="*/ 2147483647 h 1333"/>
              <a:gd name="T14" fmla="*/ 2147483647 w 1105"/>
              <a:gd name="T15" fmla="*/ 2147483647 h 1333"/>
              <a:gd name="T16" fmla="*/ 2147483647 w 1105"/>
              <a:gd name="T17" fmla="*/ 2147483647 h 1333"/>
              <a:gd name="T18" fmla="*/ 2147483647 w 1105"/>
              <a:gd name="T19" fmla="*/ 2147483647 h 1333"/>
              <a:gd name="T20" fmla="*/ 2147483647 w 1105"/>
              <a:gd name="T21" fmla="*/ 2147483647 h 1333"/>
              <a:gd name="T22" fmla="*/ 2147483647 w 1105"/>
              <a:gd name="T23" fmla="*/ 2147483647 h 1333"/>
              <a:gd name="T24" fmla="*/ 2147483647 w 1105"/>
              <a:gd name="T25" fmla="*/ 2147483647 h 1333"/>
              <a:gd name="T26" fmla="*/ 2147483647 w 1105"/>
              <a:gd name="T27" fmla="*/ 2147483647 h 1333"/>
              <a:gd name="T28" fmla="*/ 2147483647 w 1105"/>
              <a:gd name="T29" fmla="*/ 2147483647 h 1333"/>
              <a:gd name="T30" fmla="*/ 2147483647 w 1105"/>
              <a:gd name="T31" fmla="*/ 2147483647 h 1333"/>
              <a:gd name="T32" fmla="*/ 2147483647 w 1105"/>
              <a:gd name="T33" fmla="*/ 2147483647 h 1333"/>
              <a:gd name="T34" fmla="*/ 2147483647 w 1105"/>
              <a:gd name="T35" fmla="*/ 2147483647 h 1333"/>
              <a:gd name="T36" fmla="*/ 2147483647 w 1105"/>
              <a:gd name="T37" fmla="*/ 2147483647 h 1333"/>
              <a:gd name="T38" fmla="*/ 2147483647 w 1105"/>
              <a:gd name="T39" fmla="*/ 2147483647 h 1333"/>
              <a:gd name="T40" fmla="*/ 2147483647 w 1105"/>
              <a:gd name="T41" fmla="*/ 2147483647 h 1333"/>
              <a:gd name="T42" fmla="*/ 2147483647 w 1105"/>
              <a:gd name="T43" fmla="*/ 2147483647 h 1333"/>
              <a:gd name="T44" fmla="*/ 2147483647 w 1105"/>
              <a:gd name="T45" fmla="*/ 2147483647 h 1333"/>
              <a:gd name="T46" fmla="*/ 2147483647 w 1105"/>
              <a:gd name="T47" fmla="*/ 2147483647 h 1333"/>
              <a:gd name="T48" fmla="*/ 2147483647 w 1105"/>
              <a:gd name="T49" fmla="*/ 2147483647 h 1333"/>
              <a:gd name="T50" fmla="*/ 2147483647 w 1105"/>
              <a:gd name="T51" fmla="*/ 2147483647 h 1333"/>
              <a:gd name="T52" fmla="*/ 2147483647 w 1105"/>
              <a:gd name="T53" fmla="*/ 2147483647 h 1333"/>
              <a:gd name="T54" fmla="*/ 2147483647 w 1105"/>
              <a:gd name="T55" fmla="*/ 2147483647 h 1333"/>
              <a:gd name="T56" fmla="*/ 2147483647 w 1105"/>
              <a:gd name="T57" fmla="*/ 2147483647 h 1333"/>
              <a:gd name="T58" fmla="*/ 2147483647 w 1105"/>
              <a:gd name="T59" fmla="*/ 2147483647 h 1333"/>
              <a:gd name="T60" fmla="*/ 2147483647 w 1105"/>
              <a:gd name="T61" fmla="*/ 2147483647 h 1333"/>
              <a:gd name="T62" fmla="*/ 2147483647 w 1105"/>
              <a:gd name="T63" fmla="*/ 0 h 1333"/>
              <a:gd name="T64" fmla="*/ 2147483647 w 1105"/>
              <a:gd name="T65" fmla="*/ 0 h 1333"/>
              <a:gd name="T66" fmla="*/ 2147483647 w 1105"/>
              <a:gd name="T67" fmla="*/ 2147483647 h 1333"/>
              <a:gd name="T68" fmla="*/ 2147483647 w 1105"/>
              <a:gd name="T69" fmla="*/ 2147483647 h 1333"/>
              <a:gd name="T70" fmla="*/ 2147483647 w 1105"/>
              <a:gd name="T71" fmla="*/ 2147483647 h 1333"/>
              <a:gd name="T72" fmla="*/ 2147483647 w 1105"/>
              <a:gd name="T73" fmla="*/ 2147483647 h 1333"/>
              <a:gd name="T74" fmla="*/ 2147483647 w 1105"/>
              <a:gd name="T75" fmla="*/ 2147483647 h 1333"/>
              <a:gd name="T76" fmla="*/ 2147483647 w 1105"/>
              <a:gd name="T77" fmla="*/ 2147483647 h 1333"/>
              <a:gd name="T78" fmla="*/ 2147483647 w 1105"/>
              <a:gd name="T79" fmla="*/ 2147483647 h 1333"/>
              <a:gd name="T80" fmla="*/ 2147483647 w 1105"/>
              <a:gd name="T81" fmla="*/ 2147483647 h 1333"/>
              <a:gd name="T82" fmla="*/ 2147483647 w 1105"/>
              <a:gd name="T83" fmla="*/ 2147483647 h 1333"/>
              <a:gd name="T84" fmla="*/ 2147483647 w 1105"/>
              <a:gd name="T85" fmla="*/ 2147483647 h 1333"/>
              <a:gd name="T86" fmla="*/ 2147483647 w 1105"/>
              <a:gd name="T87" fmla="*/ 2147483647 h 1333"/>
              <a:gd name="T88" fmla="*/ 2147483647 w 1105"/>
              <a:gd name="T89" fmla="*/ 2147483647 h 1333"/>
              <a:gd name="T90" fmla="*/ 2147483647 w 1105"/>
              <a:gd name="T91" fmla="*/ 2147483647 h 1333"/>
              <a:gd name="T92" fmla="*/ 2147483647 w 1105"/>
              <a:gd name="T93" fmla="*/ 2147483647 h 1333"/>
              <a:gd name="T94" fmla="*/ 2147483647 w 1105"/>
              <a:gd name="T95" fmla="*/ 2147483647 h 1333"/>
              <a:gd name="T96" fmla="*/ 2147483647 w 1105"/>
              <a:gd name="T97" fmla="*/ 2147483647 h 1333"/>
              <a:gd name="T98" fmla="*/ 2147483647 w 1105"/>
              <a:gd name="T99" fmla="*/ 2147483647 h 1333"/>
              <a:gd name="T100" fmla="*/ 2147483647 w 1105"/>
              <a:gd name="T101" fmla="*/ 2147483647 h 1333"/>
              <a:gd name="T102" fmla="*/ 2147483647 w 1105"/>
              <a:gd name="T103" fmla="*/ 2147483647 h 1333"/>
              <a:gd name="T104" fmla="*/ 2147483647 w 1105"/>
              <a:gd name="T105" fmla="*/ 2147483647 h 1333"/>
              <a:gd name="T106" fmla="*/ 2147483647 w 1105"/>
              <a:gd name="T107" fmla="*/ 2147483647 h 1333"/>
              <a:gd name="T108" fmla="*/ 2147483647 w 1105"/>
              <a:gd name="T109" fmla="*/ 2147483647 h 1333"/>
              <a:gd name="T110" fmla="*/ 2147483647 w 1105"/>
              <a:gd name="T111" fmla="*/ 2147483647 h 1333"/>
              <a:gd name="T112" fmla="*/ 2147483647 w 1105"/>
              <a:gd name="T113" fmla="*/ 2147483647 h 1333"/>
              <a:gd name="T114" fmla="*/ 2147483647 w 1105"/>
              <a:gd name="T115" fmla="*/ 2147483647 h 1333"/>
              <a:gd name="T116" fmla="*/ 2147483647 w 1105"/>
              <a:gd name="T117" fmla="*/ 2147483647 h 1333"/>
              <a:gd name="T118" fmla="*/ 2147483647 w 1105"/>
              <a:gd name="T119" fmla="*/ 2147483647 h 1333"/>
              <a:gd name="T120" fmla="*/ 2147483647 w 1105"/>
              <a:gd name="T121" fmla="*/ 2147483647 h 1333"/>
              <a:gd name="T122" fmla="*/ 2147483647 w 1105"/>
              <a:gd name="T123" fmla="*/ 2147483647 h 1333"/>
              <a:gd name="T124" fmla="*/ 2147483647 w 1105"/>
              <a:gd name="T125" fmla="*/ 2147483647 h 133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105"/>
              <a:gd name="T190" fmla="*/ 0 h 1333"/>
              <a:gd name="T191" fmla="*/ 1105 w 1105"/>
              <a:gd name="T192" fmla="*/ 1333 h 133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105" h="1333">
                <a:moveTo>
                  <a:pt x="96" y="1321"/>
                </a:moveTo>
                <a:lnTo>
                  <a:pt x="96" y="1316"/>
                </a:lnTo>
                <a:lnTo>
                  <a:pt x="90" y="1316"/>
                </a:lnTo>
                <a:lnTo>
                  <a:pt x="90" y="1310"/>
                </a:lnTo>
                <a:lnTo>
                  <a:pt x="90" y="1304"/>
                </a:lnTo>
                <a:lnTo>
                  <a:pt x="90" y="1299"/>
                </a:lnTo>
                <a:lnTo>
                  <a:pt x="85" y="1299"/>
                </a:lnTo>
                <a:lnTo>
                  <a:pt x="85" y="1293"/>
                </a:lnTo>
                <a:lnTo>
                  <a:pt x="79" y="1293"/>
                </a:lnTo>
                <a:lnTo>
                  <a:pt x="79" y="1287"/>
                </a:lnTo>
                <a:lnTo>
                  <a:pt x="73" y="1287"/>
                </a:lnTo>
                <a:lnTo>
                  <a:pt x="68" y="1282"/>
                </a:lnTo>
                <a:lnTo>
                  <a:pt x="62" y="1282"/>
                </a:lnTo>
                <a:lnTo>
                  <a:pt x="51" y="1276"/>
                </a:lnTo>
                <a:lnTo>
                  <a:pt x="45" y="1270"/>
                </a:lnTo>
                <a:lnTo>
                  <a:pt x="39" y="1270"/>
                </a:lnTo>
                <a:lnTo>
                  <a:pt x="39" y="1265"/>
                </a:lnTo>
                <a:lnTo>
                  <a:pt x="34" y="1265"/>
                </a:lnTo>
                <a:lnTo>
                  <a:pt x="28" y="1259"/>
                </a:lnTo>
                <a:lnTo>
                  <a:pt x="22" y="1248"/>
                </a:lnTo>
                <a:lnTo>
                  <a:pt x="22" y="1242"/>
                </a:lnTo>
                <a:lnTo>
                  <a:pt x="17" y="1236"/>
                </a:lnTo>
                <a:lnTo>
                  <a:pt x="11" y="1236"/>
                </a:lnTo>
                <a:lnTo>
                  <a:pt x="11" y="1231"/>
                </a:lnTo>
                <a:lnTo>
                  <a:pt x="5" y="1231"/>
                </a:lnTo>
                <a:lnTo>
                  <a:pt x="0" y="1231"/>
                </a:lnTo>
                <a:lnTo>
                  <a:pt x="0" y="1225"/>
                </a:lnTo>
                <a:lnTo>
                  <a:pt x="0" y="1219"/>
                </a:lnTo>
                <a:lnTo>
                  <a:pt x="5" y="1219"/>
                </a:lnTo>
                <a:lnTo>
                  <a:pt x="5" y="1214"/>
                </a:lnTo>
                <a:lnTo>
                  <a:pt x="5" y="1208"/>
                </a:lnTo>
                <a:lnTo>
                  <a:pt x="11" y="1202"/>
                </a:lnTo>
                <a:lnTo>
                  <a:pt x="11" y="1197"/>
                </a:lnTo>
                <a:lnTo>
                  <a:pt x="17" y="1197"/>
                </a:lnTo>
                <a:lnTo>
                  <a:pt x="22" y="1197"/>
                </a:lnTo>
                <a:lnTo>
                  <a:pt x="22" y="1191"/>
                </a:lnTo>
                <a:lnTo>
                  <a:pt x="28" y="1191"/>
                </a:lnTo>
                <a:lnTo>
                  <a:pt x="34" y="1185"/>
                </a:lnTo>
                <a:lnTo>
                  <a:pt x="39" y="1185"/>
                </a:lnTo>
                <a:lnTo>
                  <a:pt x="39" y="1179"/>
                </a:lnTo>
                <a:lnTo>
                  <a:pt x="45" y="1179"/>
                </a:lnTo>
                <a:lnTo>
                  <a:pt x="51" y="1179"/>
                </a:lnTo>
                <a:lnTo>
                  <a:pt x="51" y="1174"/>
                </a:lnTo>
                <a:lnTo>
                  <a:pt x="56" y="1174"/>
                </a:lnTo>
                <a:lnTo>
                  <a:pt x="62" y="1168"/>
                </a:lnTo>
                <a:lnTo>
                  <a:pt x="62" y="1162"/>
                </a:lnTo>
                <a:lnTo>
                  <a:pt x="56" y="1162"/>
                </a:lnTo>
                <a:lnTo>
                  <a:pt x="56" y="1157"/>
                </a:lnTo>
                <a:lnTo>
                  <a:pt x="51" y="1157"/>
                </a:lnTo>
                <a:lnTo>
                  <a:pt x="51" y="1151"/>
                </a:lnTo>
                <a:lnTo>
                  <a:pt x="45" y="1151"/>
                </a:lnTo>
                <a:lnTo>
                  <a:pt x="39" y="1151"/>
                </a:lnTo>
                <a:lnTo>
                  <a:pt x="34" y="1145"/>
                </a:lnTo>
                <a:lnTo>
                  <a:pt x="22" y="1140"/>
                </a:lnTo>
                <a:lnTo>
                  <a:pt x="17" y="1140"/>
                </a:lnTo>
                <a:lnTo>
                  <a:pt x="11" y="1140"/>
                </a:lnTo>
                <a:lnTo>
                  <a:pt x="5" y="1140"/>
                </a:lnTo>
                <a:lnTo>
                  <a:pt x="5" y="1134"/>
                </a:lnTo>
                <a:lnTo>
                  <a:pt x="5" y="1128"/>
                </a:lnTo>
                <a:lnTo>
                  <a:pt x="5" y="1123"/>
                </a:lnTo>
                <a:lnTo>
                  <a:pt x="11" y="1123"/>
                </a:lnTo>
                <a:lnTo>
                  <a:pt x="11" y="1117"/>
                </a:lnTo>
                <a:lnTo>
                  <a:pt x="22" y="1117"/>
                </a:lnTo>
                <a:lnTo>
                  <a:pt x="22" y="1111"/>
                </a:lnTo>
                <a:lnTo>
                  <a:pt x="28" y="1111"/>
                </a:lnTo>
                <a:lnTo>
                  <a:pt x="34" y="1111"/>
                </a:lnTo>
                <a:lnTo>
                  <a:pt x="39" y="1106"/>
                </a:lnTo>
                <a:lnTo>
                  <a:pt x="45" y="1100"/>
                </a:lnTo>
                <a:lnTo>
                  <a:pt x="45" y="1094"/>
                </a:lnTo>
                <a:lnTo>
                  <a:pt x="51" y="1094"/>
                </a:lnTo>
                <a:lnTo>
                  <a:pt x="51" y="1089"/>
                </a:lnTo>
                <a:lnTo>
                  <a:pt x="51" y="1083"/>
                </a:lnTo>
                <a:lnTo>
                  <a:pt x="51" y="1077"/>
                </a:lnTo>
                <a:lnTo>
                  <a:pt x="45" y="1066"/>
                </a:lnTo>
                <a:lnTo>
                  <a:pt x="45" y="1060"/>
                </a:lnTo>
                <a:lnTo>
                  <a:pt x="45" y="1055"/>
                </a:lnTo>
                <a:lnTo>
                  <a:pt x="45" y="1049"/>
                </a:lnTo>
                <a:lnTo>
                  <a:pt x="51" y="1038"/>
                </a:lnTo>
                <a:lnTo>
                  <a:pt x="51" y="1032"/>
                </a:lnTo>
                <a:lnTo>
                  <a:pt x="51" y="1026"/>
                </a:lnTo>
                <a:lnTo>
                  <a:pt x="56" y="1026"/>
                </a:lnTo>
                <a:lnTo>
                  <a:pt x="56" y="1021"/>
                </a:lnTo>
                <a:lnTo>
                  <a:pt x="62" y="1015"/>
                </a:lnTo>
                <a:lnTo>
                  <a:pt x="68" y="1009"/>
                </a:lnTo>
                <a:lnTo>
                  <a:pt x="73" y="1009"/>
                </a:lnTo>
                <a:lnTo>
                  <a:pt x="79" y="1004"/>
                </a:lnTo>
                <a:lnTo>
                  <a:pt x="90" y="1004"/>
                </a:lnTo>
                <a:lnTo>
                  <a:pt x="90" y="998"/>
                </a:lnTo>
                <a:lnTo>
                  <a:pt x="96" y="998"/>
                </a:lnTo>
                <a:lnTo>
                  <a:pt x="107" y="998"/>
                </a:lnTo>
                <a:lnTo>
                  <a:pt x="107" y="992"/>
                </a:lnTo>
                <a:lnTo>
                  <a:pt x="113" y="992"/>
                </a:lnTo>
                <a:lnTo>
                  <a:pt x="119" y="992"/>
                </a:lnTo>
                <a:lnTo>
                  <a:pt x="124" y="987"/>
                </a:lnTo>
                <a:lnTo>
                  <a:pt x="130" y="987"/>
                </a:lnTo>
                <a:lnTo>
                  <a:pt x="136" y="987"/>
                </a:lnTo>
                <a:lnTo>
                  <a:pt x="136" y="981"/>
                </a:lnTo>
                <a:lnTo>
                  <a:pt x="141" y="981"/>
                </a:lnTo>
                <a:lnTo>
                  <a:pt x="147" y="981"/>
                </a:lnTo>
                <a:lnTo>
                  <a:pt x="141" y="981"/>
                </a:lnTo>
                <a:lnTo>
                  <a:pt x="147" y="981"/>
                </a:lnTo>
                <a:lnTo>
                  <a:pt x="153" y="981"/>
                </a:lnTo>
                <a:lnTo>
                  <a:pt x="153" y="975"/>
                </a:lnTo>
                <a:lnTo>
                  <a:pt x="158" y="975"/>
                </a:lnTo>
                <a:lnTo>
                  <a:pt x="164" y="970"/>
                </a:lnTo>
                <a:lnTo>
                  <a:pt x="170" y="970"/>
                </a:lnTo>
                <a:lnTo>
                  <a:pt x="170" y="964"/>
                </a:lnTo>
                <a:lnTo>
                  <a:pt x="170" y="958"/>
                </a:lnTo>
                <a:lnTo>
                  <a:pt x="175" y="958"/>
                </a:lnTo>
                <a:lnTo>
                  <a:pt x="181" y="958"/>
                </a:lnTo>
                <a:lnTo>
                  <a:pt x="187" y="953"/>
                </a:lnTo>
                <a:lnTo>
                  <a:pt x="192" y="953"/>
                </a:lnTo>
                <a:lnTo>
                  <a:pt x="192" y="947"/>
                </a:lnTo>
                <a:lnTo>
                  <a:pt x="192" y="941"/>
                </a:lnTo>
                <a:lnTo>
                  <a:pt x="198" y="941"/>
                </a:lnTo>
                <a:lnTo>
                  <a:pt x="198" y="930"/>
                </a:lnTo>
                <a:lnTo>
                  <a:pt x="198" y="924"/>
                </a:lnTo>
                <a:lnTo>
                  <a:pt x="192" y="924"/>
                </a:lnTo>
                <a:lnTo>
                  <a:pt x="192" y="913"/>
                </a:lnTo>
                <a:lnTo>
                  <a:pt x="187" y="902"/>
                </a:lnTo>
                <a:lnTo>
                  <a:pt x="187" y="896"/>
                </a:lnTo>
                <a:lnTo>
                  <a:pt x="187" y="885"/>
                </a:lnTo>
                <a:lnTo>
                  <a:pt x="192" y="885"/>
                </a:lnTo>
                <a:lnTo>
                  <a:pt x="192" y="873"/>
                </a:lnTo>
                <a:lnTo>
                  <a:pt x="198" y="873"/>
                </a:lnTo>
                <a:lnTo>
                  <a:pt x="198" y="868"/>
                </a:lnTo>
                <a:lnTo>
                  <a:pt x="209" y="862"/>
                </a:lnTo>
                <a:lnTo>
                  <a:pt x="215" y="862"/>
                </a:lnTo>
                <a:lnTo>
                  <a:pt x="215" y="856"/>
                </a:lnTo>
                <a:lnTo>
                  <a:pt x="221" y="856"/>
                </a:lnTo>
                <a:lnTo>
                  <a:pt x="221" y="851"/>
                </a:lnTo>
                <a:lnTo>
                  <a:pt x="221" y="845"/>
                </a:lnTo>
                <a:lnTo>
                  <a:pt x="221" y="839"/>
                </a:lnTo>
                <a:lnTo>
                  <a:pt x="226" y="834"/>
                </a:lnTo>
                <a:lnTo>
                  <a:pt x="226" y="828"/>
                </a:lnTo>
                <a:lnTo>
                  <a:pt x="226" y="822"/>
                </a:lnTo>
                <a:lnTo>
                  <a:pt x="232" y="817"/>
                </a:lnTo>
                <a:lnTo>
                  <a:pt x="238" y="811"/>
                </a:lnTo>
                <a:lnTo>
                  <a:pt x="238" y="805"/>
                </a:lnTo>
                <a:lnTo>
                  <a:pt x="243" y="805"/>
                </a:lnTo>
                <a:lnTo>
                  <a:pt x="249" y="805"/>
                </a:lnTo>
                <a:lnTo>
                  <a:pt x="255" y="800"/>
                </a:lnTo>
                <a:lnTo>
                  <a:pt x="260" y="794"/>
                </a:lnTo>
                <a:lnTo>
                  <a:pt x="266" y="788"/>
                </a:lnTo>
                <a:lnTo>
                  <a:pt x="266" y="783"/>
                </a:lnTo>
                <a:lnTo>
                  <a:pt x="260" y="777"/>
                </a:lnTo>
                <a:lnTo>
                  <a:pt x="255" y="771"/>
                </a:lnTo>
                <a:lnTo>
                  <a:pt x="255" y="766"/>
                </a:lnTo>
                <a:lnTo>
                  <a:pt x="255" y="760"/>
                </a:lnTo>
                <a:lnTo>
                  <a:pt x="243" y="749"/>
                </a:lnTo>
                <a:lnTo>
                  <a:pt x="238" y="743"/>
                </a:lnTo>
                <a:lnTo>
                  <a:pt x="238" y="737"/>
                </a:lnTo>
                <a:lnTo>
                  <a:pt x="232" y="737"/>
                </a:lnTo>
                <a:lnTo>
                  <a:pt x="226" y="737"/>
                </a:lnTo>
                <a:lnTo>
                  <a:pt x="221" y="737"/>
                </a:lnTo>
                <a:lnTo>
                  <a:pt x="221" y="732"/>
                </a:lnTo>
                <a:lnTo>
                  <a:pt x="215" y="732"/>
                </a:lnTo>
                <a:lnTo>
                  <a:pt x="215" y="726"/>
                </a:lnTo>
                <a:lnTo>
                  <a:pt x="215" y="720"/>
                </a:lnTo>
                <a:lnTo>
                  <a:pt x="215" y="709"/>
                </a:lnTo>
                <a:lnTo>
                  <a:pt x="215" y="703"/>
                </a:lnTo>
                <a:lnTo>
                  <a:pt x="221" y="703"/>
                </a:lnTo>
                <a:lnTo>
                  <a:pt x="226" y="698"/>
                </a:lnTo>
                <a:lnTo>
                  <a:pt x="226" y="692"/>
                </a:lnTo>
                <a:lnTo>
                  <a:pt x="232" y="692"/>
                </a:lnTo>
                <a:lnTo>
                  <a:pt x="232" y="686"/>
                </a:lnTo>
                <a:lnTo>
                  <a:pt x="238" y="681"/>
                </a:lnTo>
                <a:lnTo>
                  <a:pt x="238" y="675"/>
                </a:lnTo>
                <a:lnTo>
                  <a:pt x="238" y="664"/>
                </a:lnTo>
                <a:lnTo>
                  <a:pt x="238" y="652"/>
                </a:lnTo>
                <a:lnTo>
                  <a:pt x="238" y="641"/>
                </a:lnTo>
                <a:lnTo>
                  <a:pt x="238" y="630"/>
                </a:lnTo>
                <a:lnTo>
                  <a:pt x="238" y="618"/>
                </a:lnTo>
                <a:lnTo>
                  <a:pt x="238" y="607"/>
                </a:lnTo>
                <a:lnTo>
                  <a:pt x="238" y="590"/>
                </a:lnTo>
                <a:lnTo>
                  <a:pt x="243" y="579"/>
                </a:lnTo>
                <a:lnTo>
                  <a:pt x="243" y="573"/>
                </a:lnTo>
                <a:lnTo>
                  <a:pt x="249" y="567"/>
                </a:lnTo>
                <a:lnTo>
                  <a:pt x="249" y="556"/>
                </a:lnTo>
                <a:lnTo>
                  <a:pt x="255" y="533"/>
                </a:lnTo>
                <a:lnTo>
                  <a:pt x="255" y="522"/>
                </a:lnTo>
                <a:lnTo>
                  <a:pt x="255" y="511"/>
                </a:lnTo>
                <a:lnTo>
                  <a:pt x="255" y="505"/>
                </a:lnTo>
                <a:lnTo>
                  <a:pt x="249" y="494"/>
                </a:lnTo>
                <a:lnTo>
                  <a:pt x="243" y="488"/>
                </a:lnTo>
                <a:lnTo>
                  <a:pt x="243" y="482"/>
                </a:lnTo>
                <a:lnTo>
                  <a:pt x="243" y="477"/>
                </a:lnTo>
                <a:lnTo>
                  <a:pt x="243" y="471"/>
                </a:lnTo>
                <a:lnTo>
                  <a:pt x="238" y="471"/>
                </a:lnTo>
                <a:lnTo>
                  <a:pt x="238" y="465"/>
                </a:lnTo>
                <a:lnTo>
                  <a:pt x="238" y="460"/>
                </a:lnTo>
                <a:lnTo>
                  <a:pt x="243" y="460"/>
                </a:lnTo>
                <a:lnTo>
                  <a:pt x="243" y="454"/>
                </a:lnTo>
                <a:lnTo>
                  <a:pt x="249" y="454"/>
                </a:lnTo>
                <a:lnTo>
                  <a:pt x="255" y="448"/>
                </a:lnTo>
                <a:lnTo>
                  <a:pt x="260" y="443"/>
                </a:lnTo>
                <a:lnTo>
                  <a:pt x="266" y="443"/>
                </a:lnTo>
                <a:lnTo>
                  <a:pt x="272" y="443"/>
                </a:lnTo>
                <a:lnTo>
                  <a:pt x="272" y="437"/>
                </a:lnTo>
                <a:lnTo>
                  <a:pt x="277" y="437"/>
                </a:lnTo>
                <a:lnTo>
                  <a:pt x="283" y="431"/>
                </a:lnTo>
                <a:lnTo>
                  <a:pt x="283" y="426"/>
                </a:lnTo>
                <a:lnTo>
                  <a:pt x="289" y="426"/>
                </a:lnTo>
                <a:lnTo>
                  <a:pt x="289" y="420"/>
                </a:lnTo>
                <a:lnTo>
                  <a:pt x="289" y="414"/>
                </a:lnTo>
                <a:lnTo>
                  <a:pt x="294" y="414"/>
                </a:lnTo>
                <a:lnTo>
                  <a:pt x="294" y="403"/>
                </a:lnTo>
                <a:lnTo>
                  <a:pt x="300" y="403"/>
                </a:lnTo>
                <a:lnTo>
                  <a:pt x="300" y="397"/>
                </a:lnTo>
                <a:lnTo>
                  <a:pt x="306" y="392"/>
                </a:lnTo>
                <a:lnTo>
                  <a:pt x="311" y="386"/>
                </a:lnTo>
                <a:lnTo>
                  <a:pt x="317" y="380"/>
                </a:lnTo>
                <a:lnTo>
                  <a:pt x="317" y="375"/>
                </a:lnTo>
                <a:lnTo>
                  <a:pt x="317" y="369"/>
                </a:lnTo>
                <a:lnTo>
                  <a:pt x="317" y="363"/>
                </a:lnTo>
                <a:lnTo>
                  <a:pt x="311" y="358"/>
                </a:lnTo>
                <a:lnTo>
                  <a:pt x="306" y="358"/>
                </a:lnTo>
                <a:lnTo>
                  <a:pt x="306" y="352"/>
                </a:lnTo>
                <a:lnTo>
                  <a:pt x="306" y="346"/>
                </a:lnTo>
                <a:lnTo>
                  <a:pt x="300" y="346"/>
                </a:lnTo>
                <a:lnTo>
                  <a:pt x="300" y="341"/>
                </a:lnTo>
                <a:lnTo>
                  <a:pt x="294" y="341"/>
                </a:lnTo>
                <a:lnTo>
                  <a:pt x="294" y="335"/>
                </a:lnTo>
                <a:lnTo>
                  <a:pt x="289" y="335"/>
                </a:lnTo>
                <a:lnTo>
                  <a:pt x="289" y="329"/>
                </a:lnTo>
                <a:lnTo>
                  <a:pt x="289" y="324"/>
                </a:lnTo>
                <a:lnTo>
                  <a:pt x="283" y="324"/>
                </a:lnTo>
                <a:lnTo>
                  <a:pt x="277" y="318"/>
                </a:lnTo>
                <a:lnTo>
                  <a:pt x="277" y="312"/>
                </a:lnTo>
                <a:lnTo>
                  <a:pt x="272" y="307"/>
                </a:lnTo>
                <a:lnTo>
                  <a:pt x="272" y="301"/>
                </a:lnTo>
                <a:lnTo>
                  <a:pt x="272" y="295"/>
                </a:lnTo>
                <a:lnTo>
                  <a:pt x="272" y="290"/>
                </a:lnTo>
                <a:lnTo>
                  <a:pt x="277" y="290"/>
                </a:lnTo>
                <a:lnTo>
                  <a:pt x="277" y="284"/>
                </a:lnTo>
                <a:lnTo>
                  <a:pt x="283" y="273"/>
                </a:lnTo>
                <a:lnTo>
                  <a:pt x="289" y="267"/>
                </a:lnTo>
                <a:lnTo>
                  <a:pt x="289" y="255"/>
                </a:lnTo>
                <a:lnTo>
                  <a:pt x="289" y="250"/>
                </a:lnTo>
                <a:lnTo>
                  <a:pt x="289" y="233"/>
                </a:lnTo>
                <a:lnTo>
                  <a:pt x="289" y="227"/>
                </a:lnTo>
                <a:lnTo>
                  <a:pt x="294" y="227"/>
                </a:lnTo>
                <a:lnTo>
                  <a:pt x="300" y="227"/>
                </a:lnTo>
                <a:lnTo>
                  <a:pt x="306" y="227"/>
                </a:lnTo>
                <a:lnTo>
                  <a:pt x="311" y="233"/>
                </a:lnTo>
                <a:lnTo>
                  <a:pt x="317" y="233"/>
                </a:lnTo>
                <a:lnTo>
                  <a:pt x="323" y="233"/>
                </a:lnTo>
                <a:lnTo>
                  <a:pt x="329" y="233"/>
                </a:lnTo>
                <a:lnTo>
                  <a:pt x="323" y="227"/>
                </a:lnTo>
                <a:lnTo>
                  <a:pt x="329" y="227"/>
                </a:lnTo>
                <a:lnTo>
                  <a:pt x="334" y="227"/>
                </a:lnTo>
                <a:lnTo>
                  <a:pt x="329" y="227"/>
                </a:lnTo>
                <a:lnTo>
                  <a:pt x="329" y="221"/>
                </a:lnTo>
                <a:lnTo>
                  <a:pt x="334" y="221"/>
                </a:lnTo>
                <a:lnTo>
                  <a:pt x="329" y="221"/>
                </a:lnTo>
                <a:lnTo>
                  <a:pt x="334" y="216"/>
                </a:lnTo>
                <a:lnTo>
                  <a:pt x="329" y="216"/>
                </a:lnTo>
                <a:lnTo>
                  <a:pt x="329" y="210"/>
                </a:lnTo>
                <a:lnTo>
                  <a:pt x="334" y="204"/>
                </a:lnTo>
                <a:lnTo>
                  <a:pt x="340" y="204"/>
                </a:lnTo>
                <a:lnTo>
                  <a:pt x="346" y="204"/>
                </a:lnTo>
                <a:lnTo>
                  <a:pt x="351" y="204"/>
                </a:lnTo>
                <a:lnTo>
                  <a:pt x="351" y="199"/>
                </a:lnTo>
                <a:lnTo>
                  <a:pt x="351" y="193"/>
                </a:lnTo>
                <a:lnTo>
                  <a:pt x="357" y="187"/>
                </a:lnTo>
                <a:lnTo>
                  <a:pt x="351" y="187"/>
                </a:lnTo>
                <a:lnTo>
                  <a:pt x="346" y="187"/>
                </a:lnTo>
                <a:lnTo>
                  <a:pt x="346" y="182"/>
                </a:lnTo>
                <a:lnTo>
                  <a:pt x="351" y="182"/>
                </a:lnTo>
                <a:lnTo>
                  <a:pt x="351" y="176"/>
                </a:lnTo>
                <a:lnTo>
                  <a:pt x="357" y="176"/>
                </a:lnTo>
                <a:lnTo>
                  <a:pt x="357" y="170"/>
                </a:lnTo>
                <a:lnTo>
                  <a:pt x="357" y="165"/>
                </a:lnTo>
                <a:lnTo>
                  <a:pt x="363" y="165"/>
                </a:lnTo>
                <a:lnTo>
                  <a:pt x="363" y="159"/>
                </a:lnTo>
                <a:lnTo>
                  <a:pt x="363" y="165"/>
                </a:lnTo>
                <a:lnTo>
                  <a:pt x="363" y="159"/>
                </a:lnTo>
                <a:lnTo>
                  <a:pt x="368" y="159"/>
                </a:lnTo>
                <a:lnTo>
                  <a:pt x="374" y="159"/>
                </a:lnTo>
                <a:lnTo>
                  <a:pt x="380" y="159"/>
                </a:lnTo>
                <a:lnTo>
                  <a:pt x="380" y="148"/>
                </a:lnTo>
                <a:lnTo>
                  <a:pt x="385" y="148"/>
                </a:lnTo>
                <a:lnTo>
                  <a:pt x="385" y="153"/>
                </a:lnTo>
                <a:lnTo>
                  <a:pt x="391" y="153"/>
                </a:lnTo>
                <a:lnTo>
                  <a:pt x="391" y="159"/>
                </a:lnTo>
                <a:lnTo>
                  <a:pt x="397" y="159"/>
                </a:lnTo>
                <a:lnTo>
                  <a:pt x="402" y="153"/>
                </a:lnTo>
                <a:lnTo>
                  <a:pt x="402" y="148"/>
                </a:lnTo>
                <a:lnTo>
                  <a:pt x="402" y="142"/>
                </a:lnTo>
                <a:lnTo>
                  <a:pt x="402" y="148"/>
                </a:lnTo>
                <a:lnTo>
                  <a:pt x="402" y="142"/>
                </a:lnTo>
                <a:lnTo>
                  <a:pt x="408" y="148"/>
                </a:lnTo>
                <a:lnTo>
                  <a:pt x="414" y="148"/>
                </a:lnTo>
                <a:lnTo>
                  <a:pt x="408" y="142"/>
                </a:lnTo>
                <a:lnTo>
                  <a:pt x="414" y="142"/>
                </a:lnTo>
                <a:lnTo>
                  <a:pt x="419" y="142"/>
                </a:lnTo>
                <a:lnTo>
                  <a:pt x="419" y="136"/>
                </a:lnTo>
                <a:lnTo>
                  <a:pt x="425" y="131"/>
                </a:lnTo>
                <a:lnTo>
                  <a:pt x="431" y="131"/>
                </a:lnTo>
                <a:lnTo>
                  <a:pt x="436" y="125"/>
                </a:lnTo>
                <a:lnTo>
                  <a:pt x="436" y="119"/>
                </a:lnTo>
                <a:lnTo>
                  <a:pt x="442" y="119"/>
                </a:lnTo>
                <a:lnTo>
                  <a:pt x="448" y="114"/>
                </a:lnTo>
                <a:lnTo>
                  <a:pt x="453" y="114"/>
                </a:lnTo>
                <a:lnTo>
                  <a:pt x="448" y="108"/>
                </a:lnTo>
                <a:lnTo>
                  <a:pt x="442" y="108"/>
                </a:lnTo>
                <a:lnTo>
                  <a:pt x="442" y="102"/>
                </a:lnTo>
                <a:lnTo>
                  <a:pt x="448" y="102"/>
                </a:lnTo>
                <a:lnTo>
                  <a:pt x="453" y="102"/>
                </a:lnTo>
                <a:lnTo>
                  <a:pt x="453" y="97"/>
                </a:lnTo>
                <a:lnTo>
                  <a:pt x="453" y="102"/>
                </a:lnTo>
                <a:lnTo>
                  <a:pt x="459" y="102"/>
                </a:lnTo>
                <a:lnTo>
                  <a:pt x="459" y="97"/>
                </a:lnTo>
                <a:lnTo>
                  <a:pt x="459" y="91"/>
                </a:lnTo>
                <a:lnTo>
                  <a:pt x="453" y="91"/>
                </a:lnTo>
                <a:lnTo>
                  <a:pt x="459" y="85"/>
                </a:lnTo>
                <a:lnTo>
                  <a:pt x="465" y="85"/>
                </a:lnTo>
                <a:lnTo>
                  <a:pt x="465" y="91"/>
                </a:lnTo>
                <a:lnTo>
                  <a:pt x="465" y="85"/>
                </a:lnTo>
                <a:lnTo>
                  <a:pt x="465" y="80"/>
                </a:lnTo>
                <a:lnTo>
                  <a:pt x="470" y="80"/>
                </a:lnTo>
                <a:lnTo>
                  <a:pt x="470" y="85"/>
                </a:lnTo>
                <a:lnTo>
                  <a:pt x="476" y="85"/>
                </a:lnTo>
                <a:lnTo>
                  <a:pt x="482" y="85"/>
                </a:lnTo>
                <a:lnTo>
                  <a:pt x="487" y="80"/>
                </a:lnTo>
                <a:lnTo>
                  <a:pt x="493" y="80"/>
                </a:lnTo>
                <a:lnTo>
                  <a:pt x="493" y="74"/>
                </a:lnTo>
                <a:lnTo>
                  <a:pt x="493" y="80"/>
                </a:lnTo>
                <a:lnTo>
                  <a:pt x="499" y="74"/>
                </a:lnTo>
                <a:lnTo>
                  <a:pt x="504" y="74"/>
                </a:lnTo>
                <a:lnTo>
                  <a:pt x="510" y="74"/>
                </a:lnTo>
                <a:lnTo>
                  <a:pt x="516" y="74"/>
                </a:lnTo>
                <a:lnTo>
                  <a:pt x="521" y="68"/>
                </a:lnTo>
                <a:lnTo>
                  <a:pt x="527" y="68"/>
                </a:lnTo>
                <a:lnTo>
                  <a:pt x="527" y="63"/>
                </a:lnTo>
                <a:lnTo>
                  <a:pt x="533" y="63"/>
                </a:lnTo>
                <a:lnTo>
                  <a:pt x="538" y="63"/>
                </a:lnTo>
                <a:lnTo>
                  <a:pt x="538" y="68"/>
                </a:lnTo>
                <a:lnTo>
                  <a:pt x="533" y="68"/>
                </a:lnTo>
                <a:lnTo>
                  <a:pt x="538" y="68"/>
                </a:lnTo>
                <a:lnTo>
                  <a:pt x="544" y="74"/>
                </a:lnTo>
                <a:lnTo>
                  <a:pt x="544" y="68"/>
                </a:lnTo>
                <a:lnTo>
                  <a:pt x="544" y="63"/>
                </a:lnTo>
                <a:lnTo>
                  <a:pt x="555" y="68"/>
                </a:lnTo>
                <a:lnTo>
                  <a:pt x="555" y="74"/>
                </a:lnTo>
                <a:lnTo>
                  <a:pt x="555" y="68"/>
                </a:lnTo>
                <a:lnTo>
                  <a:pt x="555" y="63"/>
                </a:lnTo>
                <a:lnTo>
                  <a:pt x="561" y="63"/>
                </a:lnTo>
                <a:lnTo>
                  <a:pt x="561" y="68"/>
                </a:lnTo>
                <a:lnTo>
                  <a:pt x="561" y="74"/>
                </a:lnTo>
                <a:lnTo>
                  <a:pt x="567" y="74"/>
                </a:lnTo>
                <a:lnTo>
                  <a:pt x="567" y="68"/>
                </a:lnTo>
                <a:lnTo>
                  <a:pt x="572" y="68"/>
                </a:lnTo>
                <a:lnTo>
                  <a:pt x="578" y="68"/>
                </a:lnTo>
                <a:lnTo>
                  <a:pt x="578" y="74"/>
                </a:lnTo>
                <a:lnTo>
                  <a:pt x="578" y="68"/>
                </a:lnTo>
                <a:lnTo>
                  <a:pt x="584" y="68"/>
                </a:lnTo>
                <a:lnTo>
                  <a:pt x="584" y="63"/>
                </a:lnTo>
                <a:lnTo>
                  <a:pt x="584" y="57"/>
                </a:lnTo>
                <a:lnTo>
                  <a:pt x="589" y="63"/>
                </a:lnTo>
                <a:lnTo>
                  <a:pt x="589" y="57"/>
                </a:lnTo>
                <a:lnTo>
                  <a:pt x="595" y="57"/>
                </a:lnTo>
                <a:lnTo>
                  <a:pt x="595" y="51"/>
                </a:lnTo>
                <a:lnTo>
                  <a:pt x="589" y="51"/>
                </a:lnTo>
                <a:lnTo>
                  <a:pt x="595" y="46"/>
                </a:lnTo>
                <a:lnTo>
                  <a:pt x="601" y="51"/>
                </a:lnTo>
                <a:lnTo>
                  <a:pt x="601" y="46"/>
                </a:lnTo>
                <a:lnTo>
                  <a:pt x="601" y="40"/>
                </a:lnTo>
                <a:lnTo>
                  <a:pt x="595" y="40"/>
                </a:lnTo>
                <a:lnTo>
                  <a:pt x="595" y="34"/>
                </a:lnTo>
                <a:lnTo>
                  <a:pt x="601" y="34"/>
                </a:lnTo>
                <a:lnTo>
                  <a:pt x="601" y="29"/>
                </a:lnTo>
                <a:lnTo>
                  <a:pt x="606" y="29"/>
                </a:lnTo>
                <a:lnTo>
                  <a:pt x="606" y="23"/>
                </a:lnTo>
                <a:lnTo>
                  <a:pt x="612" y="23"/>
                </a:lnTo>
                <a:lnTo>
                  <a:pt x="618" y="17"/>
                </a:lnTo>
                <a:lnTo>
                  <a:pt x="612" y="17"/>
                </a:lnTo>
                <a:lnTo>
                  <a:pt x="618" y="17"/>
                </a:lnTo>
                <a:lnTo>
                  <a:pt x="618" y="12"/>
                </a:lnTo>
                <a:lnTo>
                  <a:pt x="623" y="12"/>
                </a:lnTo>
                <a:lnTo>
                  <a:pt x="629" y="12"/>
                </a:lnTo>
                <a:lnTo>
                  <a:pt x="629" y="6"/>
                </a:lnTo>
                <a:lnTo>
                  <a:pt x="635" y="6"/>
                </a:lnTo>
                <a:lnTo>
                  <a:pt x="635" y="0"/>
                </a:lnTo>
                <a:lnTo>
                  <a:pt x="640" y="0"/>
                </a:lnTo>
                <a:lnTo>
                  <a:pt x="640" y="6"/>
                </a:lnTo>
                <a:lnTo>
                  <a:pt x="646" y="0"/>
                </a:lnTo>
                <a:lnTo>
                  <a:pt x="652" y="0"/>
                </a:lnTo>
                <a:lnTo>
                  <a:pt x="652" y="6"/>
                </a:lnTo>
                <a:lnTo>
                  <a:pt x="657" y="6"/>
                </a:lnTo>
                <a:lnTo>
                  <a:pt x="663" y="6"/>
                </a:lnTo>
                <a:lnTo>
                  <a:pt x="669" y="0"/>
                </a:lnTo>
                <a:lnTo>
                  <a:pt x="674" y="6"/>
                </a:lnTo>
                <a:lnTo>
                  <a:pt x="674" y="0"/>
                </a:lnTo>
                <a:lnTo>
                  <a:pt x="703" y="6"/>
                </a:lnTo>
                <a:lnTo>
                  <a:pt x="703" y="0"/>
                </a:lnTo>
                <a:lnTo>
                  <a:pt x="708" y="6"/>
                </a:lnTo>
                <a:lnTo>
                  <a:pt x="714" y="6"/>
                </a:lnTo>
                <a:lnTo>
                  <a:pt x="720" y="0"/>
                </a:lnTo>
                <a:lnTo>
                  <a:pt x="725" y="6"/>
                </a:lnTo>
                <a:lnTo>
                  <a:pt x="725" y="0"/>
                </a:lnTo>
                <a:lnTo>
                  <a:pt x="731" y="0"/>
                </a:lnTo>
                <a:lnTo>
                  <a:pt x="737" y="6"/>
                </a:lnTo>
                <a:lnTo>
                  <a:pt x="742" y="17"/>
                </a:lnTo>
                <a:lnTo>
                  <a:pt x="742" y="23"/>
                </a:lnTo>
                <a:lnTo>
                  <a:pt x="748" y="23"/>
                </a:lnTo>
                <a:lnTo>
                  <a:pt x="748" y="29"/>
                </a:lnTo>
                <a:lnTo>
                  <a:pt x="754" y="34"/>
                </a:lnTo>
                <a:lnTo>
                  <a:pt x="759" y="40"/>
                </a:lnTo>
                <a:lnTo>
                  <a:pt x="765" y="46"/>
                </a:lnTo>
                <a:lnTo>
                  <a:pt x="776" y="63"/>
                </a:lnTo>
                <a:lnTo>
                  <a:pt x="776" y="68"/>
                </a:lnTo>
                <a:lnTo>
                  <a:pt x="782" y="74"/>
                </a:lnTo>
                <a:lnTo>
                  <a:pt x="788" y="74"/>
                </a:lnTo>
                <a:lnTo>
                  <a:pt x="788" y="80"/>
                </a:lnTo>
                <a:lnTo>
                  <a:pt x="788" y="85"/>
                </a:lnTo>
                <a:lnTo>
                  <a:pt x="793" y="85"/>
                </a:lnTo>
                <a:lnTo>
                  <a:pt x="793" y="91"/>
                </a:lnTo>
                <a:lnTo>
                  <a:pt x="805" y="108"/>
                </a:lnTo>
                <a:lnTo>
                  <a:pt x="810" y="114"/>
                </a:lnTo>
                <a:lnTo>
                  <a:pt x="816" y="119"/>
                </a:lnTo>
                <a:lnTo>
                  <a:pt x="816" y="125"/>
                </a:lnTo>
                <a:lnTo>
                  <a:pt x="822" y="131"/>
                </a:lnTo>
                <a:lnTo>
                  <a:pt x="839" y="153"/>
                </a:lnTo>
                <a:lnTo>
                  <a:pt x="850" y="170"/>
                </a:lnTo>
                <a:lnTo>
                  <a:pt x="856" y="176"/>
                </a:lnTo>
                <a:lnTo>
                  <a:pt x="867" y="187"/>
                </a:lnTo>
                <a:lnTo>
                  <a:pt x="867" y="193"/>
                </a:lnTo>
                <a:lnTo>
                  <a:pt x="873" y="199"/>
                </a:lnTo>
                <a:lnTo>
                  <a:pt x="873" y="204"/>
                </a:lnTo>
                <a:lnTo>
                  <a:pt x="878" y="210"/>
                </a:lnTo>
                <a:lnTo>
                  <a:pt x="884" y="210"/>
                </a:lnTo>
                <a:lnTo>
                  <a:pt x="890" y="221"/>
                </a:lnTo>
                <a:lnTo>
                  <a:pt x="895" y="227"/>
                </a:lnTo>
                <a:lnTo>
                  <a:pt x="895" y="244"/>
                </a:lnTo>
                <a:lnTo>
                  <a:pt x="901" y="250"/>
                </a:lnTo>
                <a:lnTo>
                  <a:pt x="901" y="255"/>
                </a:lnTo>
                <a:lnTo>
                  <a:pt x="901" y="261"/>
                </a:lnTo>
                <a:lnTo>
                  <a:pt x="901" y="267"/>
                </a:lnTo>
                <a:lnTo>
                  <a:pt x="901" y="273"/>
                </a:lnTo>
                <a:lnTo>
                  <a:pt x="907" y="290"/>
                </a:lnTo>
                <a:lnTo>
                  <a:pt x="907" y="295"/>
                </a:lnTo>
                <a:lnTo>
                  <a:pt x="907" y="301"/>
                </a:lnTo>
                <a:lnTo>
                  <a:pt x="912" y="312"/>
                </a:lnTo>
                <a:lnTo>
                  <a:pt x="912" y="318"/>
                </a:lnTo>
                <a:lnTo>
                  <a:pt x="912" y="324"/>
                </a:lnTo>
                <a:lnTo>
                  <a:pt x="918" y="346"/>
                </a:lnTo>
                <a:lnTo>
                  <a:pt x="918" y="358"/>
                </a:lnTo>
                <a:lnTo>
                  <a:pt x="918" y="363"/>
                </a:lnTo>
                <a:lnTo>
                  <a:pt x="918" y="369"/>
                </a:lnTo>
                <a:lnTo>
                  <a:pt x="924" y="392"/>
                </a:lnTo>
                <a:lnTo>
                  <a:pt x="924" y="397"/>
                </a:lnTo>
                <a:lnTo>
                  <a:pt x="929" y="409"/>
                </a:lnTo>
                <a:lnTo>
                  <a:pt x="929" y="414"/>
                </a:lnTo>
                <a:lnTo>
                  <a:pt x="929" y="426"/>
                </a:lnTo>
                <a:lnTo>
                  <a:pt x="935" y="426"/>
                </a:lnTo>
                <a:lnTo>
                  <a:pt x="935" y="431"/>
                </a:lnTo>
                <a:lnTo>
                  <a:pt x="935" y="437"/>
                </a:lnTo>
                <a:lnTo>
                  <a:pt x="929" y="443"/>
                </a:lnTo>
                <a:lnTo>
                  <a:pt x="929" y="448"/>
                </a:lnTo>
                <a:lnTo>
                  <a:pt x="929" y="454"/>
                </a:lnTo>
                <a:lnTo>
                  <a:pt x="935" y="454"/>
                </a:lnTo>
                <a:lnTo>
                  <a:pt x="935" y="460"/>
                </a:lnTo>
                <a:lnTo>
                  <a:pt x="929" y="460"/>
                </a:lnTo>
                <a:lnTo>
                  <a:pt x="929" y="465"/>
                </a:lnTo>
                <a:lnTo>
                  <a:pt x="924" y="465"/>
                </a:lnTo>
                <a:lnTo>
                  <a:pt x="929" y="471"/>
                </a:lnTo>
                <a:lnTo>
                  <a:pt x="935" y="477"/>
                </a:lnTo>
                <a:lnTo>
                  <a:pt x="941" y="477"/>
                </a:lnTo>
                <a:lnTo>
                  <a:pt x="941" y="482"/>
                </a:lnTo>
                <a:lnTo>
                  <a:pt x="946" y="482"/>
                </a:lnTo>
                <a:lnTo>
                  <a:pt x="952" y="482"/>
                </a:lnTo>
                <a:lnTo>
                  <a:pt x="958" y="482"/>
                </a:lnTo>
                <a:lnTo>
                  <a:pt x="963" y="482"/>
                </a:lnTo>
                <a:lnTo>
                  <a:pt x="969" y="488"/>
                </a:lnTo>
                <a:lnTo>
                  <a:pt x="969" y="482"/>
                </a:lnTo>
                <a:lnTo>
                  <a:pt x="975" y="482"/>
                </a:lnTo>
                <a:lnTo>
                  <a:pt x="975" y="488"/>
                </a:lnTo>
                <a:lnTo>
                  <a:pt x="975" y="482"/>
                </a:lnTo>
                <a:lnTo>
                  <a:pt x="980" y="482"/>
                </a:lnTo>
                <a:lnTo>
                  <a:pt x="986" y="482"/>
                </a:lnTo>
                <a:lnTo>
                  <a:pt x="992" y="482"/>
                </a:lnTo>
                <a:lnTo>
                  <a:pt x="997" y="482"/>
                </a:lnTo>
                <a:lnTo>
                  <a:pt x="997" y="488"/>
                </a:lnTo>
                <a:lnTo>
                  <a:pt x="1003" y="488"/>
                </a:lnTo>
                <a:lnTo>
                  <a:pt x="1009" y="482"/>
                </a:lnTo>
                <a:lnTo>
                  <a:pt x="1014" y="482"/>
                </a:lnTo>
                <a:lnTo>
                  <a:pt x="1020" y="482"/>
                </a:lnTo>
                <a:lnTo>
                  <a:pt x="1026" y="488"/>
                </a:lnTo>
                <a:lnTo>
                  <a:pt x="1031" y="488"/>
                </a:lnTo>
                <a:lnTo>
                  <a:pt x="1037" y="488"/>
                </a:lnTo>
                <a:lnTo>
                  <a:pt x="1037" y="494"/>
                </a:lnTo>
                <a:lnTo>
                  <a:pt x="1043" y="494"/>
                </a:lnTo>
                <a:lnTo>
                  <a:pt x="1048" y="499"/>
                </a:lnTo>
                <a:lnTo>
                  <a:pt x="1054" y="499"/>
                </a:lnTo>
                <a:lnTo>
                  <a:pt x="1048" y="499"/>
                </a:lnTo>
                <a:lnTo>
                  <a:pt x="1048" y="505"/>
                </a:lnTo>
                <a:lnTo>
                  <a:pt x="1048" y="511"/>
                </a:lnTo>
                <a:lnTo>
                  <a:pt x="1048" y="505"/>
                </a:lnTo>
                <a:lnTo>
                  <a:pt x="1054" y="511"/>
                </a:lnTo>
                <a:lnTo>
                  <a:pt x="1060" y="511"/>
                </a:lnTo>
                <a:lnTo>
                  <a:pt x="1060" y="516"/>
                </a:lnTo>
                <a:lnTo>
                  <a:pt x="1060" y="522"/>
                </a:lnTo>
                <a:lnTo>
                  <a:pt x="1065" y="522"/>
                </a:lnTo>
                <a:lnTo>
                  <a:pt x="1065" y="528"/>
                </a:lnTo>
                <a:lnTo>
                  <a:pt x="1060" y="528"/>
                </a:lnTo>
                <a:lnTo>
                  <a:pt x="1065" y="528"/>
                </a:lnTo>
                <a:lnTo>
                  <a:pt x="1065" y="533"/>
                </a:lnTo>
                <a:lnTo>
                  <a:pt x="1071" y="533"/>
                </a:lnTo>
                <a:lnTo>
                  <a:pt x="1077" y="533"/>
                </a:lnTo>
                <a:lnTo>
                  <a:pt x="1077" y="539"/>
                </a:lnTo>
                <a:lnTo>
                  <a:pt x="1082" y="545"/>
                </a:lnTo>
                <a:lnTo>
                  <a:pt x="1077" y="545"/>
                </a:lnTo>
                <a:lnTo>
                  <a:pt x="1082" y="545"/>
                </a:lnTo>
                <a:lnTo>
                  <a:pt x="1088" y="550"/>
                </a:lnTo>
                <a:lnTo>
                  <a:pt x="1088" y="545"/>
                </a:lnTo>
                <a:lnTo>
                  <a:pt x="1094" y="545"/>
                </a:lnTo>
                <a:lnTo>
                  <a:pt x="1099" y="545"/>
                </a:lnTo>
                <a:lnTo>
                  <a:pt x="1099" y="550"/>
                </a:lnTo>
                <a:lnTo>
                  <a:pt x="1105" y="550"/>
                </a:lnTo>
                <a:lnTo>
                  <a:pt x="1105" y="556"/>
                </a:lnTo>
                <a:lnTo>
                  <a:pt x="1099" y="562"/>
                </a:lnTo>
                <a:lnTo>
                  <a:pt x="1099" y="567"/>
                </a:lnTo>
                <a:lnTo>
                  <a:pt x="1099" y="573"/>
                </a:lnTo>
                <a:lnTo>
                  <a:pt x="1094" y="579"/>
                </a:lnTo>
                <a:lnTo>
                  <a:pt x="1094" y="584"/>
                </a:lnTo>
                <a:lnTo>
                  <a:pt x="1099" y="590"/>
                </a:lnTo>
                <a:lnTo>
                  <a:pt x="1094" y="590"/>
                </a:lnTo>
                <a:lnTo>
                  <a:pt x="1088" y="596"/>
                </a:lnTo>
                <a:lnTo>
                  <a:pt x="1088" y="601"/>
                </a:lnTo>
                <a:lnTo>
                  <a:pt x="1088" y="607"/>
                </a:lnTo>
                <a:lnTo>
                  <a:pt x="1088" y="613"/>
                </a:lnTo>
                <a:lnTo>
                  <a:pt x="1094" y="613"/>
                </a:lnTo>
                <a:lnTo>
                  <a:pt x="1094" y="618"/>
                </a:lnTo>
                <a:lnTo>
                  <a:pt x="1094" y="624"/>
                </a:lnTo>
                <a:lnTo>
                  <a:pt x="1099" y="624"/>
                </a:lnTo>
                <a:lnTo>
                  <a:pt x="1099" y="630"/>
                </a:lnTo>
                <a:lnTo>
                  <a:pt x="1094" y="630"/>
                </a:lnTo>
                <a:lnTo>
                  <a:pt x="1094" y="635"/>
                </a:lnTo>
                <a:lnTo>
                  <a:pt x="1094" y="641"/>
                </a:lnTo>
                <a:lnTo>
                  <a:pt x="1094" y="647"/>
                </a:lnTo>
                <a:lnTo>
                  <a:pt x="1088" y="647"/>
                </a:lnTo>
                <a:lnTo>
                  <a:pt x="1088" y="652"/>
                </a:lnTo>
                <a:lnTo>
                  <a:pt x="1088" y="647"/>
                </a:lnTo>
                <a:lnTo>
                  <a:pt x="1088" y="652"/>
                </a:lnTo>
                <a:lnTo>
                  <a:pt x="1082" y="658"/>
                </a:lnTo>
                <a:lnTo>
                  <a:pt x="1082" y="664"/>
                </a:lnTo>
                <a:lnTo>
                  <a:pt x="1082" y="669"/>
                </a:lnTo>
                <a:lnTo>
                  <a:pt x="1082" y="675"/>
                </a:lnTo>
                <a:lnTo>
                  <a:pt x="1082" y="681"/>
                </a:lnTo>
                <a:lnTo>
                  <a:pt x="1082" y="686"/>
                </a:lnTo>
                <a:lnTo>
                  <a:pt x="1082" y="692"/>
                </a:lnTo>
                <a:lnTo>
                  <a:pt x="1077" y="698"/>
                </a:lnTo>
                <a:lnTo>
                  <a:pt x="1071" y="698"/>
                </a:lnTo>
                <a:lnTo>
                  <a:pt x="1071" y="703"/>
                </a:lnTo>
                <a:lnTo>
                  <a:pt x="1065" y="709"/>
                </a:lnTo>
                <a:lnTo>
                  <a:pt x="1060" y="709"/>
                </a:lnTo>
                <a:lnTo>
                  <a:pt x="1060" y="715"/>
                </a:lnTo>
                <a:lnTo>
                  <a:pt x="1065" y="715"/>
                </a:lnTo>
                <a:lnTo>
                  <a:pt x="1065" y="720"/>
                </a:lnTo>
                <a:lnTo>
                  <a:pt x="1071" y="720"/>
                </a:lnTo>
                <a:lnTo>
                  <a:pt x="1077" y="726"/>
                </a:lnTo>
                <a:lnTo>
                  <a:pt x="1082" y="726"/>
                </a:lnTo>
                <a:lnTo>
                  <a:pt x="1082" y="732"/>
                </a:lnTo>
                <a:lnTo>
                  <a:pt x="1088" y="737"/>
                </a:lnTo>
                <a:lnTo>
                  <a:pt x="1094" y="737"/>
                </a:lnTo>
                <a:lnTo>
                  <a:pt x="1094" y="743"/>
                </a:lnTo>
                <a:lnTo>
                  <a:pt x="1094" y="749"/>
                </a:lnTo>
                <a:lnTo>
                  <a:pt x="1094" y="754"/>
                </a:lnTo>
                <a:lnTo>
                  <a:pt x="1094" y="760"/>
                </a:lnTo>
                <a:lnTo>
                  <a:pt x="1094" y="771"/>
                </a:lnTo>
                <a:lnTo>
                  <a:pt x="1094" y="777"/>
                </a:lnTo>
                <a:lnTo>
                  <a:pt x="1088" y="783"/>
                </a:lnTo>
                <a:lnTo>
                  <a:pt x="1082" y="788"/>
                </a:lnTo>
                <a:lnTo>
                  <a:pt x="1071" y="788"/>
                </a:lnTo>
                <a:lnTo>
                  <a:pt x="1054" y="794"/>
                </a:lnTo>
                <a:lnTo>
                  <a:pt x="1048" y="800"/>
                </a:lnTo>
                <a:lnTo>
                  <a:pt x="1043" y="800"/>
                </a:lnTo>
                <a:lnTo>
                  <a:pt x="1037" y="800"/>
                </a:lnTo>
                <a:lnTo>
                  <a:pt x="1031" y="800"/>
                </a:lnTo>
                <a:lnTo>
                  <a:pt x="1026" y="805"/>
                </a:lnTo>
                <a:lnTo>
                  <a:pt x="1026" y="811"/>
                </a:lnTo>
                <a:lnTo>
                  <a:pt x="1020" y="817"/>
                </a:lnTo>
                <a:lnTo>
                  <a:pt x="1014" y="822"/>
                </a:lnTo>
                <a:lnTo>
                  <a:pt x="1009" y="828"/>
                </a:lnTo>
                <a:lnTo>
                  <a:pt x="1003" y="828"/>
                </a:lnTo>
                <a:lnTo>
                  <a:pt x="997" y="828"/>
                </a:lnTo>
                <a:lnTo>
                  <a:pt x="997" y="834"/>
                </a:lnTo>
                <a:lnTo>
                  <a:pt x="986" y="834"/>
                </a:lnTo>
                <a:lnTo>
                  <a:pt x="980" y="834"/>
                </a:lnTo>
                <a:lnTo>
                  <a:pt x="980" y="839"/>
                </a:lnTo>
                <a:lnTo>
                  <a:pt x="969" y="839"/>
                </a:lnTo>
                <a:lnTo>
                  <a:pt x="963" y="845"/>
                </a:lnTo>
                <a:lnTo>
                  <a:pt x="958" y="851"/>
                </a:lnTo>
                <a:lnTo>
                  <a:pt x="952" y="851"/>
                </a:lnTo>
                <a:lnTo>
                  <a:pt x="946" y="856"/>
                </a:lnTo>
                <a:lnTo>
                  <a:pt x="946" y="862"/>
                </a:lnTo>
                <a:lnTo>
                  <a:pt x="941" y="868"/>
                </a:lnTo>
                <a:lnTo>
                  <a:pt x="935" y="868"/>
                </a:lnTo>
                <a:lnTo>
                  <a:pt x="935" y="873"/>
                </a:lnTo>
                <a:lnTo>
                  <a:pt x="924" y="873"/>
                </a:lnTo>
                <a:lnTo>
                  <a:pt x="918" y="879"/>
                </a:lnTo>
                <a:lnTo>
                  <a:pt x="912" y="879"/>
                </a:lnTo>
                <a:lnTo>
                  <a:pt x="907" y="879"/>
                </a:lnTo>
                <a:lnTo>
                  <a:pt x="901" y="879"/>
                </a:lnTo>
                <a:lnTo>
                  <a:pt x="901" y="873"/>
                </a:lnTo>
                <a:lnTo>
                  <a:pt x="895" y="873"/>
                </a:lnTo>
                <a:lnTo>
                  <a:pt x="890" y="868"/>
                </a:lnTo>
                <a:lnTo>
                  <a:pt x="890" y="862"/>
                </a:lnTo>
                <a:lnTo>
                  <a:pt x="878" y="862"/>
                </a:lnTo>
                <a:lnTo>
                  <a:pt x="873" y="862"/>
                </a:lnTo>
                <a:lnTo>
                  <a:pt x="867" y="856"/>
                </a:lnTo>
                <a:lnTo>
                  <a:pt x="861" y="856"/>
                </a:lnTo>
                <a:lnTo>
                  <a:pt x="856" y="862"/>
                </a:lnTo>
                <a:lnTo>
                  <a:pt x="856" y="873"/>
                </a:lnTo>
                <a:lnTo>
                  <a:pt x="850" y="879"/>
                </a:lnTo>
                <a:lnTo>
                  <a:pt x="850" y="885"/>
                </a:lnTo>
                <a:lnTo>
                  <a:pt x="844" y="885"/>
                </a:lnTo>
                <a:lnTo>
                  <a:pt x="844" y="890"/>
                </a:lnTo>
                <a:lnTo>
                  <a:pt x="839" y="890"/>
                </a:lnTo>
                <a:lnTo>
                  <a:pt x="839" y="896"/>
                </a:lnTo>
                <a:lnTo>
                  <a:pt x="839" y="902"/>
                </a:lnTo>
                <a:lnTo>
                  <a:pt x="839" y="907"/>
                </a:lnTo>
                <a:lnTo>
                  <a:pt x="833" y="907"/>
                </a:lnTo>
                <a:lnTo>
                  <a:pt x="833" y="913"/>
                </a:lnTo>
                <a:lnTo>
                  <a:pt x="827" y="913"/>
                </a:lnTo>
                <a:lnTo>
                  <a:pt x="827" y="919"/>
                </a:lnTo>
                <a:lnTo>
                  <a:pt x="827" y="924"/>
                </a:lnTo>
                <a:lnTo>
                  <a:pt x="822" y="924"/>
                </a:lnTo>
                <a:lnTo>
                  <a:pt x="822" y="930"/>
                </a:lnTo>
                <a:lnTo>
                  <a:pt x="816" y="930"/>
                </a:lnTo>
                <a:lnTo>
                  <a:pt x="816" y="936"/>
                </a:lnTo>
                <a:lnTo>
                  <a:pt x="810" y="936"/>
                </a:lnTo>
                <a:lnTo>
                  <a:pt x="810" y="941"/>
                </a:lnTo>
                <a:lnTo>
                  <a:pt x="805" y="947"/>
                </a:lnTo>
                <a:lnTo>
                  <a:pt x="799" y="953"/>
                </a:lnTo>
                <a:lnTo>
                  <a:pt x="799" y="958"/>
                </a:lnTo>
                <a:lnTo>
                  <a:pt x="799" y="964"/>
                </a:lnTo>
                <a:lnTo>
                  <a:pt x="793" y="964"/>
                </a:lnTo>
                <a:lnTo>
                  <a:pt x="788" y="964"/>
                </a:lnTo>
                <a:lnTo>
                  <a:pt x="776" y="970"/>
                </a:lnTo>
                <a:lnTo>
                  <a:pt x="771" y="975"/>
                </a:lnTo>
                <a:lnTo>
                  <a:pt x="765" y="975"/>
                </a:lnTo>
                <a:lnTo>
                  <a:pt x="759" y="981"/>
                </a:lnTo>
                <a:lnTo>
                  <a:pt x="759" y="987"/>
                </a:lnTo>
                <a:lnTo>
                  <a:pt x="759" y="992"/>
                </a:lnTo>
                <a:lnTo>
                  <a:pt x="759" y="998"/>
                </a:lnTo>
                <a:lnTo>
                  <a:pt x="759" y="1004"/>
                </a:lnTo>
                <a:lnTo>
                  <a:pt x="754" y="1004"/>
                </a:lnTo>
                <a:lnTo>
                  <a:pt x="737" y="1004"/>
                </a:lnTo>
                <a:lnTo>
                  <a:pt x="725" y="1004"/>
                </a:lnTo>
                <a:lnTo>
                  <a:pt x="720" y="1009"/>
                </a:lnTo>
                <a:lnTo>
                  <a:pt x="714" y="1009"/>
                </a:lnTo>
                <a:lnTo>
                  <a:pt x="708" y="1009"/>
                </a:lnTo>
                <a:lnTo>
                  <a:pt x="703" y="1009"/>
                </a:lnTo>
                <a:lnTo>
                  <a:pt x="703" y="1015"/>
                </a:lnTo>
                <a:lnTo>
                  <a:pt x="697" y="1015"/>
                </a:lnTo>
                <a:lnTo>
                  <a:pt x="691" y="1015"/>
                </a:lnTo>
                <a:lnTo>
                  <a:pt x="680" y="1015"/>
                </a:lnTo>
                <a:lnTo>
                  <a:pt x="663" y="1015"/>
                </a:lnTo>
                <a:lnTo>
                  <a:pt x="657" y="1015"/>
                </a:lnTo>
                <a:lnTo>
                  <a:pt x="652" y="1015"/>
                </a:lnTo>
                <a:lnTo>
                  <a:pt x="646" y="1015"/>
                </a:lnTo>
                <a:lnTo>
                  <a:pt x="646" y="1021"/>
                </a:lnTo>
                <a:lnTo>
                  <a:pt x="640" y="1021"/>
                </a:lnTo>
                <a:lnTo>
                  <a:pt x="635" y="1026"/>
                </a:lnTo>
                <a:lnTo>
                  <a:pt x="635" y="1038"/>
                </a:lnTo>
                <a:lnTo>
                  <a:pt x="635" y="1043"/>
                </a:lnTo>
                <a:lnTo>
                  <a:pt x="629" y="1055"/>
                </a:lnTo>
                <a:lnTo>
                  <a:pt x="623" y="1072"/>
                </a:lnTo>
                <a:lnTo>
                  <a:pt x="618" y="1083"/>
                </a:lnTo>
                <a:lnTo>
                  <a:pt x="618" y="1089"/>
                </a:lnTo>
                <a:lnTo>
                  <a:pt x="612" y="1094"/>
                </a:lnTo>
                <a:lnTo>
                  <a:pt x="612" y="1100"/>
                </a:lnTo>
                <a:lnTo>
                  <a:pt x="612" y="1106"/>
                </a:lnTo>
                <a:lnTo>
                  <a:pt x="606" y="1106"/>
                </a:lnTo>
                <a:lnTo>
                  <a:pt x="606" y="1111"/>
                </a:lnTo>
                <a:lnTo>
                  <a:pt x="606" y="1117"/>
                </a:lnTo>
                <a:lnTo>
                  <a:pt x="606" y="1123"/>
                </a:lnTo>
                <a:lnTo>
                  <a:pt x="606" y="1128"/>
                </a:lnTo>
                <a:lnTo>
                  <a:pt x="606" y="1134"/>
                </a:lnTo>
                <a:lnTo>
                  <a:pt x="601" y="1134"/>
                </a:lnTo>
                <a:lnTo>
                  <a:pt x="601" y="1151"/>
                </a:lnTo>
                <a:lnTo>
                  <a:pt x="601" y="1157"/>
                </a:lnTo>
                <a:lnTo>
                  <a:pt x="595" y="1157"/>
                </a:lnTo>
                <a:lnTo>
                  <a:pt x="595" y="1162"/>
                </a:lnTo>
                <a:lnTo>
                  <a:pt x="589" y="1162"/>
                </a:lnTo>
                <a:lnTo>
                  <a:pt x="584" y="1162"/>
                </a:lnTo>
                <a:lnTo>
                  <a:pt x="584" y="1168"/>
                </a:lnTo>
                <a:lnTo>
                  <a:pt x="572" y="1168"/>
                </a:lnTo>
                <a:lnTo>
                  <a:pt x="555" y="1162"/>
                </a:lnTo>
                <a:lnTo>
                  <a:pt x="544" y="1162"/>
                </a:lnTo>
                <a:lnTo>
                  <a:pt x="538" y="1162"/>
                </a:lnTo>
                <a:lnTo>
                  <a:pt x="533" y="1162"/>
                </a:lnTo>
                <a:lnTo>
                  <a:pt x="527" y="1162"/>
                </a:lnTo>
                <a:lnTo>
                  <a:pt x="521" y="1157"/>
                </a:lnTo>
                <a:lnTo>
                  <a:pt x="516" y="1151"/>
                </a:lnTo>
                <a:lnTo>
                  <a:pt x="510" y="1151"/>
                </a:lnTo>
                <a:lnTo>
                  <a:pt x="504" y="1145"/>
                </a:lnTo>
                <a:lnTo>
                  <a:pt x="499" y="1145"/>
                </a:lnTo>
                <a:lnTo>
                  <a:pt x="493" y="1140"/>
                </a:lnTo>
                <a:lnTo>
                  <a:pt x="487" y="1134"/>
                </a:lnTo>
                <a:lnTo>
                  <a:pt x="482" y="1134"/>
                </a:lnTo>
                <a:lnTo>
                  <a:pt x="476" y="1128"/>
                </a:lnTo>
                <a:lnTo>
                  <a:pt x="470" y="1123"/>
                </a:lnTo>
                <a:lnTo>
                  <a:pt x="465" y="1123"/>
                </a:lnTo>
                <a:lnTo>
                  <a:pt x="459" y="1123"/>
                </a:lnTo>
                <a:lnTo>
                  <a:pt x="453" y="1123"/>
                </a:lnTo>
                <a:lnTo>
                  <a:pt x="448" y="1128"/>
                </a:lnTo>
                <a:lnTo>
                  <a:pt x="442" y="1128"/>
                </a:lnTo>
                <a:lnTo>
                  <a:pt x="442" y="1134"/>
                </a:lnTo>
                <a:lnTo>
                  <a:pt x="436" y="1134"/>
                </a:lnTo>
                <a:lnTo>
                  <a:pt x="431" y="1140"/>
                </a:lnTo>
                <a:lnTo>
                  <a:pt x="419" y="1145"/>
                </a:lnTo>
                <a:lnTo>
                  <a:pt x="419" y="1151"/>
                </a:lnTo>
                <a:lnTo>
                  <a:pt x="414" y="1157"/>
                </a:lnTo>
                <a:lnTo>
                  <a:pt x="402" y="1168"/>
                </a:lnTo>
                <a:lnTo>
                  <a:pt x="397" y="1168"/>
                </a:lnTo>
                <a:lnTo>
                  <a:pt x="391" y="1174"/>
                </a:lnTo>
                <a:lnTo>
                  <a:pt x="385" y="1179"/>
                </a:lnTo>
                <a:lnTo>
                  <a:pt x="385" y="1185"/>
                </a:lnTo>
                <a:lnTo>
                  <a:pt x="380" y="1185"/>
                </a:lnTo>
                <a:lnTo>
                  <a:pt x="363" y="1202"/>
                </a:lnTo>
                <a:lnTo>
                  <a:pt x="357" y="1208"/>
                </a:lnTo>
                <a:lnTo>
                  <a:pt x="351" y="1214"/>
                </a:lnTo>
                <a:lnTo>
                  <a:pt x="346" y="1219"/>
                </a:lnTo>
                <a:lnTo>
                  <a:pt x="340" y="1219"/>
                </a:lnTo>
                <a:lnTo>
                  <a:pt x="334" y="1219"/>
                </a:lnTo>
                <a:lnTo>
                  <a:pt x="323" y="1219"/>
                </a:lnTo>
                <a:lnTo>
                  <a:pt x="306" y="1219"/>
                </a:lnTo>
                <a:lnTo>
                  <a:pt x="294" y="1219"/>
                </a:lnTo>
                <a:lnTo>
                  <a:pt x="289" y="1219"/>
                </a:lnTo>
                <a:lnTo>
                  <a:pt x="277" y="1219"/>
                </a:lnTo>
                <a:lnTo>
                  <a:pt x="272" y="1225"/>
                </a:lnTo>
                <a:lnTo>
                  <a:pt x="266" y="1225"/>
                </a:lnTo>
                <a:lnTo>
                  <a:pt x="260" y="1225"/>
                </a:lnTo>
                <a:lnTo>
                  <a:pt x="260" y="1231"/>
                </a:lnTo>
                <a:lnTo>
                  <a:pt x="255" y="1231"/>
                </a:lnTo>
                <a:lnTo>
                  <a:pt x="249" y="1231"/>
                </a:lnTo>
                <a:lnTo>
                  <a:pt x="243" y="1236"/>
                </a:lnTo>
                <a:lnTo>
                  <a:pt x="238" y="1236"/>
                </a:lnTo>
                <a:lnTo>
                  <a:pt x="232" y="1242"/>
                </a:lnTo>
                <a:lnTo>
                  <a:pt x="226" y="1242"/>
                </a:lnTo>
                <a:lnTo>
                  <a:pt x="221" y="1248"/>
                </a:lnTo>
                <a:lnTo>
                  <a:pt x="215" y="1259"/>
                </a:lnTo>
                <a:lnTo>
                  <a:pt x="209" y="1259"/>
                </a:lnTo>
                <a:lnTo>
                  <a:pt x="209" y="1265"/>
                </a:lnTo>
                <a:lnTo>
                  <a:pt x="204" y="1265"/>
                </a:lnTo>
                <a:lnTo>
                  <a:pt x="204" y="1270"/>
                </a:lnTo>
                <a:lnTo>
                  <a:pt x="198" y="1276"/>
                </a:lnTo>
                <a:lnTo>
                  <a:pt x="192" y="1276"/>
                </a:lnTo>
                <a:lnTo>
                  <a:pt x="192" y="1282"/>
                </a:lnTo>
                <a:lnTo>
                  <a:pt x="192" y="1287"/>
                </a:lnTo>
                <a:lnTo>
                  <a:pt x="192" y="1293"/>
                </a:lnTo>
                <a:lnTo>
                  <a:pt x="187" y="1304"/>
                </a:lnTo>
                <a:lnTo>
                  <a:pt x="187" y="1316"/>
                </a:lnTo>
                <a:lnTo>
                  <a:pt x="187" y="1321"/>
                </a:lnTo>
                <a:lnTo>
                  <a:pt x="181" y="1321"/>
                </a:lnTo>
                <a:lnTo>
                  <a:pt x="170" y="1333"/>
                </a:lnTo>
                <a:lnTo>
                  <a:pt x="164" y="1333"/>
                </a:lnTo>
                <a:lnTo>
                  <a:pt x="153" y="1333"/>
                </a:lnTo>
                <a:lnTo>
                  <a:pt x="147" y="1333"/>
                </a:lnTo>
                <a:lnTo>
                  <a:pt x="141" y="1333"/>
                </a:lnTo>
                <a:lnTo>
                  <a:pt x="136" y="1333"/>
                </a:lnTo>
                <a:lnTo>
                  <a:pt x="124" y="1333"/>
                </a:lnTo>
                <a:lnTo>
                  <a:pt x="119" y="1333"/>
                </a:lnTo>
                <a:lnTo>
                  <a:pt x="96" y="132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44" name="Freeform 5"/>
          <p:cNvSpPr>
            <a:spLocks/>
          </p:cNvSpPr>
          <p:nvPr/>
        </p:nvSpPr>
        <p:spPr bwMode="gray">
          <a:xfrm>
            <a:off x="4127354" y="1242345"/>
            <a:ext cx="1461096" cy="1276359"/>
          </a:xfrm>
          <a:custGeom>
            <a:avLst/>
            <a:gdLst>
              <a:gd name="T0" fmla="*/ 0 w 862"/>
              <a:gd name="T1" fmla="*/ 2147483647 h 754"/>
              <a:gd name="T2" fmla="*/ 2147483647 w 862"/>
              <a:gd name="T3" fmla="*/ 2147483647 h 754"/>
              <a:gd name="T4" fmla="*/ 2147483647 w 862"/>
              <a:gd name="T5" fmla="*/ 2147483647 h 754"/>
              <a:gd name="T6" fmla="*/ 2147483647 w 862"/>
              <a:gd name="T7" fmla="*/ 2147483647 h 754"/>
              <a:gd name="T8" fmla="*/ 2147483647 w 862"/>
              <a:gd name="T9" fmla="*/ 2147483647 h 754"/>
              <a:gd name="T10" fmla="*/ 2147483647 w 862"/>
              <a:gd name="T11" fmla="*/ 2147483647 h 754"/>
              <a:gd name="T12" fmla="*/ 2147483647 w 862"/>
              <a:gd name="T13" fmla="*/ 2147483647 h 754"/>
              <a:gd name="T14" fmla="*/ 2147483647 w 862"/>
              <a:gd name="T15" fmla="*/ 2147483647 h 754"/>
              <a:gd name="T16" fmla="*/ 2147483647 w 862"/>
              <a:gd name="T17" fmla="*/ 2147483647 h 754"/>
              <a:gd name="T18" fmla="*/ 2147483647 w 862"/>
              <a:gd name="T19" fmla="*/ 2147483647 h 754"/>
              <a:gd name="T20" fmla="*/ 2147483647 w 862"/>
              <a:gd name="T21" fmla="*/ 2147483647 h 754"/>
              <a:gd name="T22" fmla="*/ 2147483647 w 862"/>
              <a:gd name="T23" fmla="*/ 2147483647 h 754"/>
              <a:gd name="T24" fmla="*/ 2147483647 w 862"/>
              <a:gd name="T25" fmla="*/ 2147483647 h 754"/>
              <a:gd name="T26" fmla="*/ 2147483647 w 862"/>
              <a:gd name="T27" fmla="*/ 2147483647 h 754"/>
              <a:gd name="T28" fmla="*/ 2147483647 w 862"/>
              <a:gd name="T29" fmla="*/ 2147483647 h 754"/>
              <a:gd name="T30" fmla="*/ 2147483647 w 862"/>
              <a:gd name="T31" fmla="*/ 2147483647 h 754"/>
              <a:gd name="T32" fmla="*/ 2147483647 w 862"/>
              <a:gd name="T33" fmla="*/ 2147483647 h 754"/>
              <a:gd name="T34" fmla="*/ 2147483647 w 862"/>
              <a:gd name="T35" fmla="*/ 2147483647 h 754"/>
              <a:gd name="T36" fmla="*/ 2147483647 w 862"/>
              <a:gd name="T37" fmla="*/ 2147483647 h 754"/>
              <a:gd name="T38" fmla="*/ 2147483647 w 862"/>
              <a:gd name="T39" fmla="*/ 2147483647 h 754"/>
              <a:gd name="T40" fmla="*/ 2147483647 w 862"/>
              <a:gd name="T41" fmla="*/ 2147483647 h 754"/>
              <a:gd name="T42" fmla="*/ 2147483647 w 862"/>
              <a:gd name="T43" fmla="*/ 2147483647 h 754"/>
              <a:gd name="T44" fmla="*/ 2147483647 w 862"/>
              <a:gd name="T45" fmla="*/ 2147483647 h 754"/>
              <a:gd name="T46" fmla="*/ 2147483647 w 862"/>
              <a:gd name="T47" fmla="*/ 2147483647 h 754"/>
              <a:gd name="T48" fmla="*/ 2147483647 w 862"/>
              <a:gd name="T49" fmla="*/ 2147483647 h 754"/>
              <a:gd name="T50" fmla="*/ 2147483647 w 862"/>
              <a:gd name="T51" fmla="*/ 2147483647 h 754"/>
              <a:gd name="T52" fmla="*/ 2147483647 w 862"/>
              <a:gd name="T53" fmla="*/ 2147483647 h 754"/>
              <a:gd name="T54" fmla="*/ 2147483647 w 862"/>
              <a:gd name="T55" fmla="*/ 2147483647 h 754"/>
              <a:gd name="T56" fmla="*/ 2147483647 w 862"/>
              <a:gd name="T57" fmla="*/ 2147483647 h 754"/>
              <a:gd name="T58" fmla="*/ 2147483647 w 862"/>
              <a:gd name="T59" fmla="*/ 2147483647 h 754"/>
              <a:gd name="T60" fmla="*/ 2147483647 w 862"/>
              <a:gd name="T61" fmla="*/ 2147483647 h 754"/>
              <a:gd name="T62" fmla="*/ 2147483647 w 862"/>
              <a:gd name="T63" fmla="*/ 2147483647 h 754"/>
              <a:gd name="T64" fmla="*/ 2147483647 w 862"/>
              <a:gd name="T65" fmla="*/ 2147483647 h 754"/>
              <a:gd name="T66" fmla="*/ 2147483647 w 862"/>
              <a:gd name="T67" fmla="*/ 2147483647 h 754"/>
              <a:gd name="T68" fmla="*/ 2147483647 w 862"/>
              <a:gd name="T69" fmla="*/ 2147483647 h 754"/>
              <a:gd name="T70" fmla="*/ 2147483647 w 862"/>
              <a:gd name="T71" fmla="*/ 2147483647 h 754"/>
              <a:gd name="T72" fmla="*/ 2147483647 w 862"/>
              <a:gd name="T73" fmla="*/ 2147483647 h 754"/>
              <a:gd name="T74" fmla="*/ 2147483647 w 862"/>
              <a:gd name="T75" fmla="*/ 2147483647 h 754"/>
              <a:gd name="T76" fmla="*/ 2147483647 w 862"/>
              <a:gd name="T77" fmla="*/ 2147483647 h 754"/>
              <a:gd name="T78" fmla="*/ 2147483647 w 862"/>
              <a:gd name="T79" fmla="*/ 2147483647 h 754"/>
              <a:gd name="T80" fmla="*/ 2147483647 w 862"/>
              <a:gd name="T81" fmla="*/ 2147483647 h 754"/>
              <a:gd name="T82" fmla="*/ 2147483647 w 862"/>
              <a:gd name="T83" fmla="*/ 2147483647 h 754"/>
              <a:gd name="T84" fmla="*/ 2147483647 w 862"/>
              <a:gd name="T85" fmla="*/ 2147483647 h 754"/>
              <a:gd name="T86" fmla="*/ 2147483647 w 862"/>
              <a:gd name="T87" fmla="*/ 2147483647 h 754"/>
              <a:gd name="T88" fmla="*/ 2147483647 w 862"/>
              <a:gd name="T89" fmla="*/ 2147483647 h 754"/>
              <a:gd name="T90" fmla="*/ 2147483647 w 862"/>
              <a:gd name="T91" fmla="*/ 2147483647 h 754"/>
              <a:gd name="T92" fmla="*/ 2147483647 w 862"/>
              <a:gd name="T93" fmla="*/ 2147483647 h 754"/>
              <a:gd name="T94" fmla="*/ 2147483647 w 862"/>
              <a:gd name="T95" fmla="*/ 2147483647 h 754"/>
              <a:gd name="T96" fmla="*/ 2147483647 w 862"/>
              <a:gd name="T97" fmla="*/ 2147483647 h 754"/>
              <a:gd name="T98" fmla="*/ 2147483647 w 862"/>
              <a:gd name="T99" fmla="*/ 2147483647 h 754"/>
              <a:gd name="T100" fmla="*/ 2147483647 w 862"/>
              <a:gd name="T101" fmla="*/ 2147483647 h 754"/>
              <a:gd name="T102" fmla="*/ 2147483647 w 862"/>
              <a:gd name="T103" fmla="*/ 2147483647 h 754"/>
              <a:gd name="T104" fmla="*/ 2147483647 w 862"/>
              <a:gd name="T105" fmla="*/ 2147483647 h 754"/>
              <a:gd name="T106" fmla="*/ 2147483647 w 862"/>
              <a:gd name="T107" fmla="*/ 2147483647 h 754"/>
              <a:gd name="T108" fmla="*/ 2147483647 w 862"/>
              <a:gd name="T109" fmla="*/ 2147483647 h 754"/>
              <a:gd name="T110" fmla="*/ 2147483647 w 862"/>
              <a:gd name="T111" fmla="*/ 2147483647 h 754"/>
              <a:gd name="T112" fmla="*/ 2147483647 w 862"/>
              <a:gd name="T113" fmla="*/ 2147483647 h 754"/>
              <a:gd name="T114" fmla="*/ 2147483647 w 862"/>
              <a:gd name="T115" fmla="*/ 2147483647 h 75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862"/>
              <a:gd name="T175" fmla="*/ 0 h 754"/>
              <a:gd name="T176" fmla="*/ 862 w 862"/>
              <a:gd name="T177" fmla="*/ 754 h 75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862" h="754">
                <a:moveTo>
                  <a:pt x="40" y="165"/>
                </a:moveTo>
                <a:lnTo>
                  <a:pt x="34" y="165"/>
                </a:lnTo>
                <a:lnTo>
                  <a:pt x="28" y="165"/>
                </a:lnTo>
                <a:lnTo>
                  <a:pt x="28" y="159"/>
                </a:lnTo>
                <a:lnTo>
                  <a:pt x="17" y="159"/>
                </a:lnTo>
                <a:lnTo>
                  <a:pt x="11" y="159"/>
                </a:lnTo>
                <a:lnTo>
                  <a:pt x="11" y="153"/>
                </a:lnTo>
                <a:lnTo>
                  <a:pt x="0" y="148"/>
                </a:lnTo>
                <a:lnTo>
                  <a:pt x="0" y="142"/>
                </a:lnTo>
                <a:lnTo>
                  <a:pt x="0" y="136"/>
                </a:lnTo>
                <a:lnTo>
                  <a:pt x="0" y="131"/>
                </a:lnTo>
                <a:lnTo>
                  <a:pt x="0" y="125"/>
                </a:lnTo>
                <a:lnTo>
                  <a:pt x="0" y="114"/>
                </a:lnTo>
                <a:lnTo>
                  <a:pt x="0" y="97"/>
                </a:lnTo>
                <a:lnTo>
                  <a:pt x="0" y="91"/>
                </a:lnTo>
                <a:lnTo>
                  <a:pt x="0" y="85"/>
                </a:lnTo>
                <a:lnTo>
                  <a:pt x="6" y="80"/>
                </a:lnTo>
                <a:lnTo>
                  <a:pt x="11" y="74"/>
                </a:lnTo>
                <a:lnTo>
                  <a:pt x="23" y="74"/>
                </a:lnTo>
                <a:lnTo>
                  <a:pt x="28" y="74"/>
                </a:lnTo>
                <a:lnTo>
                  <a:pt x="34" y="74"/>
                </a:lnTo>
                <a:lnTo>
                  <a:pt x="40" y="74"/>
                </a:lnTo>
                <a:lnTo>
                  <a:pt x="45" y="74"/>
                </a:lnTo>
                <a:lnTo>
                  <a:pt x="51" y="80"/>
                </a:lnTo>
                <a:lnTo>
                  <a:pt x="57" y="80"/>
                </a:lnTo>
                <a:lnTo>
                  <a:pt x="62" y="80"/>
                </a:lnTo>
                <a:lnTo>
                  <a:pt x="68" y="85"/>
                </a:lnTo>
                <a:lnTo>
                  <a:pt x="74" y="85"/>
                </a:lnTo>
                <a:lnTo>
                  <a:pt x="79" y="80"/>
                </a:lnTo>
                <a:lnTo>
                  <a:pt x="85" y="80"/>
                </a:lnTo>
                <a:lnTo>
                  <a:pt x="91" y="80"/>
                </a:lnTo>
                <a:lnTo>
                  <a:pt x="96" y="80"/>
                </a:lnTo>
                <a:lnTo>
                  <a:pt x="102" y="74"/>
                </a:lnTo>
                <a:lnTo>
                  <a:pt x="113" y="74"/>
                </a:lnTo>
                <a:lnTo>
                  <a:pt x="125" y="74"/>
                </a:lnTo>
                <a:lnTo>
                  <a:pt x="130" y="74"/>
                </a:lnTo>
                <a:lnTo>
                  <a:pt x="130" y="80"/>
                </a:lnTo>
                <a:lnTo>
                  <a:pt x="142" y="85"/>
                </a:lnTo>
                <a:lnTo>
                  <a:pt x="142" y="97"/>
                </a:lnTo>
                <a:lnTo>
                  <a:pt x="147" y="97"/>
                </a:lnTo>
                <a:lnTo>
                  <a:pt x="153" y="102"/>
                </a:lnTo>
                <a:lnTo>
                  <a:pt x="159" y="108"/>
                </a:lnTo>
                <a:lnTo>
                  <a:pt x="159" y="114"/>
                </a:lnTo>
                <a:lnTo>
                  <a:pt x="164" y="119"/>
                </a:lnTo>
                <a:lnTo>
                  <a:pt x="170" y="119"/>
                </a:lnTo>
                <a:lnTo>
                  <a:pt x="170" y="125"/>
                </a:lnTo>
                <a:lnTo>
                  <a:pt x="176" y="125"/>
                </a:lnTo>
                <a:lnTo>
                  <a:pt x="181" y="131"/>
                </a:lnTo>
                <a:lnTo>
                  <a:pt x="187" y="131"/>
                </a:lnTo>
                <a:lnTo>
                  <a:pt x="198" y="136"/>
                </a:lnTo>
                <a:lnTo>
                  <a:pt x="210" y="136"/>
                </a:lnTo>
                <a:lnTo>
                  <a:pt x="215" y="142"/>
                </a:lnTo>
                <a:lnTo>
                  <a:pt x="215" y="136"/>
                </a:lnTo>
                <a:lnTo>
                  <a:pt x="232" y="136"/>
                </a:lnTo>
                <a:lnTo>
                  <a:pt x="238" y="136"/>
                </a:lnTo>
                <a:lnTo>
                  <a:pt x="244" y="136"/>
                </a:lnTo>
                <a:lnTo>
                  <a:pt x="249" y="131"/>
                </a:lnTo>
                <a:lnTo>
                  <a:pt x="255" y="131"/>
                </a:lnTo>
                <a:lnTo>
                  <a:pt x="261" y="125"/>
                </a:lnTo>
                <a:lnTo>
                  <a:pt x="266" y="125"/>
                </a:lnTo>
                <a:lnTo>
                  <a:pt x="266" y="119"/>
                </a:lnTo>
                <a:lnTo>
                  <a:pt x="272" y="119"/>
                </a:lnTo>
                <a:lnTo>
                  <a:pt x="272" y="114"/>
                </a:lnTo>
                <a:lnTo>
                  <a:pt x="272" y="108"/>
                </a:lnTo>
                <a:lnTo>
                  <a:pt x="278" y="108"/>
                </a:lnTo>
                <a:lnTo>
                  <a:pt x="278" y="102"/>
                </a:lnTo>
                <a:lnTo>
                  <a:pt x="283" y="102"/>
                </a:lnTo>
                <a:lnTo>
                  <a:pt x="283" y="97"/>
                </a:lnTo>
                <a:lnTo>
                  <a:pt x="289" y="91"/>
                </a:lnTo>
                <a:lnTo>
                  <a:pt x="278" y="68"/>
                </a:lnTo>
                <a:lnTo>
                  <a:pt x="283" y="74"/>
                </a:lnTo>
                <a:lnTo>
                  <a:pt x="289" y="74"/>
                </a:lnTo>
                <a:lnTo>
                  <a:pt x="289" y="68"/>
                </a:lnTo>
                <a:lnTo>
                  <a:pt x="295" y="68"/>
                </a:lnTo>
                <a:lnTo>
                  <a:pt x="300" y="68"/>
                </a:lnTo>
                <a:lnTo>
                  <a:pt x="317" y="68"/>
                </a:lnTo>
                <a:lnTo>
                  <a:pt x="323" y="68"/>
                </a:lnTo>
                <a:lnTo>
                  <a:pt x="329" y="68"/>
                </a:lnTo>
                <a:lnTo>
                  <a:pt x="334" y="68"/>
                </a:lnTo>
                <a:lnTo>
                  <a:pt x="346" y="74"/>
                </a:lnTo>
                <a:lnTo>
                  <a:pt x="351" y="74"/>
                </a:lnTo>
                <a:lnTo>
                  <a:pt x="357" y="74"/>
                </a:lnTo>
                <a:lnTo>
                  <a:pt x="368" y="74"/>
                </a:lnTo>
                <a:lnTo>
                  <a:pt x="374" y="74"/>
                </a:lnTo>
                <a:lnTo>
                  <a:pt x="380" y="74"/>
                </a:lnTo>
                <a:lnTo>
                  <a:pt x="385" y="74"/>
                </a:lnTo>
                <a:lnTo>
                  <a:pt x="397" y="80"/>
                </a:lnTo>
                <a:lnTo>
                  <a:pt x="402" y="80"/>
                </a:lnTo>
                <a:lnTo>
                  <a:pt x="408" y="80"/>
                </a:lnTo>
                <a:lnTo>
                  <a:pt x="414" y="80"/>
                </a:lnTo>
                <a:lnTo>
                  <a:pt x="419" y="80"/>
                </a:lnTo>
                <a:lnTo>
                  <a:pt x="425" y="80"/>
                </a:lnTo>
                <a:lnTo>
                  <a:pt x="431" y="74"/>
                </a:lnTo>
                <a:lnTo>
                  <a:pt x="436" y="74"/>
                </a:lnTo>
                <a:lnTo>
                  <a:pt x="442" y="74"/>
                </a:lnTo>
                <a:lnTo>
                  <a:pt x="448" y="74"/>
                </a:lnTo>
                <a:lnTo>
                  <a:pt x="465" y="80"/>
                </a:lnTo>
                <a:lnTo>
                  <a:pt x="470" y="80"/>
                </a:lnTo>
                <a:lnTo>
                  <a:pt x="476" y="80"/>
                </a:lnTo>
                <a:lnTo>
                  <a:pt x="482" y="80"/>
                </a:lnTo>
                <a:lnTo>
                  <a:pt x="487" y="80"/>
                </a:lnTo>
                <a:lnTo>
                  <a:pt x="493" y="80"/>
                </a:lnTo>
                <a:lnTo>
                  <a:pt x="499" y="80"/>
                </a:lnTo>
                <a:lnTo>
                  <a:pt x="504" y="80"/>
                </a:lnTo>
                <a:lnTo>
                  <a:pt x="504" y="91"/>
                </a:lnTo>
                <a:lnTo>
                  <a:pt x="527" y="85"/>
                </a:lnTo>
                <a:lnTo>
                  <a:pt x="538" y="85"/>
                </a:lnTo>
                <a:lnTo>
                  <a:pt x="544" y="85"/>
                </a:lnTo>
                <a:lnTo>
                  <a:pt x="550" y="85"/>
                </a:lnTo>
                <a:lnTo>
                  <a:pt x="555" y="85"/>
                </a:lnTo>
                <a:lnTo>
                  <a:pt x="561" y="85"/>
                </a:lnTo>
                <a:lnTo>
                  <a:pt x="567" y="85"/>
                </a:lnTo>
                <a:lnTo>
                  <a:pt x="572" y="85"/>
                </a:lnTo>
                <a:lnTo>
                  <a:pt x="578" y="85"/>
                </a:lnTo>
                <a:lnTo>
                  <a:pt x="584" y="85"/>
                </a:lnTo>
                <a:lnTo>
                  <a:pt x="595" y="85"/>
                </a:lnTo>
                <a:lnTo>
                  <a:pt x="601" y="85"/>
                </a:lnTo>
                <a:lnTo>
                  <a:pt x="601" y="80"/>
                </a:lnTo>
                <a:lnTo>
                  <a:pt x="606" y="80"/>
                </a:lnTo>
                <a:lnTo>
                  <a:pt x="606" y="74"/>
                </a:lnTo>
                <a:lnTo>
                  <a:pt x="612" y="74"/>
                </a:lnTo>
                <a:lnTo>
                  <a:pt x="612" y="68"/>
                </a:lnTo>
                <a:lnTo>
                  <a:pt x="618" y="57"/>
                </a:lnTo>
                <a:lnTo>
                  <a:pt x="623" y="51"/>
                </a:lnTo>
                <a:lnTo>
                  <a:pt x="623" y="46"/>
                </a:lnTo>
                <a:lnTo>
                  <a:pt x="623" y="40"/>
                </a:lnTo>
                <a:lnTo>
                  <a:pt x="629" y="40"/>
                </a:lnTo>
                <a:lnTo>
                  <a:pt x="635" y="40"/>
                </a:lnTo>
                <a:lnTo>
                  <a:pt x="635" y="34"/>
                </a:lnTo>
                <a:lnTo>
                  <a:pt x="641" y="34"/>
                </a:lnTo>
                <a:lnTo>
                  <a:pt x="641" y="29"/>
                </a:lnTo>
                <a:lnTo>
                  <a:pt x="646" y="29"/>
                </a:lnTo>
                <a:lnTo>
                  <a:pt x="652" y="29"/>
                </a:lnTo>
                <a:lnTo>
                  <a:pt x="658" y="29"/>
                </a:lnTo>
                <a:lnTo>
                  <a:pt x="669" y="23"/>
                </a:lnTo>
                <a:lnTo>
                  <a:pt x="675" y="23"/>
                </a:lnTo>
                <a:lnTo>
                  <a:pt x="680" y="17"/>
                </a:lnTo>
                <a:lnTo>
                  <a:pt x="692" y="17"/>
                </a:lnTo>
                <a:lnTo>
                  <a:pt x="697" y="11"/>
                </a:lnTo>
                <a:lnTo>
                  <a:pt x="709" y="6"/>
                </a:lnTo>
                <a:lnTo>
                  <a:pt x="720" y="0"/>
                </a:lnTo>
                <a:lnTo>
                  <a:pt x="720" y="6"/>
                </a:lnTo>
                <a:lnTo>
                  <a:pt x="726" y="6"/>
                </a:lnTo>
                <a:lnTo>
                  <a:pt x="731" y="6"/>
                </a:lnTo>
                <a:lnTo>
                  <a:pt x="731" y="11"/>
                </a:lnTo>
                <a:lnTo>
                  <a:pt x="737" y="17"/>
                </a:lnTo>
                <a:lnTo>
                  <a:pt x="737" y="23"/>
                </a:lnTo>
                <a:lnTo>
                  <a:pt x="737" y="34"/>
                </a:lnTo>
                <a:lnTo>
                  <a:pt x="743" y="46"/>
                </a:lnTo>
                <a:lnTo>
                  <a:pt x="748" y="57"/>
                </a:lnTo>
                <a:lnTo>
                  <a:pt x="743" y="68"/>
                </a:lnTo>
                <a:lnTo>
                  <a:pt x="748" y="68"/>
                </a:lnTo>
                <a:lnTo>
                  <a:pt x="748" y="74"/>
                </a:lnTo>
                <a:lnTo>
                  <a:pt x="748" y="80"/>
                </a:lnTo>
                <a:lnTo>
                  <a:pt x="754" y="85"/>
                </a:lnTo>
                <a:lnTo>
                  <a:pt x="760" y="85"/>
                </a:lnTo>
                <a:lnTo>
                  <a:pt x="765" y="85"/>
                </a:lnTo>
                <a:lnTo>
                  <a:pt x="765" y="80"/>
                </a:lnTo>
                <a:lnTo>
                  <a:pt x="771" y="80"/>
                </a:lnTo>
                <a:lnTo>
                  <a:pt x="777" y="80"/>
                </a:lnTo>
                <a:lnTo>
                  <a:pt x="777" y="74"/>
                </a:lnTo>
                <a:lnTo>
                  <a:pt x="782" y="74"/>
                </a:lnTo>
                <a:lnTo>
                  <a:pt x="788" y="80"/>
                </a:lnTo>
                <a:lnTo>
                  <a:pt x="794" y="80"/>
                </a:lnTo>
                <a:lnTo>
                  <a:pt x="794" y="85"/>
                </a:lnTo>
                <a:lnTo>
                  <a:pt x="799" y="85"/>
                </a:lnTo>
                <a:lnTo>
                  <a:pt x="805" y="85"/>
                </a:lnTo>
                <a:lnTo>
                  <a:pt x="811" y="85"/>
                </a:lnTo>
                <a:lnTo>
                  <a:pt x="833" y="85"/>
                </a:lnTo>
                <a:lnTo>
                  <a:pt x="839" y="85"/>
                </a:lnTo>
                <a:lnTo>
                  <a:pt x="845" y="91"/>
                </a:lnTo>
                <a:lnTo>
                  <a:pt x="850" y="97"/>
                </a:lnTo>
                <a:lnTo>
                  <a:pt x="850" y="108"/>
                </a:lnTo>
                <a:lnTo>
                  <a:pt x="850" y="119"/>
                </a:lnTo>
                <a:lnTo>
                  <a:pt x="856" y="131"/>
                </a:lnTo>
                <a:lnTo>
                  <a:pt x="856" y="142"/>
                </a:lnTo>
                <a:lnTo>
                  <a:pt x="862" y="165"/>
                </a:lnTo>
                <a:lnTo>
                  <a:pt x="862" y="182"/>
                </a:lnTo>
                <a:lnTo>
                  <a:pt x="862" y="187"/>
                </a:lnTo>
                <a:lnTo>
                  <a:pt x="862" y="193"/>
                </a:lnTo>
                <a:lnTo>
                  <a:pt x="856" y="193"/>
                </a:lnTo>
                <a:lnTo>
                  <a:pt x="850" y="193"/>
                </a:lnTo>
                <a:lnTo>
                  <a:pt x="850" y="199"/>
                </a:lnTo>
                <a:lnTo>
                  <a:pt x="845" y="199"/>
                </a:lnTo>
                <a:lnTo>
                  <a:pt x="839" y="204"/>
                </a:lnTo>
                <a:lnTo>
                  <a:pt x="833" y="210"/>
                </a:lnTo>
                <a:lnTo>
                  <a:pt x="828" y="210"/>
                </a:lnTo>
                <a:lnTo>
                  <a:pt x="822" y="210"/>
                </a:lnTo>
                <a:lnTo>
                  <a:pt x="822" y="216"/>
                </a:lnTo>
                <a:lnTo>
                  <a:pt x="822" y="221"/>
                </a:lnTo>
                <a:lnTo>
                  <a:pt x="816" y="221"/>
                </a:lnTo>
                <a:lnTo>
                  <a:pt x="811" y="221"/>
                </a:lnTo>
                <a:lnTo>
                  <a:pt x="805" y="221"/>
                </a:lnTo>
                <a:lnTo>
                  <a:pt x="799" y="216"/>
                </a:lnTo>
                <a:lnTo>
                  <a:pt x="794" y="216"/>
                </a:lnTo>
                <a:lnTo>
                  <a:pt x="782" y="221"/>
                </a:lnTo>
                <a:lnTo>
                  <a:pt x="777" y="221"/>
                </a:lnTo>
                <a:lnTo>
                  <a:pt x="771" y="221"/>
                </a:lnTo>
                <a:lnTo>
                  <a:pt x="760" y="221"/>
                </a:lnTo>
                <a:lnTo>
                  <a:pt x="754" y="221"/>
                </a:lnTo>
                <a:lnTo>
                  <a:pt x="748" y="227"/>
                </a:lnTo>
                <a:lnTo>
                  <a:pt x="743" y="227"/>
                </a:lnTo>
                <a:lnTo>
                  <a:pt x="737" y="233"/>
                </a:lnTo>
                <a:lnTo>
                  <a:pt x="737" y="238"/>
                </a:lnTo>
                <a:lnTo>
                  <a:pt x="731" y="238"/>
                </a:lnTo>
                <a:lnTo>
                  <a:pt x="726" y="238"/>
                </a:lnTo>
                <a:lnTo>
                  <a:pt x="726" y="244"/>
                </a:lnTo>
                <a:lnTo>
                  <a:pt x="726" y="250"/>
                </a:lnTo>
                <a:lnTo>
                  <a:pt x="720" y="255"/>
                </a:lnTo>
                <a:lnTo>
                  <a:pt x="720" y="267"/>
                </a:lnTo>
                <a:lnTo>
                  <a:pt x="714" y="278"/>
                </a:lnTo>
                <a:lnTo>
                  <a:pt x="714" y="284"/>
                </a:lnTo>
                <a:lnTo>
                  <a:pt x="709" y="295"/>
                </a:lnTo>
                <a:lnTo>
                  <a:pt x="709" y="318"/>
                </a:lnTo>
                <a:lnTo>
                  <a:pt x="709" y="340"/>
                </a:lnTo>
                <a:lnTo>
                  <a:pt x="709" y="346"/>
                </a:lnTo>
                <a:lnTo>
                  <a:pt x="709" y="352"/>
                </a:lnTo>
                <a:lnTo>
                  <a:pt x="703" y="352"/>
                </a:lnTo>
                <a:lnTo>
                  <a:pt x="703" y="357"/>
                </a:lnTo>
                <a:lnTo>
                  <a:pt x="703" y="363"/>
                </a:lnTo>
                <a:lnTo>
                  <a:pt x="697" y="369"/>
                </a:lnTo>
                <a:lnTo>
                  <a:pt x="692" y="374"/>
                </a:lnTo>
                <a:lnTo>
                  <a:pt x="692" y="380"/>
                </a:lnTo>
                <a:lnTo>
                  <a:pt x="686" y="380"/>
                </a:lnTo>
                <a:lnTo>
                  <a:pt x="680" y="380"/>
                </a:lnTo>
                <a:lnTo>
                  <a:pt x="675" y="380"/>
                </a:lnTo>
                <a:lnTo>
                  <a:pt x="663" y="386"/>
                </a:lnTo>
                <a:lnTo>
                  <a:pt x="658" y="386"/>
                </a:lnTo>
                <a:lnTo>
                  <a:pt x="652" y="391"/>
                </a:lnTo>
                <a:lnTo>
                  <a:pt x="646" y="391"/>
                </a:lnTo>
                <a:lnTo>
                  <a:pt x="641" y="397"/>
                </a:lnTo>
                <a:lnTo>
                  <a:pt x="635" y="397"/>
                </a:lnTo>
                <a:lnTo>
                  <a:pt x="635" y="403"/>
                </a:lnTo>
                <a:lnTo>
                  <a:pt x="629" y="403"/>
                </a:lnTo>
                <a:lnTo>
                  <a:pt x="623" y="403"/>
                </a:lnTo>
                <a:lnTo>
                  <a:pt x="618" y="408"/>
                </a:lnTo>
                <a:lnTo>
                  <a:pt x="601" y="414"/>
                </a:lnTo>
                <a:lnTo>
                  <a:pt x="595" y="414"/>
                </a:lnTo>
                <a:lnTo>
                  <a:pt x="595" y="420"/>
                </a:lnTo>
                <a:lnTo>
                  <a:pt x="589" y="420"/>
                </a:lnTo>
                <a:lnTo>
                  <a:pt x="584" y="420"/>
                </a:lnTo>
                <a:lnTo>
                  <a:pt x="578" y="420"/>
                </a:lnTo>
                <a:lnTo>
                  <a:pt x="572" y="420"/>
                </a:lnTo>
                <a:lnTo>
                  <a:pt x="567" y="425"/>
                </a:lnTo>
                <a:lnTo>
                  <a:pt x="561" y="425"/>
                </a:lnTo>
                <a:lnTo>
                  <a:pt x="555" y="431"/>
                </a:lnTo>
                <a:lnTo>
                  <a:pt x="550" y="431"/>
                </a:lnTo>
                <a:lnTo>
                  <a:pt x="544" y="437"/>
                </a:lnTo>
                <a:lnTo>
                  <a:pt x="538" y="437"/>
                </a:lnTo>
                <a:lnTo>
                  <a:pt x="538" y="442"/>
                </a:lnTo>
                <a:lnTo>
                  <a:pt x="538" y="448"/>
                </a:lnTo>
                <a:lnTo>
                  <a:pt x="533" y="448"/>
                </a:lnTo>
                <a:lnTo>
                  <a:pt x="533" y="454"/>
                </a:lnTo>
                <a:lnTo>
                  <a:pt x="527" y="454"/>
                </a:lnTo>
                <a:lnTo>
                  <a:pt x="527" y="459"/>
                </a:lnTo>
                <a:lnTo>
                  <a:pt x="521" y="459"/>
                </a:lnTo>
                <a:lnTo>
                  <a:pt x="521" y="465"/>
                </a:lnTo>
                <a:lnTo>
                  <a:pt x="527" y="471"/>
                </a:lnTo>
                <a:lnTo>
                  <a:pt x="527" y="476"/>
                </a:lnTo>
                <a:lnTo>
                  <a:pt x="533" y="476"/>
                </a:lnTo>
                <a:lnTo>
                  <a:pt x="538" y="476"/>
                </a:lnTo>
                <a:lnTo>
                  <a:pt x="544" y="476"/>
                </a:lnTo>
                <a:lnTo>
                  <a:pt x="550" y="471"/>
                </a:lnTo>
                <a:lnTo>
                  <a:pt x="555" y="471"/>
                </a:lnTo>
                <a:lnTo>
                  <a:pt x="561" y="471"/>
                </a:lnTo>
                <a:lnTo>
                  <a:pt x="561" y="465"/>
                </a:lnTo>
                <a:lnTo>
                  <a:pt x="567" y="465"/>
                </a:lnTo>
                <a:lnTo>
                  <a:pt x="572" y="465"/>
                </a:lnTo>
                <a:lnTo>
                  <a:pt x="578" y="471"/>
                </a:lnTo>
                <a:lnTo>
                  <a:pt x="578" y="476"/>
                </a:lnTo>
                <a:lnTo>
                  <a:pt x="584" y="482"/>
                </a:lnTo>
                <a:lnTo>
                  <a:pt x="589" y="488"/>
                </a:lnTo>
                <a:lnTo>
                  <a:pt x="589" y="493"/>
                </a:lnTo>
                <a:lnTo>
                  <a:pt x="589" y="499"/>
                </a:lnTo>
                <a:lnTo>
                  <a:pt x="589" y="505"/>
                </a:lnTo>
                <a:lnTo>
                  <a:pt x="595" y="505"/>
                </a:lnTo>
                <a:lnTo>
                  <a:pt x="589" y="516"/>
                </a:lnTo>
                <a:lnTo>
                  <a:pt x="589" y="522"/>
                </a:lnTo>
                <a:lnTo>
                  <a:pt x="589" y="527"/>
                </a:lnTo>
                <a:lnTo>
                  <a:pt x="589" y="533"/>
                </a:lnTo>
                <a:lnTo>
                  <a:pt x="589" y="539"/>
                </a:lnTo>
                <a:lnTo>
                  <a:pt x="584" y="539"/>
                </a:lnTo>
                <a:lnTo>
                  <a:pt x="584" y="544"/>
                </a:lnTo>
                <a:lnTo>
                  <a:pt x="578" y="544"/>
                </a:lnTo>
                <a:lnTo>
                  <a:pt x="578" y="550"/>
                </a:lnTo>
                <a:lnTo>
                  <a:pt x="578" y="556"/>
                </a:lnTo>
                <a:lnTo>
                  <a:pt x="578" y="561"/>
                </a:lnTo>
                <a:lnTo>
                  <a:pt x="584" y="561"/>
                </a:lnTo>
                <a:lnTo>
                  <a:pt x="584" y="567"/>
                </a:lnTo>
                <a:lnTo>
                  <a:pt x="589" y="567"/>
                </a:lnTo>
                <a:lnTo>
                  <a:pt x="589" y="573"/>
                </a:lnTo>
                <a:lnTo>
                  <a:pt x="595" y="573"/>
                </a:lnTo>
                <a:lnTo>
                  <a:pt x="601" y="573"/>
                </a:lnTo>
                <a:lnTo>
                  <a:pt x="606" y="578"/>
                </a:lnTo>
                <a:lnTo>
                  <a:pt x="606" y="584"/>
                </a:lnTo>
                <a:lnTo>
                  <a:pt x="618" y="595"/>
                </a:lnTo>
                <a:lnTo>
                  <a:pt x="618" y="601"/>
                </a:lnTo>
                <a:lnTo>
                  <a:pt x="618" y="607"/>
                </a:lnTo>
                <a:lnTo>
                  <a:pt x="623" y="607"/>
                </a:lnTo>
                <a:lnTo>
                  <a:pt x="623" y="612"/>
                </a:lnTo>
                <a:lnTo>
                  <a:pt x="623" y="618"/>
                </a:lnTo>
                <a:lnTo>
                  <a:pt x="629" y="618"/>
                </a:lnTo>
                <a:lnTo>
                  <a:pt x="635" y="624"/>
                </a:lnTo>
                <a:lnTo>
                  <a:pt x="635" y="629"/>
                </a:lnTo>
                <a:lnTo>
                  <a:pt x="641" y="635"/>
                </a:lnTo>
                <a:lnTo>
                  <a:pt x="652" y="641"/>
                </a:lnTo>
                <a:lnTo>
                  <a:pt x="663" y="641"/>
                </a:lnTo>
                <a:lnTo>
                  <a:pt x="669" y="641"/>
                </a:lnTo>
                <a:lnTo>
                  <a:pt x="675" y="641"/>
                </a:lnTo>
                <a:lnTo>
                  <a:pt x="680" y="641"/>
                </a:lnTo>
                <a:lnTo>
                  <a:pt x="692" y="641"/>
                </a:lnTo>
                <a:lnTo>
                  <a:pt x="703" y="646"/>
                </a:lnTo>
                <a:lnTo>
                  <a:pt x="714" y="646"/>
                </a:lnTo>
                <a:lnTo>
                  <a:pt x="720" y="646"/>
                </a:lnTo>
                <a:lnTo>
                  <a:pt x="731" y="652"/>
                </a:lnTo>
                <a:lnTo>
                  <a:pt x="743" y="658"/>
                </a:lnTo>
                <a:lnTo>
                  <a:pt x="748" y="658"/>
                </a:lnTo>
                <a:lnTo>
                  <a:pt x="754" y="658"/>
                </a:lnTo>
                <a:lnTo>
                  <a:pt x="760" y="658"/>
                </a:lnTo>
                <a:lnTo>
                  <a:pt x="771" y="658"/>
                </a:lnTo>
                <a:lnTo>
                  <a:pt x="777" y="663"/>
                </a:lnTo>
                <a:lnTo>
                  <a:pt x="777" y="669"/>
                </a:lnTo>
                <a:lnTo>
                  <a:pt x="777" y="675"/>
                </a:lnTo>
                <a:lnTo>
                  <a:pt x="777" y="680"/>
                </a:lnTo>
                <a:lnTo>
                  <a:pt x="771" y="680"/>
                </a:lnTo>
                <a:lnTo>
                  <a:pt x="771" y="686"/>
                </a:lnTo>
                <a:lnTo>
                  <a:pt x="765" y="686"/>
                </a:lnTo>
                <a:lnTo>
                  <a:pt x="760" y="692"/>
                </a:lnTo>
                <a:lnTo>
                  <a:pt x="760" y="697"/>
                </a:lnTo>
                <a:lnTo>
                  <a:pt x="754" y="697"/>
                </a:lnTo>
                <a:lnTo>
                  <a:pt x="748" y="697"/>
                </a:lnTo>
                <a:lnTo>
                  <a:pt x="743" y="697"/>
                </a:lnTo>
                <a:lnTo>
                  <a:pt x="731" y="697"/>
                </a:lnTo>
                <a:lnTo>
                  <a:pt x="726" y="703"/>
                </a:lnTo>
                <a:lnTo>
                  <a:pt x="720" y="703"/>
                </a:lnTo>
                <a:lnTo>
                  <a:pt x="714" y="709"/>
                </a:lnTo>
                <a:lnTo>
                  <a:pt x="709" y="709"/>
                </a:lnTo>
                <a:lnTo>
                  <a:pt x="703" y="714"/>
                </a:lnTo>
                <a:lnTo>
                  <a:pt x="703" y="726"/>
                </a:lnTo>
                <a:lnTo>
                  <a:pt x="703" y="731"/>
                </a:lnTo>
                <a:lnTo>
                  <a:pt x="703" y="737"/>
                </a:lnTo>
                <a:lnTo>
                  <a:pt x="709" y="737"/>
                </a:lnTo>
                <a:lnTo>
                  <a:pt x="714" y="743"/>
                </a:lnTo>
                <a:lnTo>
                  <a:pt x="720" y="748"/>
                </a:lnTo>
                <a:lnTo>
                  <a:pt x="720" y="754"/>
                </a:lnTo>
                <a:lnTo>
                  <a:pt x="714" y="754"/>
                </a:lnTo>
                <a:lnTo>
                  <a:pt x="709" y="754"/>
                </a:lnTo>
                <a:lnTo>
                  <a:pt x="703" y="748"/>
                </a:lnTo>
                <a:lnTo>
                  <a:pt x="697" y="748"/>
                </a:lnTo>
                <a:lnTo>
                  <a:pt x="697" y="743"/>
                </a:lnTo>
                <a:lnTo>
                  <a:pt x="692" y="743"/>
                </a:lnTo>
                <a:lnTo>
                  <a:pt x="686" y="743"/>
                </a:lnTo>
                <a:lnTo>
                  <a:pt x="663" y="743"/>
                </a:lnTo>
                <a:lnTo>
                  <a:pt x="646" y="737"/>
                </a:lnTo>
                <a:lnTo>
                  <a:pt x="641" y="737"/>
                </a:lnTo>
                <a:lnTo>
                  <a:pt x="635" y="743"/>
                </a:lnTo>
                <a:lnTo>
                  <a:pt x="629" y="737"/>
                </a:lnTo>
                <a:lnTo>
                  <a:pt x="623" y="731"/>
                </a:lnTo>
                <a:lnTo>
                  <a:pt x="623" y="726"/>
                </a:lnTo>
                <a:lnTo>
                  <a:pt x="618" y="714"/>
                </a:lnTo>
                <a:lnTo>
                  <a:pt x="618" y="697"/>
                </a:lnTo>
                <a:lnTo>
                  <a:pt x="612" y="686"/>
                </a:lnTo>
                <a:lnTo>
                  <a:pt x="612" y="680"/>
                </a:lnTo>
                <a:lnTo>
                  <a:pt x="606" y="669"/>
                </a:lnTo>
                <a:lnTo>
                  <a:pt x="606" y="663"/>
                </a:lnTo>
                <a:lnTo>
                  <a:pt x="601" y="658"/>
                </a:lnTo>
                <a:lnTo>
                  <a:pt x="601" y="652"/>
                </a:lnTo>
                <a:lnTo>
                  <a:pt x="595" y="652"/>
                </a:lnTo>
                <a:lnTo>
                  <a:pt x="595" y="646"/>
                </a:lnTo>
                <a:lnTo>
                  <a:pt x="589" y="646"/>
                </a:lnTo>
                <a:lnTo>
                  <a:pt x="589" y="641"/>
                </a:lnTo>
                <a:lnTo>
                  <a:pt x="584" y="641"/>
                </a:lnTo>
                <a:lnTo>
                  <a:pt x="578" y="641"/>
                </a:lnTo>
                <a:lnTo>
                  <a:pt x="572" y="641"/>
                </a:lnTo>
                <a:lnTo>
                  <a:pt x="561" y="641"/>
                </a:lnTo>
                <a:lnTo>
                  <a:pt x="555" y="646"/>
                </a:lnTo>
                <a:lnTo>
                  <a:pt x="550" y="646"/>
                </a:lnTo>
                <a:lnTo>
                  <a:pt x="544" y="646"/>
                </a:lnTo>
                <a:lnTo>
                  <a:pt x="538" y="646"/>
                </a:lnTo>
                <a:lnTo>
                  <a:pt x="533" y="646"/>
                </a:lnTo>
                <a:lnTo>
                  <a:pt x="521" y="646"/>
                </a:lnTo>
                <a:lnTo>
                  <a:pt x="516" y="646"/>
                </a:lnTo>
                <a:lnTo>
                  <a:pt x="510" y="646"/>
                </a:lnTo>
                <a:lnTo>
                  <a:pt x="510" y="641"/>
                </a:lnTo>
                <a:lnTo>
                  <a:pt x="504" y="635"/>
                </a:lnTo>
                <a:lnTo>
                  <a:pt x="504" y="629"/>
                </a:lnTo>
                <a:lnTo>
                  <a:pt x="504" y="624"/>
                </a:lnTo>
                <a:lnTo>
                  <a:pt x="499" y="618"/>
                </a:lnTo>
                <a:lnTo>
                  <a:pt x="493" y="618"/>
                </a:lnTo>
                <a:lnTo>
                  <a:pt x="487" y="618"/>
                </a:lnTo>
                <a:lnTo>
                  <a:pt x="482" y="618"/>
                </a:lnTo>
                <a:lnTo>
                  <a:pt x="476" y="624"/>
                </a:lnTo>
                <a:lnTo>
                  <a:pt x="465" y="629"/>
                </a:lnTo>
                <a:lnTo>
                  <a:pt x="453" y="624"/>
                </a:lnTo>
                <a:lnTo>
                  <a:pt x="448" y="624"/>
                </a:lnTo>
                <a:lnTo>
                  <a:pt x="448" y="618"/>
                </a:lnTo>
                <a:lnTo>
                  <a:pt x="442" y="618"/>
                </a:lnTo>
                <a:lnTo>
                  <a:pt x="436" y="618"/>
                </a:lnTo>
                <a:lnTo>
                  <a:pt x="436" y="612"/>
                </a:lnTo>
                <a:lnTo>
                  <a:pt x="431" y="612"/>
                </a:lnTo>
                <a:lnTo>
                  <a:pt x="425" y="612"/>
                </a:lnTo>
                <a:lnTo>
                  <a:pt x="419" y="612"/>
                </a:lnTo>
                <a:lnTo>
                  <a:pt x="419" y="607"/>
                </a:lnTo>
                <a:lnTo>
                  <a:pt x="408" y="607"/>
                </a:lnTo>
                <a:lnTo>
                  <a:pt x="402" y="607"/>
                </a:lnTo>
                <a:lnTo>
                  <a:pt x="397" y="612"/>
                </a:lnTo>
                <a:lnTo>
                  <a:pt x="391" y="607"/>
                </a:lnTo>
                <a:lnTo>
                  <a:pt x="397" y="601"/>
                </a:lnTo>
                <a:lnTo>
                  <a:pt x="397" y="595"/>
                </a:lnTo>
                <a:lnTo>
                  <a:pt x="397" y="590"/>
                </a:lnTo>
                <a:lnTo>
                  <a:pt x="391" y="584"/>
                </a:lnTo>
                <a:lnTo>
                  <a:pt x="397" y="578"/>
                </a:lnTo>
                <a:lnTo>
                  <a:pt x="397" y="573"/>
                </a:lnTo>
                <a:lnTo>
                  <a:pt x="402" y="561"/>
                </a:lnTo>
                <a:lnTo>
                  <a:pt x="408" y="556"/>
                </a:lnTo>
                <a:lnTo>
                  <a:pt x="414" y="556"/>
                </a:lnTo>
                <a:lnTo>
                  <a:pt x="419" y="556"/>
                </a:lnTo>
                <a:lnTo>
                  <a:pt x="425" y="556"/>
                </a:lnTo>
                <a:lnTo>
                  <a:pt x="425" y="550"/>
                </a:lnTo>
                <a:lnTo>
                  <a:pt x="431" y="544"/>
                </a:lnTo>
                <a:lnTo>
                  <a:pt x="436" y="539"/>
                </a:lnTo>
                <a:lnTo>
                  <a:pt x="436" y="533"/>
                </a:lnTo>
                <a:lnTo>
                  <a:pt x="436" y="527"/>
                </a:lnTo>
                <a:lnTo>
                  <a:pt x="431" y="527"/>
                </a:lnTo>
                <a:lnTo>
                  <a:pt x="425" y="527"/>
                </a:lnTo>
                <a:lnTo>
                  <a:pt x="419" y="527"/>
                </a:lnTo>
                <a:lnTo>
                  <a:pt x="419" y="522"/>
                </a:lnTo>
                <a:lnTo>
                  <a:pt x="419" y="516"/>
                </a:lnTo>
                <a:lnTo>
                  <a:pt x="414" y="516"/>
                </a:lnTo>
                <a:lnTo>
                  <a:pt x="408" y="510"/>
                </a:lnTo>
                <a:lnTo>
                  <a:pt x="402" y="505"/>
                </a:lnTo>
                <a:lnTo>
                  <a:pt x="397" y="505"/>
                </a:lnTo>
                <a:lnTo>
                  <a:pt x="391" y="499"/>
                </a:lnTo>
                <a:lnTo>
                  <a:pt x="391" y="493"/>
                </a:lnTo>
                <a:lnTo>
                  <a:pt x="391" y="488"/>
                </a:lnTo>
                <a:lnTo>
                  <a:pt x="391" y="482"/>
                </a:lnTo>
                <a:lnTo>
                  <a:pt x="397" y="482"/>
                </a:lnTo>
                <a:lnTo>
                  <a:pt x="397" y="476"/>
                </a:lnTo>
                <a:lnTo>
                  <a:pt x="397" y="471"/>
                </a:lnTo>
                <a:lnTo>
                  <a:pt x="391" y="471"/>
                </a:lnTo>
                <a:lnTo>
                  <a:pt x="380" y="476"/>
                </a:lnTo>
                <a:lnTo>
                  <a:pt x="368" y="476"/>
                </a:lnTo>
                <a:lnTo>
                  <a:pt x="363" y="476"/>
                </a:lnTo>
                <a:lnTo>
                  <a:pt x="363" y="471"/>
                </a:lnTo>
                <a:lnTo>
                  <a:pt x="363" y="465"/>
                </a:lnTo>
                <a:lnTo>
                  <a:pt x="363" y="459"/>
                </a:lnTo>
                <a:lnTo>
                  <a:pt x="363" y="448"/>
                </a:lnTo>
                <a:lnTo>
                  <a:pt x="363" y="442"/>
                </a:lnTo>
                <a:lnTo>
                  <a:pt x="363" y="437"/>
                </a:lnTo>
                <a:lnTo>
                  <a:pt x="368" y="437"/>
                </a:lnTo>
                <a:lnTo>
                  <a:pt x="368" y="431"/>
                </a:lnTo>
                <a:lnTo>
                  <a:pt x="374" y="431"/>
                </a:lnTo>
                <a:lnTo>
                  <a:pt x="380" y="431"/>
                </a:lnTo>
                <a:lnTo>
                  <a:pt x="380" y="425"/>
                </a:lnTo>
                <a:lnTo>
                  <a:pt x="385" y="420"/>
                </a:lnTo>
                <a:lnTo>
                  <a:pt x="385" y="403"/>
                </a:lnTo>
                <a:lnTo>
                  <a:pt x="385" y="391"/>
                </a:lnTo>
                <a:lnTo>
                  <a:pt x="385" y="386"/>
                </a:lnTo>
                <a:lnTo>
                  <a:pt x="385" y="380"/>
                </a:lnTo>
                <a:lnTo>
                  <a:pt x="380" y="374"/>
                </a:lnTo>
                <a:lnTo>
                  <a:pt x="380" y="363"/>
                </a:lnTo>
                <a:lnTo>
                  <a:pt x="380" y="352"/>
                </a:lnTo>
                <a:lnTo>
                  <a:pt x="374" y="346"/>
                </a:lnTo>
                <a:lnTo>
                  <a:pt x="368" y="346"/>
                </a:lnTo>
                <a:lnTo>
                  <a:pt x="368" y="340"/>
                </a:lnTo>
                <a:lnTo>
                  <a:pt x="363" y="346"/>
                </a:lnTo>
                <a:lnTo>
                  <a:pt x="363" y="352"/>
                </a:lnTo>
                <a:lnTo>
                  <a:pt x="357" y="352"/>
                </a:lnTo>
                <a:lnTo>
                  <a:pt x="357" y="357"/>
                </a:lnTo>
                <a:lnTo>
                  <a:pt x="357" y="363"/>
                </a:lnTo>
                <a:lnTo>
                  <a:pt x="357" y="369"/>
                </a:lnTo>
                <a:lnTo>
                  <a:pt x="351" y="369"/>
                </a:lnTo>
                <a:lnTo>
                  <a:pt x="346" y="369"/>
                </a:lnTo>
                <a:lnTo>
                  <a:pt x="340" y="363"/>
                </a:lnTo>
                <a:lnTo>
                  <a:pt x="334" y="363"/>
                </a:lnTo>
                <a:lnTo>
                  <a:pt x="334" y="357"/>
                </a:lnTo>
                <a:lnTo>
                  <a:pt x="334" y="352"/>
                </a:lnTo>
                <a:lnTo>
                  <a:pt x="334" y="346"/>
                </a:lnTo>
                <a:lnTo>
                  <a:pt x="329" y="340"/>
                </a:lnTo>
                <a:lnTo>
                  <a:pt x="317" y="346"/>
                </a:lnTo>
                <a:lnTo>
                  <a:pt x="312" y="346"/>
                </a:lnTo>
                <a:lnTo>
                  <a:pt x="306" y="352"/>
                </a:lnTo>
                <a:lnTo>
                  <a:pt x="300" y="352"/>
                </a:lnTo>
                <a:lnTo>
                  <a:pt x="289" y="346"/>
                </a:lnTo>
                <a:lnTo>
                  <a:pt x="283" y="346"/>
                </a:lnTo>
                <a:lnTo>
                  <a:pt x="283" y="340"/>
                </a:lnTo>
                <a:lnTo>
                  <a:pt x="278" y="340"/>
                </a:lnTo>
                <a:lnTo>
                  <a:pt x="278" y="335"/>
                </a:lnTo>
                <a:lnTo>
                  <a:pt x="283" y="335"/>
                </a:lnTo>
                <a:lnTo>
                  <a:pt x="283" y="329"/>
                </a:lnTo>
                <a:lnTo>
                  <a:pt x="283" y="323"/>
                </a:lnTo>
                <a:lnTo>
                  <a:pt x="289" y="323"/>
                </a:lnTo>
                <a:lnTo>
                  <a:pt x="289" y="318"/>
                </a:lnTo>
                <a:lnTo>
                  <a:pt x="289" y="312"/>
                </a:lnTo>
                <a:lnTo>
                  <a:pt x="295" y="312"/>
                </a:lnTo>
                <a:lnTo>
                  <a:pt x="295" y="306"/>
                </a:lnTo>
                <a:lnTo>
                  <a:pt x="289" y="306"/>
                </a:lnTo>
                <a:lnTo>
                  <a:pt x="289" y="301"/>
                </a:lnTo>
                <a:lnTo>
                  <a:pt x="283" y="301"/>
                </a:lnTo>
                <a:lnTo>
                  <a:pt x="283" y="295"/>
                </a:lnTo>
                <a:lnTo>
                  <a:pt x="283" y="284"/>
                </a:lnTo>
                <a:lnTo>
                  <a:pt x="278" y="284"/>
                </a:lnTo>
                <a:lnTo>
                  <a:pt x="278" y="278"/>
                </a:lnTo>
                <a:lnTo>
                  <a:pt x="278" y="272"/>
                </a:lnTo>
                <a:lnTo>
                  <a:pt x="272" y="272"/>
                </a:lnTo>
                <a:lnTo>
                  <a:pt x="272" y="267"/>
                </a:lnTo>
                <a:lnTo>
                  <a:pt x="266" y="267"/>
                </a:lnTo>
                <a:lnTo>
                  <a:pt x="255" y="267"/>
                </a:lnTo>
                <a:lnTo>
                  <a:pt x="249" y="267"/>
                </a:lnTo>
                <a:lnTo>
                  <a:pt x="238" y="272"/>
                </a:lnTo>
                <a:lnTo>
                  <a:pt x="232" y="272"/>
                </a:lnTo>
                <a:lnTo>
                  <a:pt x="227" y="267"/>
                </a:lnTo>
                <a:lnTo>
                  <a:pt x="221" y="267"/>
                </a:lnTo>
                <a:lnTo>
                  <a:pt x="221" y="255"/>
                </a:lnTo>
                <a:lnTo>
                  <a:pt x="221" y="250"/>
                </a:lnTo>
                <a:lnTo>
                  <a:pt x="227" y="244"/>
                </a:lnTo>
                <a:lnTo>
                  <a:pt x="227" y="238"/>
                </a:lnTo>
                <a:lnTo>
                  <a:pt x="227" y="233"/>
                </a:lnTo>
                <a:lnTo>
                  <a:pt x="227" y="227"/>
                </a:lnTo>
                <a:lnTo>
                  <a:pt x="221" y="227"/>
                </a:lnTo>
                <a:lnTo>
                  <a:pt x="221" y="221"/>
                </a:lnTo>
                <a:lnTo>
                  <a:pt x="215" y="221"/>
                </a:lnTo>
                <a:lnTo>
                  <a:pt x="210" y="221"/>
                </a:lnTo>
                <a:lnTo>
                  <a:pt x="198" y="221"/>
                </a:lnTo>
                <a:lnTo>
                  <a:pt x="193" y="216"/>
                </a:lnTo>
                <a:lnTo>
                  <a:pt x="193" y="210"/>
                </a:lnTo>
                <a:lnTo>
                  <a:pt x="187" y="210"/>
                </a:lnTo>
                <a:lnTo>
                  <a:pt x="187" y="204"/>
                </a:lnTo>
                <a:lnTo>
                  <a:pt x="187" y="199"/>
                </a:lnTo>
                <a:lnTo>
                  <a:pt x="193" y="193"/>
                </a:lnTo>
                <a:lnTo>
                  <a:pt x="198" y="193"/>
                </a:lnTo>
                <a:lnTo>
                  <a:pt x="198" y="182"/>
                </a:lnTo>
                <a:lnTo>
                  <a:pt x="198" y="176"/>
                </a:lnTo>
                <a:lnTo>
                  <a:pt x="198" y="170"/>
                </a:lnTo>
                <a:lnTo>
                  <a:pt x="193" y="170"/>
                </a:lnTo>
                <a:lnTo>
                  <a:pt x="187" y="170"/>
                </a:lnTo>
                <a:lnTo>
                  <a:pt x="181" y="170"/>
                </a:lnTo>
                <a:lnTo>
                  <a:pt x="176" y="170"/>
                </a:lnTo>
                <a:lnTo>
                  <a:pt x="170" y="170"/>
                </a:lnTo>
                <a:lnTo>
                  <a:pt x="164" y="170"/>
                </a:lnTo>
                <a:lnTo>
                  <a:pt x="159" y="170"/>
                </a:lnTo>
                <a:lnTo>
                  <a:pt x="159" y="165"/>
                </a:lnTo>
                <a:lnTo>
                  <a:pt x="153" y="165"/>
                </a:lnTo>
                <a:lnTo>
                  <a:pt x="153" y="159"/>
                </a:lnTo>
                <a:lnTo>
                  <a:pt x="147" y="159"/>
                </a:lnTo>
                <a:lnTo>
                  <a:pt x="142" y="159"/>
                </a:lnTo>
                <a:lnTo>
                  <a:pt x="142" y="165"/>
                </a:lnTo>
                <a:lnTo>
                  <a:pt x="136" y="165"/>
                </a:lnTo>
                <a:lnTo>
                  <a:pt x="130" y="165"/>
                </a:lnTo>
                <a:lnTo>
                  <a:pt x="130" y="170"/>
                </a:lnTo>
                <a:lnTo>
                  <a:pt x="119" y="170"/>
                </a:lnTo>
                <a:lnTo>
                  <a:pt x="113" y="170"/>
                </a:lnTo>
                <a:lnTo>
                  <a:pt x="108" y="170"/>
                </a:lnTo>
                <a:lnTo>
                  <a:pt x="102" y="170"/>
                </a:lnTo>
                <a:lnTo>
                  <a:pt x="96" y="176"/>
                </a:lnTo>
                <a:lnTo>
                  <a:pt x="96" y="182"/>
                </a:lnTo>
                <a:lnTo>
                  <a:pt x="91" y="182"/>
                </a:lnTo>
                <a:lnTo>
                  <a:pt x="91" y="187"/>
                </a:lnTo>
                <a:lnTo>
                  <a:pt x="91" y="193"/>
                </a:lnTo>
                <a:lnTo>
                  <a:pt x="85" y="193"/>
                </a:lnTo>
                <a:lnTo>
                  <a:pt x="85" y="199"/>
                </a:lnTo>
                <a:lnTo>
                  <a:pt x="85" y="204"/>
                </a:lnTo>
                <a:lnTo>
                  <a:pt x="79" y="204"/>
                </a:lnTo>
                <a:lnTo>
                  <a:pt x="79" y="210"/>
                </a:lnTo>
                <a:lnTo>
                  <a:pt x="79" y="216"/>
                </a:lnTo>
                <a:lnTo>
                  <a:pt x="79" y="221"/>
                </a:lnTo>
                <a:lnTo>
                  <a:pt x="74" y="227"/>
                </a:lnTo>
                <a:lnTo>
                  <a:pt x="74" y="221"/>
                </a:lnTo>
                <a:lnTo>
                  <a:pt x="68" y="221"/>
                </a:lnTo>
                <a:lnTo>
                  <a:pt x="68" y="210"/>
                </a:lnTo>
                <a:lnTo>
                  <a:pt x="68" y="204"/>
                </a:lnTo>
                <a:lnTo>
                  <a:pt x="68" y="199"/>
                </a:lnTo>
                <a:lnTo>
                  <a:pt x="68" y="193"/>
                </a:lnTo>
                <a:lnTo>
                  <a:pt x="62" y="193"/>
                </a:lnTo>
                <a:lnTo>
                  <a:pt x="57" y="187"/>
                </a:lnTo>
                <a:lnTo>
                  <a:pt x="57" y="182"/>
                </a:lnTo>
                <a:lnTo>
                  <a:pt x="51" y="182"/>
                </a:lnTo>
                <a:lnTo>
                  <a:pt x="45" y="176"/>
                </a:lnTo>
                <a:lnTo>
                  <a:pt x="45" y="170"/>
                </a:lnTo>
                <a:lnTo>
                  <a:pt x="40" y="170"/>
                </a:lnTo>
                <a:lnTo>
                  <a:pt x="40" y="16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45" name="Freeform 6"/>
          <p:cNvSpPr>
            <a:spLocks/>
          </p:cNvSpPr>
          <p:nvPr/>
        </p:nvSpPr>
        <p:spPr bwMode="gray">
          <a:xfrm>
            <a:off x="2897896" y="2173698"/>
            <a:ext cx="1614980" cy="1516081"/>
          </a:xfrm>
          <a:custGeom>
            <a:avLst/>
            <a:gdLst>
              <a:gd name="T0" fmla="*/ 2147483647 w 953"/>
              <a:gd name="T1" fmla="*/ 2147483647 h 896"/>
              <a:gd name="T2" fmla="*/ 2147483647 w 953"/>
              <a:gd name="T3" fmla="*/ 2147483647 h 896"/>
              <a:gd name="T4" fmla="*/ 2147483647 w 953"/>
              <a:gd name="T5" fmla="*/ 2147483647 h 896"/>
              <a:gd name="T6" fmla="*/ 2147483647 w 953"/>
              <a:gd name="T7" fmla="*/ 2147483647 h 896"/>
              <a:gd name="T8" fmla="*/ 2147483647 w 953"/>
              <a:gd name="T9" fmla="*/ 2147483647 h 896"/>
              <a:gd name="T10" fmla="*/ 2147483647 w 953"/>
              <a:gd name="T11" fmla="*/ 2147483647 h 896"/>
              <a:gd name="T12" fmla="*/ 2147483647 w 953"/>
              <a:gd name="T13" fmla="*/ 2147483647 h 896"/>
              <a:gd name="T14" fmla="*/ 2147483647 w 953"/>
              <a:gd name="T15" fmla="*/ 2147483647 h 896"/>
              <a:gd name="T16" fmla="*/ 2147483647 w 953"/>
              <a:gd name="T17" fmla="*/ 2147483647 h 896"/>
              <a:gd name="T18" fmla="*/ 2147483647 w 953"/>
              <a:gd name="T19" fmla="*/ 2147483647 h 896"/>
              <a:gd name="T20" fmla="*/ 2147483647 w 953"/>
              <a:gd name="T21" fmla="*/ 2147483647 h 896"/>
              <a:gd name="T22" fmla="*/ 2147483647 w 953"/>
              <a:gd name="T23" fmla="*/ 2147483647 h 896"/>
              <a:gd name="T24" fmla="*/ 2147483647 w 953"/>
              <a:gd name="T25" fmla="*/ 2147483647 h 896"/>
              <a:gd name="T26" fmla="*/ 2147483647 w 953"/>
              <a:gd name="T27" fmla="*/ 2147483647 h 896"/>
              <a:gd name="T28" fmla="*/ 2147483647 w 953"/>
              <a:gd name="T29" fmla="*/ 2147483647 h 896"/>
              <a:gd name="T30" fmla="*/ 2147483647 w 953"/>
              <a:gd name="T31" fmla="*/ 2147483647 h 896"/>
              <a:gd name="T32" fmla="*/ 2147483647 w 953"/>
              <a:gd name="T33" fmla="*/ 2147483647 h 896"/>
              <a:gd name="T34" fmla="*/ 2147483647 w 953"/>
              <a:gd name="T35" fmla="*/ 2147483647 h 896"/>
              <a:gd name="T36" fmla="*/ 2147483647 w 953"/>
              <a:gd name="T37" fmla="*/ 2147483647 h 896"/>
              <a:gd name="T38" fmla="*/ 2147483647 w 953"/>
              <a:gd name="T39" fmla="*/ 2147483647 h 896"/>
              <a:gd name="T40" fmla="*/ 0 w 953"/>
              <a:gd name="T41" fmla="*/ 2147483647 h 896"/>
              <a:gd name="T42" fmla="*/ 2147483647 w 953"/>
              <a:gd name="T43" fmla="*/ 2147483647 h 896"/>
              <a:gd name="T44" fmla="*/ 2147483647 w 953"/>
              <a:gd name="T45" fmla="*/ 2147483647 h 896"/>
              <a:gd name="T46" fmla="*/ 2147483647 w 953"/>
              <a:gd name="T47" fmla="*/ 2147483647 h 896"/>
              <a:gd name="T48" fmla="*/ 2147483647 w 953"/>
              <a:gd name="T49" fmla="*/ 2147483647 h 896"/>
              <a:gd name="T50" fmla="*/ 2147483647 w 953"/>
              <a:gd name="T51" fmla="*/ 2147483647 h 896"/>
              <a:gd name="T52" fmla="*/ 2147483647 w 953"/>
              <a:gd name="T53" fmla="*/ 2147483647 h 896"/>
              <a:gd name="T54" fmla="*/ 2147483647 w 953"/>
              <a:gd name="T55" fmla="*/ 2147483647 h 896"/>
              <a:gd name="T56" fmla="*/ 2147483647 w 953"/>
              <a:gd name="T57" fmla="*/ 2147483647 h 896"/>
              <a:gd name="T58" fmla="*/ 2147483647 w 953"/>
              <a:gd name="T59" fmla="*/ 2147483647 h 896"/>
              <a:gd name="T60" fmla="*/ 2147483647 w 953"/>
              <a:gd name="T61" fmla="*/ 2147483647 h 896"/>
              <a:gd name="T62" fmla="*/ 2147483647 w 953"/>
              <a:gd name="T63" fmla="*/ 2147483647 h 896"/>
              <a:gd name="T64" fmla="*/ 2147483647 w 953"/>
              <a:gd name="T65" fmla="*/ 2147483647 h 896"/>
              <a:gd name="T66" fmla="*/ 2147483647 w 953"/>
              <a:gd name="T67" fmla="*/ 2147483647 h 896"/>
              <a:gd name="T68" fmla="*/ 2147483647 w 953"/>
              <a:gd name="T69" fmla="*/ 2147483647 h 896"/>
              <a:gd name="T70" fmla="*/ 2147483647 w 953"/>
              <a:gd name="T71" fmla="*/ 2147483647 h 896"/>
              <a:gd name="T72" fmla="*/ 2147483647 w 953"/>
              <a:gd name="T73" fmla="*/ 2147483647 h 896"/>
              <a:gd name="T74" fmla="*/ 2147483647 w 953"/>
              <a:gd name="T75" fmla="*/ 2147483647 h 896"/>
              <a:gd name="T76" fmla="*/ 2147483647 w 953"/>
              <a:gd name="T77" fmla="*/ 2147483647 h 896"/>
              <a:gd name="T78" fmla="*/ 2147483647 w 953"/>
              <a:gd name="T79" fmla="*/ 2147483647 h 896"/>
              <a:gd name="T80" fmla="*/ 2147483647 w 953"/>
              <a:gd name="T81" fmla="*/ 2147483647 h 896"/>
              <a:gd name="T82" fmla="*/ 2147483647 w 953"/>
              <a:gd name="T83" fmla="*/ 2147483647 h 896"/>
              <a:gd name="T84" fmla="*/ 2147483647 w 953"/>
              <a:gd name="T85" fmla="*/ 2147483647 h 896"/>
              <a:gd name="T86" fmla="*/ 2147483647 w 953"/>
              <a:gd name="T87" fmla="*/ 2147483647 h 896"/>
              <a:gd name="T88" fmla="*/ 2147483647 w 953"/>
              <a:gd name="T89" fmla="*/ 2147483647 h 896"/>
              <a:gd name="T90" fmla="*/ 2147483647 w 953"/>
              <a:gd name="T91" fmla="*/ 2147483647 h 896"/>
              <a:gd name="T92" fmla="*/ 2147483647 w 953"/>
              <a:gd name="T93" fmla="*/ 2147483647 h 896"/>
              <a:gd name="T94" fmla="*/ 2147483647 w 953"/>
              <a:gd name="T95" fmla="*/ 2147483647 h 896"/>
              <a:gd name="T96" fmla="*/ 2147483647 w 953"/>
              <a:gd name="T97" fmla="*/ 2147483647 h 896"/>
              <a:gd name="T98" fmla="*/ 2147483647 w 953"/>
              <a:gd name="T99" fmla="*/ 2147483647 h 896"/>
              <a:gd name="T100" fmla="*/ 2147483647 w 953"/>
              <a:gd name="T101" fmla="*/ 2147483647 h 896"/>
              <a:gd name="T102" fmla="*/ 2147483647 w 953"/>
              <a:gd name="T103" fmla="*/ 2147483647 h 896"/>
              <a:gd name="T104" fmla="*/ 2147483647 w 953"/>
              <a:gd name="T105" fmla="*/ 2147483647 h 896"/>
              <a:gd name="T106" fmla="*/ 2147483647 w 953"/>
              <a:gd name="T107" fmla="*/ 2147483647 h 896"/>
              <a:gd name="T108" fmla="*/ 2147483647 w 953"/>
              <a:gd name="T109" fmla="*/ 2147483647 h 896"/>
              <a:gd name="T110" fmla="*/ 2147483647 w 953"/>
              <a:gd name="T111" fmla="*/ 2147483647 h 896"/>
              <a:gd name="T112" fmla="*/ 2147483647 w 953"/>
              <a:gd name="T113" fmla="*/ 2147483647 h 896"/>
              <a:gd name="T114" fmla="*/ 2147483647 w 953"/>
              <a:gd name="T115" fmla="*/ 2147483647 h 896"/>
              <a:gd name="T116" fmla="*/ 2147483647 w 953"/>
              <a:gd name="T117" fmla="*/ 2147483647 h 896"/>
              <a:gd name="T118" fmla="*/ 2147483647 w 953"/>
              <a:gd name="T119" fmla="*/ 2147483647 h 89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53"/>
              <a:gd name="T181" fmla="*/ 0 h 896"/>
              <a:gd name="T182" fmla="*/ 953 w 953"/>
              <a:gd name="T183" fmla="*/ 896 h 89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53" h="896">
                <a:moveTo>
                  <a:pt x="465" y="771"/>
                </a:moveTo>
                <a:lnTo>
                  <a:pt x="454" y="771"/>
                </a:lnTo>
                <a:lnTo>
                  <a:pt x="448" y="771"/>
                </a:lnTo>
                <a:lnTo>
                  <a:pt x="442" y="771"/>
                </a:lnTo>
                <a:lnTo>
                  <a:pt x="437" y="771"/>
                </a:lnTo>
                <a:lnTo>
                  <a:pt x="431" y="777"/>
                </a:lnTo>
                <a:lnTo>
                  <a:pt x="425" y="777"/>
                </a:lnTo>
                <a:lnTo>
                  <a:pt x="420" y="777"/>
                </a:lnTo>
                <a:lnTo>
                  <a:pt x="414" y="777"/>
                </a:lnTo>
                <a:lnTo>
                  <a:pt x="408" y="771"/>
                </a:lnTo>
                <a:lnTo>
                  <a:pt x="414" y="771"/>
                </a:lnTo>
                <a:lnTo>
                  <a:pt x="414" y="765"/>
                </a:lnTo>
                <a:lnTo>
                  <a:pt x="420" y="760"/>
                </a:lnTo>
                <a:lnTo>
                  <a:pt x="420" y="754"/>
                </a:lnTo>
                <a:lnTo>
                  <a:pt x="420" y="748"/>
                </a:lnTo>
                <a:lnTo>
                  <a:pt x="414" y="748"/>
                </a:lnTo>
                <a:lnTo>
                  <a:pt x="403" y="748"/>
                </a:lnTo>
                <a:lnTo>
                  <a:pt x="397" y="748"/>
                </a:lnTo>
                <a:lnTo>
                  <a:pt x="397" y="743"/>
                </a:lnTo>
                <a:lnTo>
                  <a:pt x="397" y="737"/>
                </a:lnTo>
                <a:lnTo>
                  <a:pt x="397" y="731"/>
                </a:lnTo>
                <a:lnTo>
                  <a:pt x="397" y="726"/>
                </a:lnTo>
                <a:lnTo>
                  <a:pt x="397" y="720"/>
                </a:lnTo>
                <a:lnTo>
                  <a:pt x="403" y="720"/>
                </a:lnTo>
                <a:lnTo>
                  <a:pt x="403" y="714"/>
                </a:lnTo>
                <a:lnTo>
                  <a:pt x="408" y="709"/>
                </a:lnTo>
                <a:lnTo>
                  <a:pt x="414" y="709"/>
                </a:lnTo>
                <a:lnTo>
                  <a:pt x="414" y="703"/>
                </a:lnTo>
                <a:lnTo>
                  <a:pt x="420" y="703"/>
                </a:lnTo>
                <a:lnTo>
                  <a:pt x="425" y="697"/>
                </a:lnTo>
                <a:lnTo>
                  <a:pt x="425" y="692"/>
                </a:lnTo>
                <a:lnTo>
                  <a:pt x="425" y="686"/>
                </a:lnTo>
                <a:lnTo>
                  <a:pt x="431" y="680"/>
                </a:lnTo>
                <a:lnTo>
                  <a:pt x="431" y="675"/>
                </a:lnTo>
                <a:lnTo>
                  <a:pt x="437" y="675"/>
                </a:lnTo>
                <a:lnTo>
                  <a:pt x="442" y="675"/>
                </a:lnTo>
                <a:lnTo>
                  <a:pt x="442" y="669"/>
                </a:lnTo>
                <a:lnTo>
                  <a:pt x="437" y="669"/>
                </a:lnTo>
                <a:lnTo>
                  <a:pt x="437" y="663"/>
                </a:lnTo>
                <a:lnTo>
                  <a:pt x="431" y="663"/>
                </a:lnTo>
                <a:lnTo>
                  <a:pt x="425" y="663"/>
                </a:lnTo>
                <a:lnTo>
                  <a:pt x="425" y="658"/>
                </a:lnTo>
                <a:lnTo>
                  <a:pt x="420" y="658"/>
                </a:lnTo>
                <a:lnTo>
                  <a:pt x="414" y="652"/>
                </a:lnTo>
                <a:lnTo>
                  <a:pt x="414" y="646"/>
                </a:lnTo>
                <a:lnTo>
                  <a:pt x="420" y="646"/>
                </a:lnTo>
                <a:lnTo>
                  <a:pt x="420" y="641"/>
                </a:lnTo>
                <a:lnTo>
                  <a:pt x="425" y="641"/>
                </a:lnTo>
                <a:lnTo>
                  <a:pt x="425" y="635"/>
                </a:lnTo>
                <a:lnTo>
                  <a:pt x="420" y="635"/>
                </a:lnTo>
                <a:lnTo>
                  <a:pt x="414" y="635"/>
                </a:lnTo>
                <a:lnTo>
                  <a:pt x="408" y="635"/>
                </a:lnTo>
                <a:lnTo>
                  <a:pt x="403" y="635"/>
                </a:lnTo>
                <a:lnTo>
                  <a:pt x="397" y="629"/>
                </a:lnTo>
                <a:lnTo>
                  <a:pt x="397" y="624"/>
                </a:lnTo>
                <a:lnTo>
                  <a:pt x="397" y="618"/>
                </a:lnTo>
                <a:lnTo>
                  <a:pt x="403" y="618"/>
                </a:lnTo>
                <a:lnTo>
                  <a:pt x="408" y="618"/>
                </a:lnTo>
                <a:lnTo>
                  <a:pt x="414" y="612"/>
                </a:lnTo>
                <a:lnTo>
                  <a:pt x="420" y="607"/>
                </a:lnTo>
                <a:lnTo>
                  <a:pt x="425" y="607"/>
                </a:lnTo>
                <a:lnTo>
                  <a:pt x="425" y="601"/>
                </a:lnTo>
                <a:lnTo>
                  <a:pt x="425" y="595"/>
                </a:lnTo>
                <a:lnTo>
                  <a:pt x="425" y="590"/>
                </a:lnTo>
                <a:lnTo>
                  <a:pt x="425" y="578"/>
                </a:lnTo>
                <a:lnTo>
                  <a:pt x="425" y="567"/>
                </a:lnTo>
                <a:lnTo>
                  <a:pt x="420" y="561"/>
                </a:lnTo>
                <a:lnTo>
                  <a:pt x="420" y="556"/>
                </a:lnTo>
                <a:lnTo>
                  <a:pt x="425" y="544"/>
                </a:lnTo>
                <a:lnTo>
                  <a:pt x="425" y="539"/>
                </a:lnTo>
                <a:lnTo>
                  <a:pt x="425" y="533"/>
                </a:lnTo>
                <a:lnTo>
                  <a:pt x="420" y="533"/>
                </a:lnTo>
                <a:lnTo>
                  <a:pt x="420" y="527"/>
                </a:lnTo>
                <a:lnTo>
                  <a:pt x="414" y="527"/>
                </a:lnTo>
                <a:lnTo>
                  <a:pt x="408" y="522"/>
                </a:lnTo>
                <a:lnTo>
                  <a:pt x="403" y="522"/>
                </a:lnTo>
                <a:lnTo>
                  <a:pt x="397" y="522"/>
                </a:lnTo>
                <a:lnTo>
                  <a:pt x="386" y="527"/>
                </a:lnTo>
                <a:lnTo>
                  <a:pt x="380" y="527"/>
                </a:lnTo>
                <a:lnTo>
                  <a:pt x="374" y="527"/>
                </a:lnTo>
                <a:lnTo>
                  <a:pt x="369" y="527"/>
                </a:lnTo>
                <a:lnTo>
                  <a:pt x="357" y="527"/>
                </a:lnTo>
                <a:lnTo>
                  <a:pt x="346" y="522"/>
                </a:lnTo>
                <a:lnTo>
                  <a:pt x="340" y="522"/>
                </a:lnTo>
                <a:lnTo>
                  <a:pt x="329" y="522"/>
                </a:lnTo>
                <a:lnTo>
                  <a:pt x="323" y="522"/>
                </a:lnTo>
                <a:lnTo>
                  <a:pt x="318" y="522"/>
                </a:lnTo>
                <a:lnTo>
                  <a:pt x="312" y="522"/>
                </a:lnTo>
                <a:lnTo>
                  <a:pt x="306" y="516"/>
                </a:lnTo>
                <a:lnTo>
                  <a:pt x="301" y="510"/>
                </a:lnTo>
                <a:lnTo>
                  <a:pt x="289" y="505"/>
                </a:lnTo>
                <a:lnTo>
                  <a:pt x="289" y="499"/>
                </a:lnTo>
                <a:lnTo>
                  <a:pt x="284" y="499"/>
                </a:lnTo>
                <a:lnTo>
                  <a:pt x="284" y="493"/>
                </a:lnTo>
                <a:lnTo>
                  <a:pt x="284" y="488"/>
                </a:lnTo>
                <a:lnTo>
                  <a:pt x="284" y="482"/>
                </a:lnTo>
                <a:lnTo>
                  <a:pt x="289" y="482"/>
                </a:lnTo>
                <a:lnTo>
                  <a:pt x="295" y="476"/>
                </a:lnTo>
                <a:lnTo>
                  <a:pt x="295" y="471"/>
                </a:lnTo>
                <a:lnTo>
                  <a:pt x="301" y="471"/>
                </a:lnTo>
                <a:lnTo>
                  <a:pt x="301" y="465"/>
                </a:lnTo>
                <a:lnTo>
                  <a:pt x="306" y="465"/>
                </a:lnTo>
                <a:lnTo>
                  <a:pt x="312" y="465"/>
                </a:lnTo>
                <a:lnTo>
                  <a:pt x="312" y="459"/>
                </a:lnTo>
                <a:lnTo>
                  <a:pt x="318" y="454"/>
                </a:lnTo>
                <a:lnTo>
                  <a:pt x="323" y="448"/>
                </a:lnTo>
                <a:lnTo>
                  <a:pt x="329" y="448"/>
                </a:lnTo>
                <a:lnTo>
                  <a:pt x="329" y="442"/>
                </a:lnTo>
                <a:lnTo>
                  <a:pt x="335" y="442"/>
                </a:lnTo>
                <a:lnTo>
                  <a:pt x="335" y="437"/>
                </a:lnTo>
                <a:lnTo>
                  <a:pt x="340" y="431"/>
                </a:lnTo>
                <a:lnTo>
                  <a:pt x="340" y="425"/>
                </a:lnTo>
                <a:lnTo>
                  <a:pt x="335" y="425"/>
                </a:lnTo>
                <a:lnTo>
                  <a:pt x="335" y="420"/>
                </a:lnTo>
                <a:lnTo>
                  <a:pt x="329" y="414"/>
                </a:lnTo>
                <a:lnTo>
                  <a:pt x="323" y="408"/>
                </a:lnTo>
                <a:lnTo>
                  <a:pt x="318" y="408"/>
                </a:lnTo>
                <a:lnTo>
                  <a:pt x="312" y="408"/>
                </a:lnTo>
                <a:lnTo>
                  <a:pt x="306" y="408"/>
                </a:lnTo>
                <a:lnTo>
                  <a:pt x="301" y="408"/>
                </a:lnTo>
                <a:lnTo>
                  <a:pt x="295" y="403"/>
                </a:lnTo>
                <a:lnTo>
                  <a:pt x="289" y="403"/>
                </a:lnTo>
                <a:lnTo>
                  <a:pt x="289" y="397"/>
                </a:lnTo>
                <a:lnTo>
                  <a:pt x="295" y="391"/>
                </a:lnTo>
                <a:lnTo>
                  <a:pt x="295" y="385"/>
                </a:lnTo>
                <a:lnTo>
                  <a:pt x="301" y="380"/>
                </a:lnTo>
                <a:lnTo>
                  <a:pt x="301" y="374"/>
                </a:lnTo>
                <a:lnTo>
                  <a:pt x="301" y="368"/>
                </a:lnTo>
                <a:lnTo>
                  <a:pt x="301" y="357"/>
                </a:lnTo>
                <a:lnTo>
                  <a:pt x="295" y="357"/>
                </a:lnTo>
                <a:lnTo>
                  <a:pt x="289" y="351"/>
                </a:lnTo>
                <a:lnTo>
                  <a:pt x="289" y="346"/>
                </a:lnTo>
                <a:lnTo>
                  <a:pt x="284" y="346"/>
                </a:lnTo>
                <a:lnTo>
                  <a:pt x="272" y="346"/>
                </a:lnTo>
                <a:lnTo>
                  <a:pt x="267" y="346"/>
                </a:lnTo>
                <a:lnTo>
                  <a:pt x="261" y="346"/>
                </a:lnTo>
                <a:lnTo>
                  <a:pt x="261" y="340"/>
                </a:lnTo>
                <a:lnTo>
                  <a:pt x="261" y="334"/>
                </a:lnTo>
                <a:lnTo>
                  <a:pt x="261" y="329"/>
                </a:lnTo>
                <a:lnTo>
                  <a:pt x="267" y="329"/>
                </a:lnTo>
                <a:lnTo>
                  <a:pt x="267" y="323"/>
                </a:lnTo>
                <a:lnTo>
                  <a:pt x="261" y="317"/>
                </a:lnTo>
                <a:lnTo>
                  <a:pt x="261" y="312"/>
                </a:lnTo>
                <a:lnTo>
                  <a:pt x="255" y="312"/>
                </a:lnTo>
                <a:lnTo>
                  <a:pt x="250" y="312"/>
                </a:lnTo>
                <a:lnTo>
                  <a:pt x="244" y="306"/>
                </a:lnTo>
                <a:lnTo>
                  <a:pt x="233" y="306"/>
                </a:lnTo>
                <a:lnTo>
                  <a:pt x="227" y="306"/>
                </a:lnTo>
                <a:lnTo>
                  <a:pt x="227" y="312"/>
                </a:lnTo>
                <a:lnTo>
                  <a:pt x="221" y="312"/>
                </a:lnTo>
                <a:lnTo>
                  <a:pt x="216" y="312"/>
                </a:lnTo>
                <a:lnTo>
                  <a:pt x="216" y="317"/>
                </a:lnTo>
                <a:lnTo>
                  <a:pt x="221" y="317"/>
                </a:lnTo>
                <a:lnTo>
                  <a:pt x="227" y="323"/>
                </a:lnTo>
                <a:lnTo>
                  <a:pt x="227" y="329"/>
                </a:lnTo>
                <a:lnTo>
                  <a:pt x="210" y="329"/>
                </a:lnTo>
                <a:lnTo>
                  <a:pt x="199" y="329"/>
                </a:lnTo>
                <a:lnTo>
                  <a:pt x="199" y="334"/>
                </a:lnTo>
                <a:lnTo>
                  <a:pt x="187" y="334"/>
                </a:lnTo>
                <a:lnTo>
                  <a:pt x="182" y="334"/>
                </a:lnTo>
                <a:lnTo>
                  <a:pt x="182" y="340"/>
                </a:lnTo>
                <a:lnTo>
                  <a:pt x="176" y="340"/>
                </a:lnTo>
                <a:lnTo>
                  <a:pt x="170" y="340"/>
                </a:lnTo>
                <a:lnTo>
                  <a:pt x="165" y="340"/>
                </a:lnTo>
                <a:lnTo>
                  <a:pt x="159" y="346"/>
                </a:lnTo>
                <a:lnTo>
                  <a:pt x="153" y="340"/>
                </a:lnTo>
                <a:lnTo>
                  <a:pt x="148" y="334"/>
                </a:lnTo>
                <a:lnTo>
                  <a:pt x="148" y="329"/>
                </a:lnTo>
                <a:lnTo>
                  <a:pt x="148" y="323"/>
                </a:lnTo>
                <a:lnTo>
                  <a:pt x="142" y="323"/>
                </a:lnTo>
                <a:lnTo>
                  <a:pt x="142" y="317"/>
                </a:lnTo>
                <a:lnTo>
                  <a:pt x="136" y="317"/>
                </a:lnTo>
                <a:lnTo>
                  <a:pt x="131" y="317"/>
                </a:lnTo>
                <a:lnTo>
                  <a:pt x="131" y="323"/>
                </a:lnTo>
                <a:lnTo>
                  <a:pt x="125" y="323"/>
                </a:lnTo>
                <a:lnTo>
                  <a:pt x="125" y="329"/>
                </a:lnTo>
                <a:lnTo>
                  <a:pt x="119" y="329"/>
                </a:lnTo>
                <a:lnTo>
                  <a:pt x="114" y="329"/>
                </a:lnTo>
                <a:lnTo>
                  <a:pt x="114" y="334"/>
                </a:lnTo>
                <a:lnTo>
                  <a:pt x="108" y="334"/>
                </a:lnTo>
                <a:lnTo>
                  <a:pt x="108" y="340"/>
                </a:lnTo>
                <a:lnTo>
                  <a:pt x="97" y="346"/>
                </a:lnTo>
                <a:lnTo>
                  <a:pt x="91" y="346"/>
                </a:lnTo>
                <a:lnTo>
                  <a:pt x="91" y="351"/>
                </a:lnTo>
                <a:lnTo>
                  <a:pt x="91" y="357"/>
                </a:lnTo>
                <a:lnTo>
                  <a:pt x="85" y="357"/>
                </a:lnTo>
                <a:lnTo>
                  <a:pt x="80" y="357"/>
                </a:lnTo>
                <a:lnTo>
                  <a:pt x="80" y="363"/>
                </a:lnTo>
                <a:lnTo>
                  <a:pt x="74" y="363"/>
                </a:lnTo>
                <a:lnTo>
                  <a:pt x="74" y="368"/>
                </a:lnTo>
                <a:lnTo>
                  <a:pt x="68" y="368"/>
                </a:lnTo>
                <a:lnTo>
                  <a:pt x="63" y="368"/>
                </a:lnTo>
                <a:lnTo>
                  <a:pt x="63" y="374"/>
                </a:lnTo>
                <a:lnTo>
                  <a:pt x="63" y="380"/>
                </a:lnTo>
                <a:lnTo>
                  <a:pt x="57" y="380"/>
                </a:lnTo>
                <a:lnTo>
                  <a:pt x="57" y="385"/>
                </a:lnTo>
                <a:lnTo>
                  <a:pt x="51" y="397"/>
                </a:lnTo>
                <a:lnTo>
                  <a:pt x="46" y="397"/>
                </a:lnTo>
                <a:lnTo>
                  <a:pt x="46" y="403"/>
                </a:lnTo>
                <a:lnTo>
                  <a:pt x="40" y="403"/>
                </a:lnTo>
                <a:lnTo>
                  <a:pt x="34" y="403"/>
                </a:lnTo>
                <a:lnTo>
                  <a:pt x="29" y="403"/>
                </a:lnTo>
                <a:lnTo>
                  <a:pt x="23" y="403"/>
                </a:lnTo>
                <a:lnTo>
                  <a:pt x="17" y="403"/>
                </a:lnTo>
                <a:lnTo>
                  <a:pt x="17" y="397"/>
                </a:lnTo>
                <a:lnTo>
                  <a:pt x="17" y="391"/>
                </a:lnTo>
                <a:lnTo>
                  <a:pt x="17" y="385"/>
                </a:lnTo>
                <a:lnTo>
                  <a:pt x="17" y="380"/>
                </a:lnTo>
                <a:lnTo>
                  <a:pt x="12" y="380"/>
                </a:lnTo>
                <a:lnTo>
                  <a:pt x="12" y="374"/>
                </a:lnTo>
                <a:lnTo>
                  <a:pt x="6" y="374"/>
                </a:lnTo>
                <a:lnTo>
                  <a:pt x="0" y="374"/>
                </a:lnTo>
                <a:lnTo>
                  <a:pt x="0" y="368"/>
                </a:lnTo>
                <a:lnTo>
                  <a:pt x="0" y="363"/>
                </a:lnTo>
                <a:lnTo>
                  <a:pt x="0" y="357"/>
                </a:lnTo>
                <a:lnTo>
                  <a:pt x="0" y="351"/>
                </a:lnTo>
                <a:lnTo>
                  <a:pt x="0" y="346"/>
                </a:lnTo>
                <a:lnTo>
                  <a:pt x="6" y="340"/>
                </a:lnTo>
                <a:lnTo>
                  <a:pt x="6" y="334"/>
                </a:lnTo>
                <a:lnTo>
                  <a:pt x="12" y="334"/>
                </a:lnTo>
                <a:lnTo>
                  <a:pt x="12" y="329"/>
                </a:lnTo>
                <a:lnTo>
                  <a:pt x="6" y="317"/>
                </a:lnTo>
                <a:lnTo>
                  <a:pt x="6" y="312"/>
                </a:lnTo>
                <a:lnTo>
                  <a:pt x="12" y="312"/>
                </a:lnTo>
                <a:lnTo>
                  <a:pt x="12" y="300"/>
                </a:lnTo>
                <a:lnTo>
                  <a:pt x="6" y="300"/>
                </a:lnTo>
                <a:lnTo>
                  <a:pt x="6" y="295"/>
                </a:lnTo>
                <a:lnTo>
                  <a:pt x="6" y="289"/>
                </a:lnTo>
                <a:lnTo>
                  <a:pt x="0" y="289"/>
                </a:lnTo>
                <a:lnTo>
                  <a:pt x="0" y="283"/>
                </a:lnTo>
                <a:lnTo>
                  <a:pt x="0" y="278"/>
                </a:lnTo>
                <a:lnTo>
                  <a:pt x="6" y="272"/>
                </a:lnTo>
                <a:lnTo>
                  <a:pt x="6" y="266"/>
                </a:lnTo>
                <a:lnTo>
                  <a:pt x="6" y="261"/>
                </a:lnTo>
                <a:lnTo>
                  <a:pt x="6" y="255"/>
                </a:lnTo>
                <a:lnTo>
                  <a:pt x="6" y="249"/>
                </a:lnTo>
                <a:lnTo>
                  <a:pt x="12" y="244"/>
                </a:lnTo>
                <a:lnTo>
                  <a:pt x="17" y="238"/>
                </a:lnTo>
                <a:lnTo>
                  <a:pt x="17" y="232"/>
                </a:lnTo>
                <a:lnTo>
                  <a:pt x="23" y="227"/>
                </a:lnTo>
                <a:lnTo>
                  <a:pt x="29" y="227"/>
                </a:lnTo>
                <a:lnTo>
                  <a:pt x="34" y="227"/>
                </a:lnTo>
                <a:lnTo>
                  <a:pt x="40" y="227"/>
                </a:lnTo>
                <a:lnTo>
                  <a:pt x="46" y="227"/>
                </a:lnTo>
                <a:lnTo>
                  <a:pt x="46" y="221"/>
                </a:lnTo>
                <a:lnTo>
                  <a:pt x="46" y="215"/>
                </a:lnTo>
                <a:lnTo>
                  <a:pt x="51" y="215"/>
                </a:lnTo>
                <a:lnTo>
                  <a:pt x="51" y="204"/>
                </a:lnTo>
                <a:lnTo>
                  <a:pt x="57" y="204"/>
                </a:lnTo>
                <a:lnTo>
                  <a:pt x="57" y="198"/>
                </a:lnTo>
                <a:lnTo>
                  <a:pt x="63" y="193"/>
                </a:lnTo>
                <a:lnTo>
                  <a:pt x="68" y="193"/>
                </a:lnTo>
                <a:lnTo>
                  <a:pt x="68" y="187"/>
                </a:lnTo>
                <a:lnTo>
                  <a:pt x="74" y="187"/>
                </a:lnTo>
                <a:lnTo>
                  <a:pt x="74" y="181"/>
                </a:lnTo>
                <a:lnTo>
                  <a:pt x="80" y="181"/>
                </a:lnTo>
                <a:lnTo>
                  <a:pt x="91" y="176"/>
                </a:lnTo>
                <a:lnTo>
                  <a:pt x="91" y="170"/>
                </a:lnTo>
                <a:lnTo>
                  <a:pt x="102" y="170"/>
                </a:lnTo>
                <a:lnTo>
                  <a:pt x="102" y="164"/>
                </a:lnTo>
                <a:lnTo>
                  <a:pt x="108" y="164"/>
                </a:lnTo>
                <a:lnTo>
                  <a:pt x="114" y="170"/>
                </a:lnTo>
                <a:lnTo>
                  <a:pt x="119" y="170"/>
                </a:lnTo>
                <a:lnTo>
                  <a:pt x="125" y="176"/>
                </a:lnTo>
                <a:lnTo>
                  <a:pt x="131" y="176"/>
                </a:lnTo>
                <a:lnTo>
                  <a:pt x="142" y="176"/>
                </a:lnTo>
                <a:lnTo>
                  <a:pt x="148" y="176"/>
                </a:lnTo>
                <a:lnTo>
                  <a:pt x="153" y="176"/>
                </a:lnTo>
                <a:lnTo>
                  <a:pt x="159" y="176"/>
                </a:lnTo>
                <a:lnTo>
                  <a:pt x="176" y="170"/>
                </a:lnTo>
                <a:lnTo>
                  <a:pt x="182" y="170"/>
                </a:lnTo>
                <a:lnTo>
                  <a:pt x="187" y="164"/>
                </a:lnTo>
                <a:lnTo>
                  <a:pt x="193" y="164"/>
                </a:lnTo>
                <a:lnTo>
                  <a:pt x="199" y="164"/>
                </a:lnTo>
                <a:lnTo>
                  <a:pt x="199" y="159"/>
                </a:lnTo>
                <a:lnTo>
                  <a:pt x="204" y="159"/>
                </a:lnTo>
                <a:lnTo>
                  <a:pt x="210" y="153"/>
                </a:lnTo>
                <a:lnTo>
                  <a:pt x="216" y="147"/>
                </a:lnTo>
                <a:lnTo>
                  <a:pt x="216" y="142"/>
                </a:lnTo>
                <a:lnTo>
                  <a:pt x="221" y="142"/>
                </a:lnTo>
                <a:lnTo>
                  <a:pt x="221" y="136"/>
                </a:lnTo>
                <a:lnTo>
                  <a:pt x="227" y="130"/>
                </a:lnTo>
                <a:lnTo>
                  <a:pt x="227" y="125"/>
                </a:lnTo>
                <a:lnTo>
                  <a:pt x="227" y="119"/>
                </a:lnTo>
                <a:lnTo>
                  <a:pt x="227" y="108"/>
                </a:lnTo>
                <a:lnTo>
                  <a:pt x="233" y="96"/>
                </a:lnTo>
                <a:lnTo>
                  <a:pt x="233" y="91"/>
                </a:lnTo>
                <a:lnTo>
                  <a:pt x="238" y="85"/>
                </a:lnTo>
                <a:lnTo>
                  <a:pt x="244" y="85"/>
                </a:lnTo>
                <a:lnTo>
                  <a:pt x="244" y="79"/>
                </a:lnTo>
                <a:lnTo>
                  <a:pt x="250" y="79"/>
                </a:lnTo>
                <a:lnTo>
                  <a:pt x="255" y="79"/>
                </a:lnTo>
                <a:lnTo>
                  <a:pt x="255" y="74"/>
                </a:lnTo>
                <a:lnTo>
                  <a:pt x="261" y="74"/>
                </a:lnTo>
                <a:lnTo>
                  <a:pt x="261" y="68"/>
                </a:lnTo>
                <a:lnTo>
                  <a:pt x="267" y="68"/>
                </a:lnTo>
                <a:lnTo>
                  <a:pt x="272" y="62"/>
                </a:lnTo>
                <a:lnTo>
                  <a:pt x="278" y="57"/>
                </a:lnTo>
                <a:lnTo>
                  <a:pt x="284" y="51"/>
                </a:lnTo>
                <a:lnTo>
                  <a:pt x="278" y="45"/>
                </a:lnTo>
                <a:lnTo>
                  <a:pt x="284" y="51"/>
                </a:lnTo>
                <a:lnTo>
                  <a:pt x="289" y="51"/>
                </a:lnTo>
                <a:lnTo>
                  <a:pt x="295" y="51"/>
                </a:lnTo>
                <a:lnTo>
                  <a:pt x="306" y="51"/>
                </a:lnTo>
                <a:lnTo>
                  <a:pt x="312" y="57"/>
                </a:lnTo>
                <a:lnTo>
                  <a:pt x="318" y="57"/>
                </a:lnTo>
                <a:lnTo>
                  <a:pt x="318" y="62"/>
                </a:lnTo>
                <a:lnTo>
                  <a:pt x="318" y="68"/>
                </a:lnTo>
                <a:lnTo>
                  <a:pt x="318" y="79"/>
                </a:lnTo>
                <a:lnTo>
                  <a:pt x="312" y="79"/>
                </a:lnTo>
                <a:lnTo>
                  <a:pt x="312" y="85"/>
                </a:lnTo>
                <a:lnTo>
                  <a:pt x="312" y="91"/>
                </a:lnTo>
                <a:lnTo>
                  <a:pt x="312" y="96"/>
                </a:lnTo>
                <a:lnTo>
                  <a:pt x="318" y="96"/>
                </a:lnTo>
                <a:lnTo>
                  <a:pt x="318" y="102"/>
                </a:lnTo>
                <a:lnTo>
                  <a:pt x="323" y="102"/>
                </a:lnTo>
                <a:lnTo>
                  <a:pt x="329" y="108"/>
                </a:lnTo>
                <a:lnTo>
                  <a:pt x="335" y="108"/>
                </a:lnTo>
                <a:lnTo>
                  <a:pt x="340" y="108"/>
                </a:lnTo>
                <a:lnTo>
                  <a:pt x="340" y="113"/>
                </a:lnTo>
                <a:lnTo>
                  <a:pt x="346" y="113"/>
                </a:lnTo>
                <a:lnTo>
                  <a:pt x="346" y="119"/>
                </a:lnTo>
                <a:lnTo>
                  <a:pt x="352" y="119"/>
                </a:lnTo>
                <a:lnTo>
                  <a:pt x="357" y="125"/>
                </a:lnTo>
                <a:lnTo>
                  <a:pt x="357" y="130"/>
                </a:lnTo>
                <a:lnTo>
                  <a:pt x="369" y="136"/>
                </a:lnTo>
                <a:lnTo>
                  <a:pt x="374" y="136"/>
                </a:lnTo>
                <a:lnTo>
                  <a:pt x="380" y="130"/>
                </a:lnTo>
                <a:lnTo>
                  <a:pt x="386" y="130"/>
                </a:lnTo>
                <a:lnTo>
                  <a:pt x="386" y="125"/>
                </a:lnTo>
                <a:lnTo>
                  <a:pt x="386" y="119"/>
                </a:lnTo>
                <a:lnTo>
                  <a:pt x="386" y="113"/>
                </a:lnTo>
                <a:lnTo>
                  <a:pt x="386" y="108"/>
                </a:lnTo>
                <a:lnTo>
                  <a:pt x="386" y="96"/>
                </a:lnTo>
                <a:lnTo>
                  <a:pt x="386" y="91"/>
                </a:lnTo>
                <a:lnTo>
                  <a:pt x="386" y="85"/>
                </a:lnTo>
                <a:lnTo>
                  <a:pt x="397" y="79"/>
                </a:lnTo>
                <a:lnTo>
                  <a:pt x="408" y="79"/>
                </a:lnTo>
                <a:lnTo>
                  <a:pt x="414" y="79"/>
                </a:lnTo>
                <a:lnTo>
                  <a:pt x="420" y="85"/>
                </a:lnTo>
                <a:lnTo>
                  <a:pt x="425" y="85"/>
                </a:lnTo>
                <a:lnTo>
                  <a:pt x="431" y="85"/>
                </a:lnTo>
                <a:lnTo>
                  <a:pt x="437" y="85"/>
                </a:lnTo>
                <a:lnTo>
                  <a:pt x="437" y="79"/>
                </a:lnTo>
                <a:lnTo>
                  <a:pt x="442" y="79"/>
                </a:lnTo>
                <a:lnTo>
                  <a:pt x="442" y="62"/>
                </a:lnTo>
                <a:lnTo>
                  <a:pt x="448" y="57"/>
                </a:lnTo>
                <a:lnTo>
                  <a:pt x="448" y="51"/>
                </a:lnTo>
                <a:lnTo>
                  <a:pt x="454" y="51"/>
                </a:lnTo>
                <a:lnTo>
                  <a:pt x="460" y="51"/>
                </a:lnTo>
                <a:lnTo>
                  <a:pt x="465" y="45"/>
                </a:lnTo>
                <a:lnTo>
                  <a:pt x="471" y="45"/>
                </a:lnTo>
                <a:lnTo>
                  <a:pt x="482" y="45"/>
                </a:lnTo>
                <a:lnTo>
                  <a:pt x="488" y="45"/>
                </a:lnTo>
                <a:lnTo>
                  <a:pt x="494" y="51"/>
                </a:lnTo>
                <a:lnTo>
                  <a:pt x="499" y="51"/>
                </a:lnTo>
                <a:lnTo>
                  <a:pt x="499" y="57"/>
                </a:lnTo>
                <a:lnTo>
                  <a:pt x="505" y="62"/>
                </a:lnTo>
                <a:lnTo>
                  <a:pt x="511" y="62"/>
                </a:lnTo>
                <a:lnTo>
                  <a:pt x="516" y="68"/>
                </a:lnTo>
                <a:lnTo>
                  <a:pt x="522" y="68"/>
                </a:lnTo>
                <a:lnTo>
                  <a:pt x="528" y="79"/>
                </a:lnTo>
                <a:lnTo>
                  <a:pt x="528" y="85"/>
                </a:lnTo>
                <a:lnTo>
                  <a:pt x="528" y="91"/>
                </a:lnTo>
                <a:lnTo>
                  <a:pt x="528" y="102"/>
                </a:lnTo>
                <a:lnTo>
                  <a:pt x="528" y="108"/>
                </a:lnTo>
                <a:lnTo>
                  <a:pt x="533" y="108"/>
                </a:lnTo>
                <a:lnTo>
                  <a:pt x="539" y="108"/>
                </a:lnTo>
                <a:lnTo>
                  <a:pt x="545" y="108"/>
                </a:lnTo>
                <a:lnTo>
                  <a:pt x="550" y="108"/>
                </a:lnTo>
                <a:lnTo>
                  <a:pt x="556" y="102"/>
                </a:lnTo>
                <a:lnTo>
                  <a:pt x="556" y="96"/>
                </a:lnTo>
                <a:lnTo>
                  <a:pt x="567" y="91"/>
                </a:lnTo>
                <a:lnTo>
                  <a:pt x="573" y="91"/>
                </a:lnTo>
                <a:lnTo>
                  <a:pt x="573" y="85"/>
                </a:lnTo>
                <a:lnTo>
                  <a:pt x="579" y="85"/>
                </a:lnTo>
                <a:lnTo>
                  <a:pt x="579" y="79"/>
                </a:lnTo>
                <a:lnTo>
                  <a:pt x="584" y="79"/>
                </a:lnTo>
                <a:lnTo>
                  <a:pt x="584" y="74"/>
                </a:lnTo>
                <a:lnTo>
                  <a:pt x="590" y="74"/>
                </a:lnTo>
                <a:lnTo>
                  <a:pt x="596" y="68"/>
                </a:lnTo>
                <a:lnTo>
                  <a:pt x="601" y="68"/>
                </a:lnTo>
                <a:lnTo>
                  <a:pt x="613" y="62"/>
                </a:lnTo>
                <a:lnTo>
                  <a:pt x="613" y="57"/>
                </a:lnTo>
                <a:lnTo>
                  <a:pt x="618" y="51"/>
                </a:lnTo>
                <a:lnTo>
                  <a:pt x="624" y="51"/>
                </a:lnTo>
                <a:lnTo>
                  <a:pt x="630" y="45"/>
                </a:lnTo>
                <a:lnTo>
                  <a:pt x="635" y="40"/>
                </a:lnTo>
                <a:lnTo>
                  <a:pt x="641" y="34"/>
                </a:lnTo>
                <a:lnTo>
                  <a:pt x="652" y="23"/>
                </a:lnTo>
                <a:lnTo>
                  <a:pt x="664" y="23"/>
                </a:lnTo>
                <a:lnTo>
                  <a:pt x="669" y="17"/>
                </a:lnTo>
                <a:lnTo>
                  <a:pt x="675" y="11"/>
                </a:lnTo>
                <a:lnTo>
                  <a:pt x="681" y="11"/>
                </a:lnTo>
                <a:lnTo>
                  <a:pt x="686" y="11"/>
                </a:lnTo>
                <a:lnTo>
                  <a:pt x="692" y="11"/>
                </a:lnTo>
                <a:lnTo>
                  <a:pt x="698" y="6"/>
                </a:lnTo>
                <a:lnTo>
                  <a:pt x="703" y="6"/>
                </a:lnTo>
                <a:lnTo>
                  <a:pt x="709" y="6"/>
                </a:lnTo>
                <a:lnTo>
                  <a:pt x="715" y="0"/>
                </a:lnTo>
                <a:lnTo>
                  <a:pt x="720" y="6"/>
                </a:lnTo>
                <a:lnTo>
                  <a:pt x="726" y="17"/>
                </a:lnTo>
                <a:lnTo>
                  <a:pt x="726" y="23"/>
                </a:lnTo>
                <a:lnTo>
                  <a:pt x="726" y="34"/>
                </a:lnTo>
                <a:lnTo>
                  <a:pt x="726" y="40"/>
                </a:lnTo>
                <a:lnTo>
                  <a:pt x="720" y="40"/>
                </a:lnTo>
                <a:lnTo>
                  <a:pt x="720" y="45"/>
                </a:lnTo>
                <a:lnTo>
                  <a:pt x="726" y="45"/>
                </a:lnTo>
                <a:lnTo>
                  <a:pt x="726" y="51"/>
                </a:lnTo>
                <a:lnTo>
                  <a:pt x="726" y="57"/>
                </a:lnTo>
                <a:lnTo>
                  <a:pt x="726" y="62"/>
                </a:lnTo>
                <a:lnTo>
                  <a:pt x="732" y="62"/>
                </a:lnTo>
                <a:lnTo>
                  <a:pt x="737" y="62"/>
                </a:lnTo>
                <a:lnTo>
                  <a:pt x="743" y="62"/>
                </a:lnTo>
                <a:lnTo>
                  <a:pt x="749" y="68"/>
                </a:lnTo>
                <a:lnTo>
                  <a:pt x="754" y="68"/>
                </a:lnTo>
                <a:lnTo>
                  <a:pt x="760" y="74"/>
                </a:lnTo>
                <a:lnTo>
                  <a:pt x="766" y="74"/>
                </a:lnTo>
                <a:lnTo>
                  <a:pt x="766" y="79"/>
                </a:lnTo>
                <a:lnTo>
                  <a:pt x="771" y="79"/>
                </a:lnTo>
                <a:lnTo>
                  <a:pt x="771" y="91"/>
                </a:lnTo>
                <a:lnTo>
                  <a:pt x="777" y="96"/>
                </a:lnTo>
                <a:lnTo>
                  <a:pt x="783" y="102"/>
                </a:lnTo>
                <a:lnTo>
                  <a:pt x="783" y="108"/>
                </a:lnTo>
                <a:lnTo>
                  <a:pt x="788" y="108"/>
                </a:lnTo>
                <a:lnTo>
                  <a:pt x="794" y="108"/>
                </a:lnTo>
                <a:lnTo>
                  <a:pt x="800" y="108"/>
                </a:lnTo>
                <a:lnTo>
                  <a:pt x="805" y="108"/>
                </a:lnTo>
                <a:lnTo>
                  <a:pt x="811" y="108"/>
                </a:lnTo>
                <a:lnTo>
                  <a:pt x="817" y="113"/>
                </a:lnTo>
                <a:lnTo>
                  <a:pt x="828" y="119"/>
                </a:lnTo>
                <a:lnTo>
                  <a:pt x="834" y="119"/>
                </a:lnTo>
                <a:lnTo>
                  <a:pt x="839" y="119"/>
                </a:lnTo>
                <a:lnTo>
                  <a:pt x="839" y="125"/>
                </a:lnTo>
                <a:lnTo>
                  <a:pt x="845" y="125"/>
                </a:lnTo>
                <a:lnTo>
                  <a:pt x="851" y="130"/>
                </a:lnTo>
                <a:lnTo>
                  <a:pt x="856" y="136"/>
                </a:lnTo>
                <a:lnTo>
                  <a:pt x="862" y="136"/>
                </a:lnTo>
                <a:lnTo>
                  <a:pt x="862" y="142"/>
                </a:lnTo>
                <a:lnTo>
                  <a:pt x="868" y="147"/>
                </a:lnTo>
                <a:lnTo>
                  <a:pt x="868" y="153"/>
                </a:lnTo>
                <a:lnTo>
                  <a:pt x="873" y="153"/>
                </a:lnTo>
                <a:lnTo>
                  <a:pt x="873" y="159"/>
                </a:lnTo>
                <a:lnTo>
                  <a:pt x="879" y="159"/>
                </a:lnTo>
                <a:lnTo>
                  <a:pt x="879" y="164"/>
                </a:lnTo>
                <a:lnTo>
                  <a:pt x="879" y="170"/>
                </a:lnTo>
                <a:lnTo>
                  <a:pt x="885" y="170"/>
                </a:lnTo>
                <a:lnTo>
                  <a:pt x="885" y="176"/>
                </a:lnTo>
                <a:lnTo>
                  <a:pt x="885" y="181"/>
                </a:lnTo>
                <a:lnTo>
                  <a:pt x="885" y="187"/>
                </a:lnTo>
                <a:lnTo>
                  <a:pt x="885" y="193"/>
                </a:lnTo>
                <a:lnTo>
                  <a:pt x="879" y="193"/>
                </a:lnTo>
                <a:lnTo>
                  <a:pt x="879" y="215"/>
                </a:lnTo>
                <a:lnTo>
                  <a:pt x="879" y="221"/>
                </a:lnTo>
                <a:lnTo>
                  <a:pt x="879" y="227"/>
                </a:lnTo>
                <a:lnTo>
                  <a:pt x="879" y="232"/>
                </a:lnTo>
                <a:lnTo>
                  <a:pt x="879" y="244"/>
                </a:lnTo>
                <a:lnTo>
                  <a:pt x="879" y="261"/>
                </a:lnTo>
                <a:lnTo>
                  <a:pt x="885" y="272"/>
                </a:lnTo>
                <a:lnTo>
                  <a:pt x="885" y="278"/>
                </a:lnTo>
                <a:lnTo>
                  <a:pt x="885" y="283"/>
                </a:lnTo>
                <a:lnTo>
                  <a:pt x="885" y="289"/>
                </a:lnTo>
                <a:lnTo>
                  <a:pt x="879" y="289"/>
                </a:lnTo>
                <a:lnTo>
                  <a:pt x="873" y="289"/>
                </a:lnTo>
                <a:lnTo>
                  <a:pt x="868" y="289"/>
                </a:lnTo>
                <a:lnTo>
                  <a:pt x="862" y="295"/>
                </a:lnTo>
                <a:lnTo>
                  <a:pt x="862" y="300"/>
                </a:lnTo>
                <a:lnTo>
                  <a:pt x="862" y="306"/>
                </a:lnTo>
                <a:lnTo>
                  <a:pt x="868" y="306"/>
                </a:lnTo>
                <a:lnTo>
                  <a:pt x="873" y="306"/>
                </a:lnTo>
                <a:lnTo>
                  <a:pt x="879" y="312"/>
                </a:lnTo>
                <a:lnTo>
                  <a:pt x="890" y="312"/>
                </a:lnTo>
                <a:lnTo>
                  <a:pt x="896" y="312"/>
                </a:lnTo>
                <a:lnTo>
                  <a:pt x="896" y="317"/>
                </a:lnTo>
                <a:lnTo>
                  <a:pt x="902" y="317"/>
                </a:lnTo>
                <a:lnTo>
                  <a:pt x="902" y="323"/>
                </a:lnTo>
                <a:lnTo>
                  <a:pt x="907" y="329"/>
                </a:lnTo>
                <a:lnTo>
                  <a:pt x="907" y="334"/>
                </a:lnTo>
                <a:lnTo>
                  <a:pt x="913" y="340"/>
                </a:lnTo>
                <a:lnTo>
                  <a:pt x="919" y="340"/>
                </a:lnTo>
                <a:lnTo>
                  <a:pt x="924" y="346"/>
                </a:lnTo>
                <a:lnTo>
                  <a:pt x="930" y="346"/>
                </a:lnTo>
                <a:lnTo>
                  <a:pt x="936" y="346"/>
                </a:lnTo>
                <a:lnTo>
                  <a:pt x="936" y="340"/>
                </a:lnTo>
                <a:lnTo>
                  <a:pt x="941" y="340"/>
                </a:lnTo>
                <a:lnTo>
                  <a:pt x="947" y="346"/>
                </a:lnTo>
                <a:lnTo>
                  <a:pt x="941" y="346"/>
                </a:lnTo>
                <a:lnTo>
                  <a:pt x="941" y="351"/>
                </a:lnTo>
                <a:lnTo>
                  <a:pt x="941" y="357"/>
                </a:lnTo>
                <a:lnTo>
                  <a:pt x="936" y="363"/>
                </a:lnTo>
                <a:lnTo>
                  <a:pt x="936" y="368"/>
                </a:lnTo>
                <a:lnTo>
                  <a:pt x="936" y="374"/>
                </a:lnTo>
                <a:lnTo>
                  <a:pt x="941" y="385"/>
                </a:lnTo>
                <a:lnTo>
                  <a:pt x="947" y="397"/>
                </a:lnTo>
                <a:lnTo>
                  <a:pt x="953" y="403"/>
                </a:lnTo>
                <a:lnTo>
                  <a:pt x="953" y="408"/>
                </a:lnTo>
                <a:lnTo>
                  <a:pt x="953" y="414"/>
                </a:lnTo>
                <a:lnTo>
                  <a:pt x="953" y="420"/>
                </a:lnTo>
                <a:lnTo>
                  <a:pt x="953" y="437"/>
                </a:lnTo>
                <a:lnTo>
                  <a:pt x="953" y="442"/>
                </a:lnTo>
                <a:lnTo>
                  <a:pt x="947" y="448"/>
                </a:lnTo>
                <a:lnTo>
                  <a:pt x="947" y="454"/>
                </a:lnTo>
                <a:lnTo>
                  <a:pt x="941" y="459"/>
                </a:lnTo>
                <a:lnTo>
                  <a:pt x="936" y="465"/>
                </a:lnTo>
                <a:lnTo>
                  <a:pt x="930" y="465"/>
                </a:lnTo>
                <a:lnTo>
                  <a:pt x="924" y="471"/>
                </a:lnTo>
                <a:lnTo>
                  <a:pt x="919" y="476"/>
                </a:lnTo>
                <a:lnTo>
                  <a:pt x="919" y="482"/>
                </a:lnTo>
                <a:lnTo>
                  <a:pt x="919" y="488"/>
                </a:lnTo>
                <a:lnTo>
                  <a:pt x="919" y="493"/>
                </a:lnTo>
                <a:lnTo>
                  <a:pt x="919" y="499"/>
                </a:lnTo>
                <a:lnTo>
                  <a:pt x="919" y="522"/>
                </a:lnTo>
                <a:lnTo>
                  <a:pt x="919" y="527"/>
                </a:lnTo>
                <a:lnTo>
                  <a:pt x="919" y="533"/>
                </a:lnTo>
                <a:lnTo>
                  <a:pt x="919" y="539"/>
                </a:lnTo>
                <a:lnTo>
                  <a:pt x="919" y="544"/>
                </a:lnTo>
                <a:lnTo>
                  <a:pt x="913" y="550"/>
                </a:lnTo>
                <a:lnTo>
                  <a:pt x="913" y="556"/>
                </a:lnTo>
                <a:lnTo>
                  <a:pt x="907" y="556"/>
                </a:lnTo>
                <a:lnTo>
                  <a:pt x="907" y="561"/>
                </a:lnTo>
                <a:lnTo>
                  <a:pt x="907" y="567"/>
                </a:lnTo>
                <a:lnTo>
                  <a:pt x="902" y="573"/>
                </a:lnTo>
                <a:lnTo>
                  <a:pt x="902" y="578"/>
                </a:lnTo>
                <a:lnTo>
                  <a:pt x="902" y="584"/>
                </a:lnTo>
                <a:lnTo>
                  <a:pt x="902" y="595"/>
                </a:lnTo>
                <a:lnTo>
                  <a:pt x="902" y="618"/>
                </a:lnTo>
                <a:lnTo>
                  <a:pt x="902" y="624"/>
                </a:lnTo>
                <a:lnTo>
                  <a:pt x="902" y="635"/>
                </a:lnTo>
                <a:lnTo>
                  <a:pt x="902" y="646"/>
                </a:lnTo>
                <a:lnTo>
                  <a:pt x="896" y="652"/>
                </a:lnTo>
                <a:lnTo>
                  <a:pt x="890" y="658"/>
                </a:lnTo>
                <a:lnTo>
                  <a:pt x="890" y="663"/>
                </a:lnTo>
                <a:lnTo>
                  <a:pt x="890" y="669"/>
                </a:lnTo>
                <a:lnTo>
                  <a:pt x="885" y="680"/>
                </a:lnTo>
                <a:lnTo>
                  <a:pt x="879" y="692"/>
                </a:lnTo>
                <a:lnTo>
                  <a:pt x="879" y="697"/>
                </a:lnTo>
                <a:lnTo>
                  <a:pt x="879" y="703"/>
                </a:lnTo>
                <a:lnTo>
                  <a:pt x="879" y="714"/>
                </a:lnTo>
                <a:lnTo>
                  <a:pt x="879" y="720"/>
                </a:lnTo>
                <a:lnTo>
                  <a:pt x="879" y="726"/>
                </a:lnTo>
                <a:lnTo>
                  <a:pt x="879" y="731"/>
                </a:lnTo>
                <a:lnTo>
                  <a:pt x="885" y="731"/>
                </a:lnTo>
                <a:lnTo>
                  <a:pt x="885" y="737"/>
                </a:lnTo>
                <a:lnTo>
                  <a:pt x="890" y="743"/>
                </a:lnTo>
                <a:lnTo>
                  <a:pt x="902" y="754"/>
                </a:lnTo>
                <a:lnTo>
                  <a:pt x="907" y="760"/>
                </a:lnTo>
                <a:lnTo>
                  <a:pt x="907" y="765"/>
                </a:lnTo>
                <a:lnTo>
                  <a:pt x="913" y="765"/>
                </a:lnTo>
                <a:lnTo>
                  <a:pt x="919" y="765"/>
                </a:lnTo>
                <a:lnTo>
                  <a:pt x="919" y="771"/>
                </a:lnTo>
                <a:lnTo>
                  <a:pt x="924" y="771"/>
                </a:lnTo>
                <a:lnTo>
                  <a:pt x="930" y="777"/>
                </a:lnTo>
                <a:lnTo>
                  <a:pt x="930" y="782"/>
                </a:lnTo>
                <a:lnTo>
                  <a:pt x="930" y="788"/>
                </a:lnTo>
                <a:lnTo>
                  <a:pt x="930" y="794"/>
                </a:lnTo>
                <a:lnTo>
                  <a:pt x="924" y="799"/>
                </a:lnTo>
                <a:lnTo>
                  <a:pt x="919" y="805"/>
                </a:lnTo>
                <a:lnTo>
                  <a:pt x="919" y="811"/>
                </a:lnTo>
                <a:lnTo>
                  <a:pt x="919" y="816"/>
                </a:lnTo>
                <a:lnTo>
                  <a:pt x="913" y="816"/>
                </a:lnTo>
                <a:lnTo>
                  <a:pt x="913" y="822"/>
                </a:lnTo>
                <a:lnTo>
                  <a:pt x="907" y="828"/>
                </a:lnTo>
                <a:lnTo>
                  <a:pt x="907" y="833"/>
                </a:lnTo>
                <a:lnTo>
                  <a:pt x="907" y="839"/>
                </a:lnTo>
                <a:lnTo>
                  <a:pt x="902" y="845"/>
                </a:lnTo>
                <a:lnTo>
                  <a:pt x="902" y="850"/>
                </a:lnTo>
                <a:lnTo>
                  <a:pt x="896" y="856"/>
                </a:lnTo>
                <a:lnTo>
                  <a:pt x="896" y="862"/>
                </a:lnTo>
                <a:lnTo>
                  <a:pt x="890" y="867"/>
                </a:lnTo>
                <a:lnTo>
                  <a:pt x="890" y="873"/>
                </a:lnTo>
                <a:lnTo>
                  <a:pt x="890" y="879"/>
                </a:lnTo>
                <a:lnTo>
                  <a:pt x="890" y="884"/>
                </a:lnTo>
                <a:lnTo>
                  <a:pt x="885" y="884"/>
                </a:lnTo>
                <a:lnTo>
                  <a:pt x="879" y="890"/>
                </a:lnTo>
                <a:lnTo>
                  <a:pt x="879" y="896"/>
                </a:lnTo>
                <a:lnTo>
                  <a:pt x="873" y="896"/>
                </a:lnTo>
                <a:lnTo>
                  <a:pt x="868" y="896"/>
                </a:lnTo>
                <a:lnTo>
                  <a:pt x="862" y="896"/>
                </a:lnTo>
                <a:lnTo>
                  <a:pt x="851" y="896"/>
                </a:lnTo>
                <a:lnTo>
                  <a:pt x="845" y="896"/>
                </a:lnTo>
                <a:lnTo>
                  <a:pt x="839" y="890"/>
                </a:lnTo>
                <a:lnTo>
                  <a:pt x="834" y="884"/>
                </a:lnTo>
                <a:lnTo>
                  <a:pt x="828" y="884"/>
                </a:lnTo>
                <a:lnTo>
                  <a:pt x="828" y="879"/>
                </a:lnTo>
                <a:lnTo>
                  <a:pt x="822" y="873"/>
                </a:lnTo>
                <a:lnTo>
                  <a:pt x="822" y="867"/>
                </a:lnTo>
                <a:lnTo>
                  <a:pt x="817" y="862"/>
                </a:lnTo>
                <a:lnTo>
                  <a:pt x="811" y="856"/>
                </a:lnTo>
                <a:lnTo>
                  <a:pt x="805" y="850"/>
                </a:lnTo>
                <a:lnTo>
                  <a:pt x="800" y="850"/>
                </a:lnTo>
                <a:lnTo>
                  <a:pt x="788" y="850"/>
                </a:lnTo>
                <a:lnTo>
                  <a:pt x="783" y="845"/>
                </a:lnTo>
                <a:lnTo>
                  <a:pt x="777" y="850"/>
                </a:lnTo>
                <a:lnTo>
                  <a:pt x="771" y="850"/>
                </a:lnTo>
                <a:lnTo>
                  <a:pt x="766" y="850"/>
                </a:lnTo>
                <a:lnTo>
                  <a:pt x="766" y="856"/>
                </a:lnTo>
                <a:lnTo>
                  <a:pt x="760" y="856"/>
                </a:lnTo>
                <a:lnTo>
                  <a:pt x="754" y="862"/>
                </a:lnTo>
                <a:lnTo>
                  <a:pt x="754" y="867"/>
                </a:lnTo>
                <a:lnTo>
                  <a:pt x="749" y="867"/>
                </a:lnTo>
                <a:lnTo>
                  <a:pt x="749" y="873"/>
                </a:lnTo>
                <a:lnTo>
                  <a:pt x="743" y="879"/>
                </a:lnTo>
                <a:lnTo>
                  <a:pt x="737" y="879"/>
                </a:lnTo>
                <a:lnTo>
                  <a:pt x="737" y="884"/>
                </a:lnTo>
                <a:lnTo>
                  <a:pt x="732" y="890"/>
                </a:lnTo>
                <a:lnTo>
                  <a:pt x="726" y="896"/>
                </a:lnTo>
                <a:lnTo>
                  <a:pt x="720" y="896"/>
                </a:lnTo>
                <a:lnTo>
                  <a:pt x="715" y="884"/>
                </a:lnTo>
                <a:lnTo>
                  <a:pt x="715" y="879"/>
                </a:lnTo>
                <a:lnTo>
                  <a:pt x="720" y="862"/>
                </a:lnTo>
                <a:lnTo>
                  <a:pt x="720" y="856"/>
                </a:lnTo>
                <a:lnTo>
                  <a:pt x="720" y="850"/>
                </a:lnTo>
                <a:lnTo>
                  <a:pt x="720" y="845"/>
                </a:lnTo>
                <a:lnTo>
                  <a:pt x="720" y="839"/>
                </a:lnTo>
                <a:lnTo>
                  <a:pt x="715" y="833"/>
                </a:lnTo>
                <a:lnTo>
                  <a:pt x="709" y="828"/>
                </a:lnTo>
                <a:lnTo>
                  <a:pt x="709" y="822"/>
                </a:lnTo>
                <a:lnTo>
                  <a:pt x="703" y="816"/>
                </a:lnTo>
                <a:lnTo>
                  <a:pt x="698" y="816"/>
                </a:lnTo>
                <a:lnTo>
                  <a:pt x="698" y="811"/>
                </a:lnTo>
                <a:lnTo>
                  <a:pt x="698" y="805"/>
                </a:lnTo>
                <a:lnTo>
                  <a:pt x="692" y="799"/>
                </a:lnTo>
                <a:lnTo>
                  <a:pt x="692" y="794"/>
                </a:lnTo>
                <a:lnTo>
                  <a:pt x="692" y="788"/>
                </a:lnTo>
                <a:lnTo>
                  <a:pt x="692" y="782"/>
                </a:lnTo>
                <a:lnTo>
                  <a:pt x="686" y="782"/>
                </a:lnTo>
                <a:lnTo>
                  <a:pt x="686" y="777"/>
                </a:lnTo>
                <a:lnTo>
                  <a:pt x="681" y="771"/>
                </a:lnTo>
                <a:lnTo>
                  <a:pt x="681" y="765"/>
                </a:lnTo>
                <a:lnTo>
                  <a:pt x="675" y="760"/>
                </a:lnTo>
                <a:lnTo>
                  <a:pt x="669" y="760"/>
                </a:lnTo>
                <a:lnTo>
                  <a:pt x="664" y="760"/>
                </a:lnTo>
                <a:lnTo>
                  <a:pt x="658" y="760"/>
                </a:lnTo>
                <a:lnTo>
                  <a:pt x="652" y="760"/>
                </a:lnTo>
                <a:lnTo>
                  <a:pt x="641" y="760"/>
                </a:lnTo>
                <a:lnTo>
                  <a:pt x="641" y="765"/>
                </a:lnTo>
                <a:lnTo>
                  <a:pt x="641" y="771"/>
                </a:lnTo>
                <a:lnTo>
                  <a:pt x="635" y="771"/>
                </a:lnTo>
                <a:lnTo>
                  <a:pt x="635" y="777"/>
                </a:lnTo>
                <a:lnTo>
                  <a:pt x="630" y="777"/>
                </a:lnTo>
                <a:lnTo>
                  <a:pt x="624" y="782"/>
                </a:lnTo>
                <a:lnTo>
                  <a:pt x="613" y="788"/>
                </a:lnTo>
                <a:lnTo>
                  <a:pt x="607" y="782"/>
                </a:lnTo>
                <a:lnTo>
                  <a:pt x="601" y="782"/>
                </a:lnTo>
                <a:lnTo>
                  <a:pt x="601" y="777"/>
                </a:lnTo>
                <a:lnTo>
                  <a:pt x="596" y="777"/>
                </a:lnTo>
                <a:lnTo>
                  <a:pt x="590" y="777"/>
                </a:lnTo>
                <a:lnTo>
                  <a:pt x="584" y="777"/>
                </a:lnTo>
                <a:lnTo>
                  <a:pt x="579" y="777"/>
                </a:lnTo>
                <a:lnTo>
                  <a:pt x="579" y="771"/>
                </a:lnTo>
                <a:lnTo>
                  <a:pt x="573" y="765"/>
                </a:lnTo>
                <a:lnTo>
                  <a:pt x="567" y="765"/>
                </a:lnTo>
                <a:lnTo>
                  <a:pt x="562" y="765"/>
                </a:lnTo>
                <a:lnTo>
                  <a:pt x="556" y="765"/>
                </a:lnTo>
                <a:lnTo>
                  <a:pt x="556" y="771"/>
                </a:lnTo>
                <a:lnTo>
                  <a:pt x="550" y="771"/>
                </a:lnTo>
                <a:lnTo>
                  <a:pt x="545" y="771"/>
                </a:lnTo>
                <a:lnTo>
                  <a:pt x="522" y="754"/>
                </a:lnTo>
                <a:lnTo>
                  <a:pt x="499" y="771"/>
                </a:lnTo>
                <a:lnTo>
                  <a:pt x="494" y="771"/>
                </a:lnTo>
                <a:lnTo>
                  <a:pt x="482" y="771"/>
                </a:lnTo>
                <a:lnTo>
                  <a:pt x="465" y="77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46" name="Freeform 7"/>
          <p:cNvSpPr>
            <a:spLocks/>
          </p:cNvSpPr>
          <p:nvPr/>
        </p:nvSpPr>
        <p:spPr bwMode="gray">
          <a:xfrm>
            <a:off x="3829303" y="1511223"/>
            <a:ext cx="1036698" cy="1247204"/>
          </a:xfrm>
          <a:custGeom>
            <a:avLst/>
            <a:gdLst>
              <a:gd name="T0" fmla="*/ 2147483647 w 612"/>
              <a:gd name="T1" fmla="*/ 2147483647 h 737"/>
              <a:gd name="T2" fmla="*/ 2147483647 w 612"/>
              <a:gd name="T3" fmla="*/ 2147483647 h 737"/>
              <a:gd name="T4" fmla="*/ 2147483647 w 612"/>
              <a:gd name="T5" fmla="*/ 2147483647 h 737"/>
              <a:gd name="T6" fmla="*/ 2147483647 w 612"/>
              <a:gd name="T7" fmla="*/ 2147483647 h 737"/>
              <a:gd name="T8" fmla="*/ 2147483647 w 612"/>
              <a:gd name="T9" fmla="*/ 2147483647 h 737"/>
              <a:gd name="T10" fmla="*/ 2147483647 w 612"/>
              <a:gd name="T11" fmla="*/ 2147483647 h 737"/>
              <a:gd name="T12" fmla="*/ 2147483647 w 612"/>
              <a:gd name="T13" fmla="*/ 2147483647 h 737"/>
              <a:gd name="T14" fmla="*/ 2147483647 w 612"/>
              <a:gd name="T15" fmla="*/ 2147483647 h 737"/>
              <a:gd name="T16" fmla="*/ 2147483647 w 612"/>
              <a:gd name="T17" fmla="*/ 2147483647 h 737"/>
              <a:gd name="T18" fmla="*/ 2147483647 w 612"/>
              <a:gd name="T19" fmla="*/ 2147483647 h 737"/>
              <a:gd name="T20" fmla="*/ 2147483647 w 612"/>
              <a:gd name="T21" fmla="*/ 2147483647 h 737"/>
              <a:gd name="T22" fmla="*/ 2147483647 w 612"/>
              <a:gd name="T23" fmla="*/ 2147483647 h 737"/>
              <a:gd name="T24" fmla="*/ 2147483647 w 612"/>
              <a:gd name="T25" fmla="*/ 2147483647 h 737"/>
              <a:gd name="T26" fmla="*/ 2147483647 w 612"/>
              <a:gd name="T27" fmla="*/ 2147483647 h 737"/>
              <a:gd name="T28" fmla="*/ 2147483647 w 612"/>
              <a:gd name="T29" fmla="*/ 2147483647 h 737"/>
              <a:gd name="T30" fmla="*/ 2147483647 w 612"/>
              <a:gd name="T31" fmla="*/ 2147483647 h 737"/>
              <a:gd name="T32" fmla="*/ 2147483647 w 612"/>
              <a:gd name="T33" fmla="*/ 2147483647 h 737"/>
              <a:gd name="T34" fmla="*/ 2147483647 w 612"/>
              <a:gd name="T35" fmla="*/ 2147483647 h 737"/>
              <a:gd name="T36" fmla="*/ 2147483647 w 612"/>
              <a:gd name="T37" fmla="*/ 2147483647 h 737"/>
              <a:gd name="T38" fmla="*/ 2147483647 w 612"/>
              <a:gd name="T39" fmla="*/ 2147483647 h 737"/>
              <a:gd name="T40" fmla="*/ 2147483647 w 612"/>
              <a:gd name="T41" fmla="*/ 2147483647 h 737"/>
              <a:gd name="T42" fmla="*/ 2147483647 w 612"/>
              <a:gd name="T43" fmla="*/ 2147483647 h 737"/>
              <a:gd name="T44" fmla="*/ 2147483647 w 612"/>
              <a:gd name="T45" fmla="*/ 2147483647 h 737"/>
              <a:gd name="T46" fmla="*/ 2147483647 w 612"/>
              <a:gd name="T47" fmla="*/ 2147483647 h 737"/>
              <a:gd name="T48" fmla="*/ 2147483647 w 612"/>
              <a:gd name="T49" fmla="*/ 2147483647 h 737"/>
              <a:gd name="T50" fmla="*/ 2147483647 w 612"/>
              <a:gd name="T51" fmla="*/ 2147483647 h 737"/>
              <a:gd name="T52" fmla="*/ 2147483647 w 612"/>
              <a:gd name="T53" fmla="*/ 2147483647 h 737"/>
              <a:gd name="T54" fmla="*/ 2147483647 w 612"/>
              <a:gd name="T55" fmla="*/ 2147483647 h 737"/>
              <a:gd name="T56" fmla="*/ 2147483647 w 612"/>
              <a:gd name="T57" fmla="*/ 2147483647 h 737"/>
              <a:gd name="T58" fmla="*/ 2147483647 w 612"/>
              <a:gd name="T59" fmla="*/ 2147483647 h 737"/>
              <a:gd name="T60" fmla="*/ 2147483647 w 612"/>
              <a:gd name="T61" fmla="*/ 2147483647 h 737"/>
              <a:gd name="T62" fmla="*/ 2147483647 w 612"/>
              <a:gd name="T63" fmla="*/ 2147483647 h 737"/>
              <a:gd name="T64" fmla="*/ 2147483647 w 612"/>
              <a:gd name="T65" fmla="*/ 2147483647 h 737"/>
              <a:gd name="T66" fmla="*/ 2147483647 w 612"/>
              <a:gd name="T67" fmla="*/ 2147483647 h 737"/>
              <a:gd name="T68" fmla="*/ 2147483647 w 612"/>
              <a:gd name="T69" fmla="*/ 2147483647 h 737"/>
              <a:gd name="T70" fmla="*/ 2147483647 w 612"/>
              <a:gd name="T71" fmla="*/ 2147483647 h 737"/>
              <a:gd name="T72" fmla="*/ 2147483647 w 612"/>
              <a:gd name="T73" fmla="*/ 2147483647 h 737"/>
              <a:gd name="T74" fmla="*/ 2147483647 w 612"/>
              <a:gd name="T75" fmla="*/ 2147483647 h 737"/>
              <a:gd name="T76" fmla="*/ 2147483647 w 612"/>
              <a:gd name="T77" fmla="*/ 2147483647 h 737"/>
              <a:gd name="T78" fmla="*/ 2147483647 w 612"/>
              <a:gd name="T79" fmla="*/ 2147483647 h 737"/>
              <a:gd name="T80" fmla="*/ 2147483647 w 612"/>
              <a:gd name="T81" fmla="*/ 2147483647 h 737"/>
              <a:gd name="T82" fmla="*/ 2147483647 w 612"/>
              <a:gd name="T83" fmla="*/ 2147483647 h 737"/>
              <a:gd name="T84" fmla="*/ 2147483647 w 612"/>
              <a:gd name="T85" fmla="*/ 2147483647 h 737"/>
              <a:gd name="T86" fmla="*/ 2147483647 w 612"/>
              <a:gd name="T87" fmla="*/ 2147483647 h 737"/>
              <a:gd name="T88" fmla="*/ 2147483647 w 612"/>
              <a:gd name="T89" fmla="*/ 2147483647 h 737"/>
              <a:gd name="T90" fmla="*/ 2147483647 w 612"/>
              <a:gd name="T91" fmla="*/ 2147483647 h 737"/>
              <a:gd name="T92" fmla="*/ 2147483647 w 612"/>
              <a:gd name="T93" fmla="*/ 2147483647 h 737"/>
              <a:gd name="T94" fmla="*/ 2147483647 w 612"/>
              <a:gd name="T95" fmla="*/ 2147483647 h 737"/>
              <a:gd name="T96" fmla="*/ 2147483647 w 612"/>
              <a:gd name="T97" fmla="*/ 2147483647 h 737"/>
              <a:gd name="T98" fmla="*/ 2147483647 w 612"/>
              <a:gd name="T99" fmla="*/ 2147483647 h 737"/>
              <a:gd name="T100" fmla="*/ 2147483647 w 612"/>
              <a:gd name="T101" fmla="*/ 2147483647 h 737"/>
              <a:gd name="T102" fmla="*/ 2147483647 w 612"/>
              <a:gd name="T103" fmla="*/ 2147483647 h 737"/>
              <a:gd name="T104" fmla="*/ 2147483647 w 612"/>
              <a:gd name="T105" fmla="*/ 2147483647 h 737"/>
              <a:gd name="T106" fmla="*/ 2147483647 w 612"/>
              <a:gd name="T107" fmla="*/ 2147483647 h 737"/>
              <a:gd name="T108" fmla="*/ 2147483647 w 612"/>
              <a:gd name="T109" fmla="*/ 2147483647 h 737"/>
              <a:gd name="T110" fmla="*/ 2147483647 w 612"/>
              <a:gd name="T111" fmla="*/ 2147483647 h 73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12"/>
              <a:gd name="T169" fmla="*/ 0 h 737"/>
              <a:gd name="T170" fmla="*/ 612 w 612"/>
              <a:gd name="T171" fmla="*/ 737 h 73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12" h="737">
                <a:moveTo>
                  <a:pt x="63" y="448"/>
                </a:moveTo>
                <a:lnTo>
                  <a:pt x="57" y="448"/>
                </a:lnTo>
                <a:lnTo>
                  <a:pt x="51" y="448"/>
                </a:lnTo>
                <a:lnTo>
                  <a:pt x="46" y="448"/>
                </a:lnTo>
                <a:lnTo>
                  <a:pt x="40" y="448"/>
                </a:lnTo>
                <a:lnTo>
                  <a:pt x="34" y="448"/>
                </a:lnTo>
                <a:lnTo>
                  <a:pt x="29" y="442"/>
                </a:lnTo>
                <a:lnTo>
                  <a:pt x="29" y="436"/>
                </a:lnTo>
                <a:lnTo>
                  <a:pt x="29" y="431"/>
                </a:lnTo>
                <a:lnTo>
                  <a:pt x="17" y="431"/>
                </a:lnTo>
                <a:lnTo>
                  <a:pt x="17" y="425"/>
                </a:lnTo>
                <a:lnTo>
                  <a:pt x="17" y="419"/>
                </a:lnTo>
                <a:lnTo>
                  <a:pt x="12" y="419"/>
                </a:lnTo>
                <a:lnTo>
                  <a:pt x="12" y="414"/>
                </a:lnTo>
                <a:lnTo>
                  <a:pt x="6" y="414"/>
                </a:lnTo>
                <a:lnTo>
                  <a:pt x="6" y="408"/>
                </a:lnTo>
                <a:lnTo>
                  <a:pt x="6" y="402"/>
                </a:lnTo>
                <a:lnTo>
                  <a:pt x="0" y="402"/>
                </a:lnTo>
                <a:lnTo>
                  <a:pt x="0" y="397"/>
                </a:lnTo>
                <a:lnTo>
                  <a:pt x="6" y="397"/>
                </a:lnTo>
                <a:lnTo>
                  <a:pt x="6" y="391"/>
                </a:lnTo>
                <a:lnTo>
                  <a:pt x="12" y="391"/>
                </a:lnTo>
                <a:lnTo>
                  <a:pt x="12" y="385"/>
                </a:lnTo>
                <a:lnTo>
                  <a:pt x="17" y="385"/>
                </a:lnTo>
                <a:lnTo>
                  <a:pt x="17" y="374"/>
                </a:lnTo>
                <a:lnTo>
                  <a:pt x="23" y="374"/>
                </a:lnTo>
                <a:lnTo>
                  <a:pt x="29" y="368"/>
                </a:lnTo>
                <a:lnTo>
                  <a:pt x="34" y="368"/>
                </a:lnTo>
                <a:lnTo>
                  <a:pt x="34" y="363"/>
                </a:lnTo>
                <a:lnTo>
                  <a:pt x="40" y="363"/>
                </a:lnTo>
                <a:lnTo>
                  <a:pt x="46" y="357"/>
                </a:lnTo>
                <a:lnTo>
                  <a:pt x="51" y="357"/>
                </a:lnTo>
                <a:lnTo>
                  <a:pt x="57" y="357"/>
                </a:lnTo>
                <a:lnTo>
                  <a:pt x="68" y="357"/>
                </a:lnTo>
                <a:lnTo>
                  <a:pt x="74" y="357"/>
                </a:lnTo>
                <a:lnTo>
                  <a:pt x="85" y="351"/>
                </a:lnTo>
                <a:lnTo>
                  <a:pt x="85" y="346"/>
                </a:lnTo>
                <a:lnTo>
                  <a:pt x="85" y="340"/>
                </a:lnTo>
                <a:lnTo>
                  <a:pt x="85" y="334"/>
                </a:lnTo>
                <a:lnTo>
                  <a:pt x="85" y="329"/>
                </a:lnTo>
                <a:lnTo>
                  <a:pt x="80" y="323"/>
                </a:lnTo>
                <a:lnTo>
                  <a:pt x="74" y="317"/>
                </a:lnTo>
                <a:lnTo>
                  <a:pt x="74" y="312"/>
                </a:lnTo>
                <a:lnTo>
                  <a:pt x="74" y="300"/>
                </a:lnTo>
                <a:lnTo>
                  <a:pt x="74" y="295"/>
                </a:lnTo>
                <a:lnTo>
                  <a:pt x="74" y="289"/>
                </a:lnTo>
                <a:lnTo>
                  <a:pt x="74" y="283"/>
                </a:lnTo>
                <a:lnTo>
                  <a:pt x="74" y="278"/>
                </a:lnTo>
                <a:lnTo>
                  <a:pt x="68" y="272"/>
                </a:lnTo>
                <a:lnTo>
                  <a:pt x="68" y="266"/>
                </a:lnTo>
                <a:lnTo>
                  <a:pt x="63" y="266"/>
                </a:lnTo>
                <a:lnTo>
                  <a:pt x="63" y="261"/>
                </a:lnTo>
                <a:lnTo>
                  <a:pt x="63" y="255"/>
                </a:lnTo>
                <a:lnTo>
                  <a:pt x="57" y="255"/>
                </a:lnTo>
                <a:lnTo>
                  <a:pt x="57" y="249"/>
                </a:lnTo>
                <a:lnTo>
                  <a:pt x="57" y="244"/>
                </a:lnTo>
                <a:lnTo>
                  <a:pt x="57" y="238"/>
                </a:lnTo>
                <a:lnTo>
                  <a:pt x="57" y="227"/>
                </a:lnTo>
                <a:lnTo>
                  <a:pt x="57" y="221"/>
                </a:lnTo>
                <a:lnTo>
                  <a:pt x="63" y="210"/>
                </a:lnTo>
                <a:lnTo>
                  <a:pt x="63" y="204"/>
                </a:lnTo>
                <a:lnTo>
                  <a:pt x="63" y="198"/>
                </a:lnTo>
                <a:lnTo>
                  <a:pt x="57" y="187"/>
                </a:lnTo>
                <a:lnTo>
                  <a:pt x="57" y="181"/>
                </a:lnTo>
                <a:lnTo>
                  <a:pt x="57" y="176"/>
                </a:lnTo>
                <a:lnTo>
                  <a:pt x="57" y="164"/>
                </a:lnTo>
                <a:lnTo>
                  <a:pt x="51" y="159"/>
                </a:lnTo>
                <a:lnTo>
                  <a:pt x="51" y="153"/>
                </a:lnTo>
                <a:lnTo>
                  <a:pt x="51" y="147"/>
                </a:lnTo>
                <a:lnTo>
                  <a:pt x="51" y="142"/>
                </a:lnTo>
                <a:lnTo>
                  <a:pt x="51" y="136"/>
                </a:lnTo>
                <a:lnTo>
                  <a:pt x="57" y="125"/>
                </a:lnTo>
                <a:lnTo>
                  <a:pt x="63" y="119"/>
                </a:lnTo>
                <a:lnTo>
                  <a:pt x="68" y="113"/>
                </a:lnTo>
                <a:lnTo>
                  <a:pt x="74" y="113"/>
                </a:lnTo>
                <a:lnTo>
                  <a:pt x="74" y="108"/>
                </a:lnTo>
                <a:lnTo>
                  <a:pt x="80" y="108"/>
                </a:lnTo>
                <a:lnTo>
                  <a:pt x="91" y="102"/>
                </a:lnTo>
                <a:lnTo>
                  <a:pt x="91" y="96"/>
                </a:lnTo>
                <a:lnTo>
                  <a:pt x="97" y="96"/>
                </a:lnTo>
                <a:lnTo>
                  <a:pt x="102" y="96"/>
                </a:lnTo>
                <a:lnTo>
                  <a:pt x="108" y="96"/>
                </a:lnTo>
                <a:lnTo>
                  <a:pt x="114" y="96"/>
                </a:lnTo>
                <a:lnTo>
                  <a:pt x="119" y="91"/>
                </a:lnTo>
                <a:lnTo>
                  <a:pt x="125" y="91"/>
                </a:lnTo>
                <a:lnTo>
                  <a:pt x="131" y="91"/>
                </a:lnTo>
                <a:lnTo>
                  <a:pt x="142" y="91"/>
                </a:lnTo>
                <a:lnTo>
                  <a:pt x="142" y="85"/>
                </a:lnTo>
                <a:lnTo>
                  <a:pt x="148" y="85"/>
                </a:lnTo>
                <a:lnTo>
                  <a:pt x="153" y="79"/>
                </a:lnTo>
                <a:lnTo>
                  <a:pt x="159" y="79"/>
                </a:lnTo>
                <a:lnTo>
                  <a:pt x="165" y="74"/>
                </a:lnTo>
                <a:lnTo>
                  <a:pt x="170" y="68"/>
                </a:lnTo>
                <a:lnTo>
                  <a:pt x="170" y="62"/>
                </a:lnTo>
                <a:lnTo>
                  <a:pt x="176" y="62"/>
                </a:lnTo>
                <a:lnTo>
                  <a:pt x="176" y="57"/>
                </a:lnTo>
                <a:lnTo>
                  <a:pt x="176" y="45"/>
                </a:lnTo>
                <a:lnTo>
                  <a:pt x="182" y="40"/>
                </a:lnTo>
                <a:lnTo>
                  <a:pt x="187" y="40"/>
                </a:lnTo>
                <a:lnTo>
                  <a:pt x="187" y="34"/>
                </a:lnTo>
                <a:lnTo>
                  <a:pt x="187" y="28"/>
                </a:lnTo>
                <a:lnTo>
                  <a:pt x="193" y="23"/>
                </a:lnTo>
                <a:lnTo>
                  <a:pt x="199" y="23"/>
                </a:lnTo>
                <a:lnTo>
                  <a:pt x="204" y="17"/>
                </a:lnTo>
                <a:lnTo>
                  <a:pt x="204" y="11"/>
                </a:lnTo>
                <a:lnTo>
                  <a:pt x="216" y="6"/>
                </a:lnTo>
                <a:lnTo>
                  <a:pt x="216" y="11"/>
                </a:lnTo>
                <a:lnTo>
                  <a:pt x="221" y="11"/>
                </a:lnTo>
                <a:lnTo>
                  <a:pt x="221" y="17"/>
                </a:lnTo>
                <a:lnTo>
                  <a:pt x="227" y="23"/>
                </a:lnTo>
                <a:lnTo>
                  <a:pt x="233" y="23"/>
                </a:lnTo>
                <a:lnTo>
                  <a:pt x="233" y="28"/>
                </a:lnTo>
                <a:lnTo>
                  <a:pt x="238" y="34"/>
                </a:lnTo>
                <a:lnTo>
                  <a:pt x="244" y="34"/>
                </a:lnTo>
                <a:lnTo>
                  <a:pt x="244" y="40"/>
                </a:lnTo>
                <a:lnTo>
                  <a:pt x="244" y="45"/>
                </a:lnTo>
                <a:lnTo>
                  <a:pt x="244" y="51"/>
                </a:lnTo>
                <a:lnTo>
                  <a:pt x="244" y="62"/>
                </a:lnTo>
                <a:lnTo>
                  <a:pt x="250" y="62"/>
                </a:lnTo>
                <a:lnTo>
                  <a:pt x="250" y="68"/>
                </a:lnTo>
                <a:lnTo>
                  <a:pt x="255" y="62"/>
                </a:lnTo>
                <a:lnTo>
                  <a:pt x="255" y="57"/>
                </a:lnTo>
                <a:lnTo>
                  <a:pt x="255" y="51"/>
                </a:lnTo>
                <a:lnTo>
                  <a:pt x="255" y="45"/>
                </a:lnTo>
                <a:lnTo>
                  <a:pt x="261" y="45"/>
                </a:lnTo>
                <a:lnTo>
                  <a:pt x="261" y="40"/>
                </a:lnTo>
                <a:lnTo>
                  <a:pt x="261" y="34"/>
                </a:lnTo>
                <a:lnTo>
                  <a:pt x="267" y="34"/>
                </a:lnTo>
                <a:lnTo>
                  <a:pt x="267" y="28"/>
                </a:lnTo>
                <a:lnTo>
                  <a:pt x="267" y="23"/>
                </a:lnTo>
                <a:lnTo>
                  <a:pt x="272" y="23"/>
                </a:lnTo>
                <a:lnTo>
                  <a:pt x="272" y="17"/>
                </a:lnTo>
                <a:lnTo>
                  <a:pt x="278" y="11"/>
                </a:lnTo>
                <a:lnTo>
                  <a:pt x="284" y="11"/>
                </a:lnTo>
                <a:lnTo>
                  <a:pt x="289" y="11"/>
                </a:lnTo>
                <a:lnTo>
                  <a:pt x="295" y="11"/>
                </a:lnTo>
                <a:lnTo>
                  <a:pt x="306" y="11"/>
                </a:lnTo>
                <a:lnTo>
                  <a:pt x="306" y="6"/>
                </a:lnTo>
                <a:lnTo>
                  <a:pt x="312" y="6"/>
                </a:lnTo>
                <a:lnTo>
                  <a:pt x="318" y="6"/>
                </a:lnTo>
                <a:lnTo>
                  <a:pt x="318" y="0"/>
                </a:lnTo>
                <a:lnTo>
                  <a:pt x="323" y="0"/>
                </a:lnTo>
                <a:lnTo>
                  <a:pt x="329" y="0"/>
                </a:lnTo>
                <a:lnTo>
                  <a:pt x="329" y="6"/>
                </a:lnTo>
                <a:lnTo>
                  <a:pt x="335" y="6"/>
                </a:lnTo>
                <a:lnTo>
                  <a:pt x="335" y="11"/>
                </a:lnTo>
                <a:lnTo>
                  <a:pt x="340" y="11"/>
                </a:lnTo>
                <a:lnTo>
                  <a:pt x="346" y="11"/>
                </a:lnTo>
                <a:lnTo>
                  <a:pt x="352" y="11"/>
                </a:lnTo>
                <a:lnTo>
                  <a:pt x="357" y="11"/>
                </a:lnTo>
                <a:lnTo>
                  <a:pt x="363" y="11"/>
                </a:lnTo>
                <a:lnTo>
                  <a:pt x="369" y="11"/>
                </a:lnTo>
                <a:lnTo>
                  <a:pt x="374" y="11"/>
                </a:lnTo>
                <a:lnTo>
                  <a:pt x="374" y="17"/>
                </a:lnTo>
                <a:lnTo>
                  <a:pt x="374" y="23"/>
                </a:lnTo>
                <a:lnTo>
                  <a:pt x="374" y="34"/>
                </a:lnTo>
                <a:lnTo>
                  <a:pt x="369" y="34"/>
                </a:lnTo>
                <a:lnTo>
                  <a:pt x="363" y="40"/>
                </a:lnTo>
                <a:lnTo>
                  <a:pt x="363" y="45"/>
                </a:lnTo>
                <a:lnTo>
                  <a:pt x="363" y="51"/>
                </a:lnTo>
                <a:lnTo>
                  <a:pt x="369" y="51"/>
                </a:lnTo>
                <a:lnTo>
                  <a:pt x="369" y="57"/>
                </a:lnTo>
                <a:lnTo>
                  <a:pt x="374" y="62"/>
                </a:lnTo>
                <a:lnTo>
                  <a:pt x="386" y="62"/>
                </a:lnTo>
                <a:lnTo>
                  <a:pt x="391" y="62"/>
                </a:lnTo>
                <a:lnTo>
                  <a:pt x="397" y="62"/>
                </a:lnTo>
                <a:lnTo>
                  <a:pt x="397" y="68"/>
                </a:lnTo>
                <a:lnTo>
                  <a:pt x="403" y="68"/>
                </a:lnTo>
                <a:lnTo>
                  <a:pt x="403" y="74"/>
                </a:lnTo>
                <a:lnTo>
                  <a:pt x="403" y="79"/>
                </a:lnTo>
                <a:lnTo>
                  <a:pt x="403" y="85"/>
                </a:lnTo>
                <a:lnTo>
                  <a:pt x="397" y="91"/>
                </a:lnTo>
                <a:lnTo>
                  <a:pt x="397" y="96"/>
                </a:lnTo>
                <a:lnTo>
                  <a:pt x="397" y="108"/>
                </a:lnTo>
                <a:lnTo>
                  <a:pt x="403" y="108"/>
                </a:lnTo>
                <a:lnTo>
                  <a:pt x="408" y="113"/>
                </a:lnTo>
                <a:lnTo>
                  <a:pt x="414" y="113"/>
                </a:lnTo>
                <a:lnTo>
                  <a:pt x="425" y="108"/>
                </a:lnTo>
                <a:lnTo>
                  <a:pt x="431" y="108"/>
                </a:lnTo>
                <a:lnTo>
                  <a:pt x="442" y="108"/>
                </a:lnTo>
                <a:lnTo>
                  <a:pt x="448" y="108"/>
                </a:lnTo>
                <a:lnTo>
                  <a:pt x="448" y="113"/>
                </a:lnTo>
                <a:lnTo>
                  <a:pt x="454" y="113"/>
                </a:lnTo>
                <a:lnTo>
                  <a:pt x="454" y="119"/>
                </a:lnTo>
                <a:lnTo>
                  <a:pt x="454" y="125"/>
                </a:lnTo>
                <a:lnTo>
                  <a:pt x="459" y="125"/>
                </a:lnTo>
                <a:lnTo>
                  <a:pt x="459" y="136"/>
                </a:lnTo>
                <a:lnTo>
                  <a:pt x="459" y="142"/>
                </a:lnTo>
                <a:lnTo>
                  <a:pt x="465" y="142"/>
                </a:lnTo>
                <a:lnTo>
                  <a:pt x="465" y="147"/>
                </a:lnTo>
                <a:lnTo>
                  <a:pt x="471" y="147"/>
                </a:lnTo>
                <a:lnTo>
                  <a:pt x="471" y="153"/>
                </a:lnTo>
                <a:lnTo>
                  <a:pt x="465" y="153"/>
                </a:lnTo>
                <a:lnTo>
                  <a:pt x="465" y="159"/>
                </a:lnTo>
                <a:lnTo>
                  <a:pt x="465" y="164"/>
                </a:lnTo>
                <a:lnTo>
                  <a:pt x="459" y="164"/>
                </a:lnTo>
                <a:lnTo>
                  <a:pt x="459" y="170"/>
                </a:lnTo>
                <a:lnTo>
                  <a:pt x="459" y="176"/>
                </a:lnTo>
                <a:lnTo>
                  <a:pt x="454" y="176"/>
                </a:lnTo>
                <a:lnTo>
                  <a:pt x="454" y="181"/>
                </a:lnTo>
                <a:lnTo>
                  <a:pt x="459" y="181"/>
                </a:lnTo>
                <a:lnTo>
                  <a:pt x="459" y="187"/>
                </a:lnTo>
                <a:lnTo>
                  <a:pt x="465" y="187"/>
                </a:lnTo>
                <a:lnTo>
                  <a:pt x="476" y="193"/>
                </a:lnTo>
                <a:lnTo>
                  <a:pt x="482" y="193"/>
                </a:lnTo>
                <a:lnTo>
                  <a:pt x="488" y="187"/>
                </a:lnTo>
                <a:lnTo>
                  <a:pt x="493" y="187"/>
                </a:lnTo>
                <a:lnTo>
                  <a:pt x="505" y="181"/>
                </a:lnTo>
                <a:lnTo>
                  <a:pt x="510" y="187"/>
                </a:lnTo>
                <a:lnTo>
                  <a:pt x="510" y="193"/>
                </a:lnTo>
                <a:lnTo>
                  <a:pt x="510" y="198"/>
                </a:lnTo>
                <a:lnTo>
                  <a:pt x="510" y="204"/>
                </a:lnTo>
                <a:lnTo>
                  <a:pt x="516" y="204"/>
                </a:lnTo>
                <a:lnTo>
                  <a:pt x="522" y="210"/>
                </a:lnTo>
                <a:lnTo>
                  <a:pt x="527" y="210"/>
                </a:lnTo>
                <a:lnTo>
                  <a:pt x="533" y="210"/>
                </a:lnTo>
                <a:lnTo>
                  <a:pt x="533" y="204"/>
                </a:lnTo>
                <a:lnTo>
                  <a:pt x="533" y="198"/>
                </a:lnTo>
                <a:lnTo>
                  <a:pt x="533" y="193"/>
                </a:lnTo>
                <a:lnTo>
                  <a:pt x="539" y="193"/>
                </a:lnTo>
                <a:lnTo>
                  <a:pt x="539" y="187"/>
                </a:lnTo>
                <a:lnTo>
                  <a:pt x="544" y="181"/>
                </a:lnTo>
                <a:lnTo>
                  <a:pt x="544" y="187"/>
                </a:lnTo>
                <a:lnTo>
                  <a:pt x="550" y="187"/>
                </a:lnTo>
                <a:lnTo>
                  <a:pt x="556" y="193"/>
                </a:lnTo>
                <a:lnTo>
                  <a:pt x="556" y="204"/>
                </a:lnTo>
                <a:lnTo>
                  <a:pt x="556" y="215"/>
                </a:lnTo>
                <a:lnTo>
                  <a:pt x="561" y="221"/>
                </a:lnTo>
                <a:lnTo>
                  <a:pt x="561" y="227"/>
                </a:lnTo>
                <a:lnTo>
                  <a:pt x="561" y="232"/>
                </a:lnTo>
                <a:lnTo>
                  <a:pt x="561" y="244"/>
                </a:lnTo>
                <a:lnTo>
                  <a:pt x="561" y="261"/>
                </a:lnTo>
                <a:lnTo>
                  <a:pt x="556" y="266"/>
                </a:lnTo>
                <a:lnTo>
                  <a:pt x="556" y="272"/>
                </a:lnTo>
                <a:lnTo>
                  <a:pt x="550" y="272"/>
                </a:lnTo>
                <a:lnTo>
                  <a:pt x="544" y="272"/>
                </a:lnTo>
                <a:lnTo>
                  <a:pt x="544" y="278"/>
                </a:lnTo>
                <a:lnTo>
                  <a:pt x="539" y="278"/>
                </a:lnTo>
                <a:lnTo>
                  <a:pt x="539" y="283"/>
                </a:lnTo>
                <a:lnTo>
                  <a:pt x="539" y="289"/>
                </a:lnTo>
                <a:lnTo>
                  <a:pt x="539" y="300"/>
                </a:lnTo>
                <a:lnTo>
                  <a:pt x="539" y="306"/>
                </a:lnTo>
                <a:lnTo>
                  <a:pt x="539" y="312"/>
                </a:lnTo>
                <a:lnTo>
                  <a:pt x="539" y="317"/>
                </a:lnTo>
                <a:lnTo>
                  <a:pt x="544" y="317"/>
                </a:lnTo>
                <a:lnTo>
                  <a:pt x="556" y="317"/>
                </a:lnTo>
                <a:lnTo>
                  <a:pt x="567" y="312"/>
                </a:lnTo>
                <a:lnTo>
                  <a:pt x="573" y="312"/>
                </a:lnTo>
                <a:lnTo>
                  <a:pt x="573" y="317"/>
                </a:lnTo>
                <a:lnTo>
                  <a:pt x="573" y="323"/>
                </a:lnTo>
                <a:lnTo>
                  <a:pt x="567" y="323"/>
                </a:lnTo>
                <a:lnTo>
                  <a:pt x="567" y="329"/>
                </a:lnTo>
                <a:lnTo>
                  <a:pt x="567" y="334"/>
                </a:lnTo>
                <a:lnTo>
                  <a:pt x="567" y="340"/>
                </a:lnTo>
                <a:lnTo>
                  <a:pt x="573" y="346"/>
                </a:lnTo>
                <a:lnTo>
                  <a:pt x="578" y="346"/>
                </a:lnTo>
                <a:lnTo>
                  <a:pt x="584" y="351"/>
                </a:lnTo>
                <a:lnTo>
                  <a:pt x="590" y="357"/>
                </a:lnTo>
                <a:lnTo>
                  <a:pt x="595" y="357"/>
                </a:lnTo>
                <a:lnTo>
                  <a:pt x="595" y="363"/>
                </a:lnTo>
                <a:lnTo>
                  <a:pt x="595" y="368"/>
                </a:lnTo>
                <a:lnTo>
                  <a:pt x="601" y="368"/>
                </a:lnTo>
                <a:lnTo>
                  <a:pt x="607" y="368"/>
                </a:lnTo>
                <a:lnTo>
                  <a:pt x="612" y="368"/>
                </a:lnTo>
                <a:lnTo>
                  <a:pt x="612" y="374"/>
                </a:lnTo>
                <a:lnTo>
                  <a:pt x="612" y="380"/>
                </a:lnTo>
                <a:lnTo>
                  <a:pt x="607" y="385"/>
                </a:lnTo>
                <a:lnTo>
                  <a:pt x="601" y="391"/>
                </a:lnTo>
                <a:lnTo>
                  <a:pt x="601" y="397"/>
                </a:lnTo>
                <a:lnTo>
                  <a:pt x="595" y="397"/>
                </a:lnTo>
                <a:lnTo>
                  <a:pt x="590" y="397"/>
                </a:lnTo>
                <a:lnTo>
                  <a:pt x="584" y="397"/>
                </a:lnTo>
                <a:lnTo>
                  <a:pt x="578" y="402"/>
                </a:lnTo>
                <a:lnTo>
                  <a:pt x="573" y="414"/>
                </a:lnTo>
                <a:lnTo>
                  <a:pt x="573" y="419"/>
                </a:lnTo>
                <a:lnTo>
                  <a:pt x="567" y="425"/>
                </a:lnTo>
                <a:lnTo>
                  <a:pt x="573" y="431"/>
                </a:lnTo>
                <a:lnTo>
                  <a:pt x="573" y="436"/>
                </a:lnTo>
                <a:lnTo>
                  <a:pt x="573" y="442"/>
                </a:lnTo>
                <a:lnTo>
                  <a:pt x="567" y="448"/>
                </a:lnTo>
                <a:lnTo>
                  <a:pt x="556" y="448"/>
                </a:lnTo>
                <a:lnTo>
                  <a:pt x="556" y="453"/>
                </a:lnTo>
                <a:lnTo>
                  <a:pt x="550" y="453"/>
                </a:lnTo>
                <a:lnTo>
                  <a:pt x="544" y="453"/>
                </a:lnTo>
                <a:lnTo>
                  <a:pt x="544" y="459"/>
                </a:lnTo>
                <a:lnTo>
                  <a:pt x="539" y="459"/>
                </a:lnTo>
                <a:lnTo>
                  <a:pt x="533" y="459"/>
                </a:lnTo>
                <a:lnTo>
                  <a:pt x="527" y="459"/>
                </a:lnTo>
                <a:lnTo>
                  <a:pt x="522" y="459"/>
                </a:lnTo>
                <a:lnTo>
                  <a:pt x="516" y="459"/>
                </a:lnTo>
                <a:lnTo>
                  <a:pt x="510" y="459"/>
                </a:lnTo>
                <a:lnTo>
                  <a:pt x="499" y="465"/>
                </a:lnTo>
                <a:lnTo>
                  <a:pt x="499" y="470"/>
                </a:lnTo>
                <a:lnTo>
                  <a:pt x="493" y="470"/>
                </a:lnTo>
                <a:lnTo>
                  <a:pt x="488" y="470"/>
                </a:lnTo>
                <a:lnTo>
                  <a:pt x="488" y="476"/>
                </a:lnTo>
                <a:lnTo>
                  <a:pt x="488" y="482"/>
                </a:lnTo>
                <a:lnTo>
                  <a:pt x="482" y="482"/>
                </a:lnTo>
                <a:lnTo>
                  <a:pt x="482" y="487"/>
                </a:lnTo>
                <a:lnTo>
                  <a:pt x="476" y="487"/>
                </a:lnTo>
                <a:lnTo>
                  <a:pt x="465" y="499"/>
                </a:lnTo>
                <a:lnTo>
                  <a:pt x="459" y="504"/>
                </a:lnTo>
                <a:lnTo>
                  <a:pt x="459" y="510"/>
                </a:lnTo>
                <a:lnTo>
                  <a:pt x="454" y="510"/>
                </a:lnTo>
                <a:lnTo>
                  <a:pt x="454" y="516"/>
                </a:lnTo>
                <a:lnTo>
                  <a:pt x="454" y="521"/>
                </a:lnTo>
                <a:lnTo>
                  <a:pt x="454" y="527"/>
                </a:lnTo>
                <a:lnTo>
                  <a:pt x="442" y="527"/>
                </a:lnTo>
                <a:lnTo>
                  <a:pt x="442" y="533"/>
                </a:lnTo>
                <a:lnTo>
                  <a:pt x="437" y="538"/>
                </a:lnTo>
                <a:lnTo>
                  <a:pt x="431" y="538"/>
                </a:lnTo>
                <a:lnTo>
                  <a:pt x="425" y="538"/>
                </a:lnTo>
                <a:lnTo>
                  <a:pt x="420" y="538"/>
                </a:lnTo>
                <a:lnTo>
                  <a:pt x="414" y="538"/>
                </a:lnTo>
                <a:lnTo>
                  <a:pt x="414" y="544"/>
                </a:lnTo>
                <a:lnTo>
                  <a:pt x="408" y="544"/>
                </a:lnTo>
                <a:lnTo>
                  <a:pt x="408" y="550"/>
                </a:lnTo>
                <a:lnTo>
                  <a:pt x="403" y="550"/>
                </a:lnTo>
                <a:lnTo>
                  <a:pt x="403" y="555"/>
                </a:lnTo>
                <a:lnTo>
                  <a:pt x="403" y="561"/>
                </a:lnTo>
                <a:lnTo>
                  <a:pt x="403" y="567"/>
                </a:lnTo>
                <a:lnTo>
                  <a:pt x="403" y="578"/>
                </a:lnTo>
                <a:lnTo>
                  <a:pt x="403" y="584"/>
                </a:lnTo>
                <a:lnTo>
                  <a:pt x="397" y="595"/>
                </a:lnTo>
                <a:lnTo>
                  <a:pt x="397" y="612"/>
                </a:lnTo>
                <a:lnTo>
                  <a:pt x="397" y="618"/>
                </a:lnTo>
                <a:lnTo>
                  <a:pt x="403" y="623"/>
                </a:lnTo>
                <a:lnTo>
                  <a:pt x="403" y="629"/>
                </a:lnTo>
                <a:lnTo>
                  <a:pt x="403" y="635"/>
                </a:lnTo>
                <a:lnTo>
                  <a:pt x="408" y="640"/>
                </a:lnTo>
                <a:lnTo>
                  <a:pt x="414" y="646"/>
                </a:lnTo>
                <a:lnTo>
                  <a:pt x="414" y="652"/>
                </a:lnTo>
                <a:lnTo>
                  <a:pt x="420" y="652"/>
                </a:lnTo>
                <a:lnTo>
                  <a:pt x="425" y="657"/>
                </a:lnTo>
                <a:lnTo>
                  <a:pt x="425" y="663"/>
                </a:lnTo>
                <a:lnTo>
                  <a:pt x="425" y="674"/>
                </a:lnTo>
                <a:lnTo>
                  <a:pt x="425" y="680"/>
                </a:lnTo>
                <a:lnTo>
                  <a:pt x="425" y="686"/>
                </a:lnTo>
                <a:lnTo>
                  <a:pt x="425" y="691"/>
                </a:lnTo>
                <a:lnTo>
                  <a:pt x="425" y="697"/>
                </a:lnTo>
                <a:lnTo>
                  <a:pt x="420" y="703"/>
                </a:lnTo>
                <a:lnTo>
                  <a:pt x="414" y="703"/>
                </a:lnTo>
                <a:lnTo>
                  <a:pt x="414" y="708"/>
                </a:lnTo>
                <a:lnTo>
                  <a:pt x="408" y="714"/>
                </a:lnTo>
                <a:lnTo>
                  <a:pt x="403" y="720"/>
                </a:lnTo>
                <a:lnTo>
                  <a:pt x="403" y="725"/>
                </a:lnTo>
                <a:lnTo>
                  <a:pt x="403" y="731"/>
                </a:lnTo>
                <a:lnTo>
                  <a:pt x="397" y="731"/>
                </a:lnTo>
                <a:lnTo>
                  <a:pt x="397" y="737"/>
                </a:lnTo>
                <a:lnTo>
                  <a:pt x="391" y="731"/>
                </a:lnTo>
                <a:lnTo>
                  <a:pt x="386" y="731"/>
                </a:lnTo>
                <a:lnTo>
                  <a:pt x="386" y="737"/>
                </a:lnTo>
                <a:lnTo>
                  <a:pt x="380" y="737"/>
                </a:lnTo>
                <a:lnTo>
                  <a:pt x="374" y="737"/>
                </a:lnTo>
                <a:lnTo>
                  <a:pt x="369" y="731"/>
                </a:lnTo>
                <a:lnTo>
                  <a:pt x="363" y="731"/>
                </a:lnTo>
                <a:lnTo>
                  <a:pt x="357" y="725"/>
                </a:lnTo>
                <a:lnTo>
                  <a:pt x="357" y="720"/>
                </a:lnTo>
                <a:lnTo>
                  <a:pt x="352" y="714"/>
                </a:lnTo>
                <a:lnTo>
                  <a:pt x="352" y="708"/>
                </a:lnTo>
                <a:lnTo>
                  <a:pt x="346" y="708"/>
                </a:lnTo>
                <a:lnTo>
                  <a:pt x="346" y="703"/>
                </a:lnTo>
                <a:lnTo>
                  <a:pt x="340" y="703"/>
                </a:lnTo>
                <a:lnTo>
                  <a:pt x="329" y="703"/>
                </a:lnTo>
                <a:lnTo>
                  <a:pt x="323" y="697"/>
                </a:lnTo>
                <a:lnTo>
                  <a:pt x="318" y="697"/>
                </a:lnTo>
                <a:lnTo>
                  <a:pt x="312" y="697"/>
                </a:lnTo>
                <a:lnTo>
                  <a:pt x="312" y="691"/>
                </a:lnTo>
                <a:lnTo>
                  <a:pt x="312" y="686"/>
                </a:lnTo>
                <a:lnTo>
                  <a:pt x="318" y="680"/>
                </a:lnTo>
                <a:lnTo>
                  <a:pt x="323" y="680"/>
                </a:lnTo>
                <a:lnTo>
                  <a:pt x="329" y="680"/>
                </a:lnTo>
                <a:lnTo>
                  <a:pt x="335" y="680"/>
                </a:lnTo>
                <a:lnTo>
                  <a:pt x="335" y="674"/>
                </a:lnTo>
                <a:lnTo>
                  <a:pt x="335" y="669"/>
                </a:lnTo>
                <a:lnTo>
                  <a:pt x="335" y="663"/>
                </a:lnTo>
                <a:lnTo>
                  <a:pt x="329" y="652"/>
                </a:lnTo>
                <a:lnTo>
                  <a:pt x="329" y="635"/>
                </a:lnTo>
                <a:lnTo>
                  <a:pt x="329" y="623"/>
                </a:lnTo>
                <a:lnTo>
                  <a:pt x="329" y="618"/>
                </a:lnTo>
                <a:lnTo>
                  <a:pt x="329" y="612"/>
                </a:lnTo>
                <a:lnTo>
                  <a:pt x="329" y="606"/>
                </a:lnTo>
                <a:lnTo>
                  <a:pt x="329" y="584"/>
                </a:lnTo>
                <a:lnTo>
                  <a:pt x="335" y="584"/>
                </a:lnTo>
                <a:lnTo>
                  <a:pt x="335" y="578"/>
                </a:lnTo>
                <a:lnTo>
                  <a:pt x="335" y="572"/>
                </a:lnTo>
                <a:lnTo>
                  <a:pt x="335" y="567"/>
                </a:lnTo>
                <a:lnTo>
                  <a:pt x="335" y="561"/>
                </a:lnTo>
                <a:lnTo>
                  <a:pt x="329" y="561"/>
                </a:lnTo>
                <a:lnTo>
                  <a:pt x="329" y="555"/>
                </a:lnTo>
                <a:lnTo>
                  <a:pt x="329" y="550"/>
                </a:lnTo>
                <a:lnTo>
                  <a:pt x="323" y="550"/>
                </a:lnTo>
                <a:lnTo>
                  <a:pt x="323" y="544"/>
                </a:lnTo>
                <a:lnTo>
                  <a:pt x="318" y="544"/>
                </a:lnTo>
                <a:lnTo>
                  <a:pt x="318" y="538"/>
                </a:lnTo>
                <a:lnTo>
                  <a:pt x="312" y="533"/>
                </a:lnTo>
                <a:lnTo>
                  <a:pt x="312" y="527"/>
                </a:lnTo>
                <a:lnTo>
                  <a:pt x="306" y="527"/>
                </a:lnTo>
                <a:lnTo>
                  <a:pt x="301" y="521"/>
                </a:lnTo>
                <a:lnTo>
                  <a:pt x="295" y="516"/>
                </a:lnTo>
                <a:lnTo>
                  <a:pt x="289" y="516"/>
                </a:lnTo>
                <a:lnTo>
                  <a:pt x="289" y="510"/>
                </a:lnTo>
                <a:lnTo>
                  <a:pt x="284" y="510"/>
                </a:lnTo>
                <a:lnTo>
                  <a:pt x="278" y="510"/>
                </a:lnTo>
                <a:lnTo>
                  <a:pt x="267" y="504"/>
                </a:lnTo>
                <a:lnTo>
                  <a:pt x="261" y="499"/>
                </a:lnTo>
                <a:lnTo>
                  <a:pt x="255" y="499"/>
                </a:lnTo>
                <a:lnTo>
                  <a:pt x="250" y="499"/>
                </a:lnTo>
                <a:lnTo>
                  <a:pt x="244" y="499"/>
                </a:lnTo>
                <a:lnTo>
                  <a:pt x="238" y="499"/>
                </a:lnTo>
                <a:lnTo>
                  <a:pt x="233" y="499"/>
                </a:lnTo>
                <a:lnTo>
                  <a:pt x="233" y="493"/>
                </a:lnTo>
                <a:lnTo>
                  <a:pt x="227" y="487"/>
                </a:lnTo>
                <a:lnTo>
                  <a:pt x="221" y="482"/>
                </a:lnTo>
                <a:lnTo>
                  <a:pt x="221" y="470"/>
                </a:lnTo>
                <a:lnTo>
                  <a:pt x="216" y="470"/>
                </a:lnTo>
                <a:lnTo>
                  <a:pt x="216" y="465"/>
                </a:lnTo>
                <a:lnTo>
                  <a:pt x="210" y="465"/>
                </a:lnTo>
                <a:lnTo>
                  <a:pt x="204" y="459"/>
                </a:lnTo>
                <a:lnTo>
                  <a:pt x="199" y="459"/>
                </a:lnTo>
                <a:lnTo>
                  <a:pt x="193" y="453"/>
                </a:lnTo>
                <a:lnTo>
                  <a:pt x="187" y="453"/>
                </a:lnTo>
                <a:lnTo>
                  <a:pt x="182" y="453"/>
                </a:lnTo>
                <a:lnTo>
                  <a:pt x="176" y="453"/>
                </a:lnTo>
                <a:lnTo>
                  <a:pt x="176" y="448"/>
                </a:lnTo>
                <a:lnTo>
                  <a:pt x="176" y="442"/>
                </a:lnTo>
                <a:lnTo>
                  <a:pt x="176" y="436"/>
                </a:lnTo>
                <a:lnTo>
                  <a:pt x="170" y="436"/>
                </a:lnTo>
                <a:lnTo>
                  <a:pt x="170" y="431"/>
                </a:lnTo>
                <a:lnTo>
                  <a:pt x="176" y="431"/>
                </a:lnTo>
                <a:lnTo>
                  <a:pt x="176" y="425"/>
                </a:lnTo>
                <a:lnTo>
                  <a:pt x="176" y="414"/>
                </a:lnTo>
                <a:lnTo>
                  <a:pt x="176" y="408"/>
                </a:lnTo>
                <a:lnTo>
                  <a:pt x="170" y="397"/>
                </a:lnTo>
                <a:lnTo>
                  <a:pt x="165" y="391"/>
                </a:lnTo>
                <a:lnTo>
                  <a:pt x="159" y="397"/>
                </a:lnTo>
                <a:lnTo>
                  <a:pt x="153" y="397"/>
                </a:lnTo>
                <a:lnTo>
                  <a:pt x="148" y="397"/>
                </a:lnTo>
                <a:lnTo>
                  <a:pt x="142" y="402"/>
                </a:lnTo>
                <a:lnTo>
                  <a:pt x="136" y="402"/>
                </a:lnTo>
                <a:lnTo>
                  <a:pt x="131" y="402"/>
                </a:lnTo>
                <a:lnTo>
                  <a:pt x="125" y="402"/>
                </a:lnTo>
                <a:lnTo>
                  <a:pt x="119" y="408"/>
                </a:lnTo>
                <a:lnTo>
                  <a:pt x="114" y="414"/>
                </a:lnTo>
                <a:lnTo>
                  <a:pt x="102" y="414"/>
                </a:lnTo>
                <a:lnTo>
                  <a:pt x="91" y="425"/>
                </a:lnTo>
                <a:lnTo>
                  <a:pt x="85" y="431"/>
                </a:lnTo>
                <a:lnTo>
                  <a:pt x="80" y="436"/>
                </a:lnTo>
                <a:lnTo>
                  <a:pt x="74" y="442"/>
                </a:lnTo>
                <a:lnTo>
                  <a:pt x="68" y="442"/>
                </a:lnTo>
                <a:lnTo>
                  <a:pt x="63" y="448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47" name="Freeform 8"/>
          <p:cNvSpPr>
            <a:spLocks/>
          </p:cNvSpPr>
          <p:nvPr/>
        </p:nvSpPr>
        <p:spPr bwMode="gray">
          <a:xfrm>
            <a:off x="3359549" y="1059314"/>
            <a:ext cx="1258617" cy="1344388"/>
          </a:xfrm>
          <a:custGeom>
            <a:avLst/>
            <a:gdLst>
              <a:gd name="T0" fmla="*/ 2147483647 w 743"/>
              <a:gd name="T1" fmla="*/ 2147483647 h 794"/>
              <a:gd name="T2" fmla="*/ 0 w 743"/>
              <a:gd name="T3" fmla="*/ 2147483647 h 794"/>
              <a:gd name="T4" fmla="*/ 2147483647 w 743"/>
              <a:gd name="T5" fmla="*/ 2147483647 h 794"/>
              <a:gd name="T6" fmla="*/ 2147483647 w 743"/>
              <a:gd name="T7" fmla="*/ 2147483647 h 794"/>
              <a:gd name="T8" fmla="*/ 2147483647 w 743"/>
              <a:gd name="T9" fmla="*/ 2147483647 h 794"/>
              <a:gd name="T10" fmla="*/ 2147483647 w 743"/>
              <a:gd name="T11" fmla="*/ 2147483647 h 794"/>
              <a:gd name="T12" fmla="*/ 2147483647 w 743"/>
              <a:gd name="T13" fmla="*/ 2147483647 h 794"/>
              <a:gd name="T14" fmla="*/ 2147483647 w 743"/>
              <a:gd name="T15" fmla="*/ 2147483647 h 794"/>
              <a:gd name="T16" fmla="*/ 2147483647 w 743"/>
              <a:gd name="T17" fmla="*/ 2147483647 h 794"/>
              <a:gd name="T18" fmla="*/ 2147483647 w 743"/>
              <a:gd name="T19" fmla="*/ 2147483647 h 794"/>
              <a:gd name="T20" fmla="*/ 2147483647 w 743"/>
              <a:gd name="T21" fmla="*/ 2147483647 h 794"/>
              <a:gd name="T22" fmla="*/ 2147483647 w 743"/>
              <a:gd name="T23" fmla="*/ 2147483647 h 794"/>
              <a:gd name="T24" fmla="*/ 2147483647 w 743"/>
              <a:gd name="T25" fmla="*/ 2147483647 h 794"/>
              <a:gd name="T26" fmla="*/ 2147483647 w 743"/>
              <a:gd name="T27" fmla="*/ 2147483647 h 794"/>
              <a:gd name="T28" fmla="*/ 2147483647 w 743"/>
              <a:gd name="T29" fmla="*/ 2147483647 h 794"/>
              <a:gd name="T30" fmla="*/ 2147483647 w 743"/>
              <a:gd name="T31" fmla="*/ 2147483647 h 794"/>
              <a:gd name="T32" fmla="*/ 2147483647 w 743"/>
              <a:gd name="T33" fmla="*/ 2147483647 h 794"/>
              <a:gd name="T34" fmla="*/ 2147483647 w 743"/>
              <a:gd name="T35" fmla="*/ 2147483647 h 794"/>
              <a:gd name="T36" fmla="*/ 2147483647 w 743"/>
              <a:gd name="T37" fmla="*/ 2147483647 h 794"/>
              <a:gd name="T38" fmla="*/ 2147483647 w 743"/>
              <a:gd name="T39" fmla="*/ 2147483647 h 794"/>
              <a:gd name="T40" fmla="*/ 2147483647 w 743"/>
              <a:gd name="T41" fmla="*/ 0 h 794"/>
              <a:gd name="T42" fmla="*/ 2147483647 w 743"/>
              <a:gd name="T43" fmla="*/ 2147483647 h 794"/>
              <a:gd name="T44" fmla="*/ 2147483647 w 743"/>
              <a:gd name="T45" fmla="*/ 2147483647 h 794"/>
              <a:gd name="T46" fmla="*/ 2147483647 w 743"/>
              <a:gd name="T47" fmla="*/ 2147483647 h 794"/>
              <a:gd name="T48" fmla="*/ 2147483647 w 743"/>
              <a:gd name="T49" fmla="*/ 2147483647 h 794"/>
              <a:gd name="T50" fmla="*/ 2147483647 w 743"/>
              <a:gd name="T51" fmla="*/ 2147483647 h 794"/>
              <a:gd name="T52" fmla="*/ 2147483647 w 743"/>
              <a:gd name="T53" fmla="*/ 2147483647 h 794"/>
              <a:gd name="T54" fmla="*/ 2147483647 w 743"/>
              <a:gd name="T55" fmla="*/ 2147483647 h 794"/>
              <a:gd name="T56" fmla="*/ 2147483647 w 743"/>
              <a:gd name="T57" fmla="*/ 2147483647 h 794"/>
              <a:gd name="T58" fmla="*/ 2147483647 w 743"/>
              <a:gd name="T59" fmla="*/ 2147483647 h 794"/>
              <a:gd name="T60" fmla="*/ 2147483647 w 743"/>
              <a:gd name="T61" fmla="*/ 2147483647 h 794"/>
              <a:gd name="T62" fmla="*/ 2147483647 w 743"/>
              <a:gd name="T63" fmla="*/ 2147483647 h 794"/>
              <a:gd name="T64" fmla="*/ 2147483647 w 743"/>
              <a:gd name="T65" fmla="*/ 2147483647 h 794"/>
              <a:gd name="T66" fmla="*/ 2147483647 w 743"/>
              <a:gd name="T67" fmla="*/ 2147483647 h 794"/>
              <a:gd name="T68" fmla="*/ 2147483647 w 743"/>
              <a:gd name="T69" fmla="*/ 2147483647 h 794"/>
              <a:gd name="T70" fmla="*/ 2147483647 w 743"/>
              <a:gd name="T71" fmla="*/ 2147483647 h 794"/>
              <a:gd name="T72" fmla="*/ 2147483647 w 743"/>
              <a:gd name="T73" fmla="*/ 2147483647 h 794"/>
              <a:gd name="T74" fmla="*/ 2147483647 w 743"/>
              <a:gd name="T75" fmla="*/ 2147483647 h 794"/>
              <a:gd name="T76" fmla="*/ 2147483647 w 743"/>
              <a:gd name="T77" fmla="*/ 2147483647 h 794"/>
              <a:gd name="T78" fmla="*/ 2147483647 w 743"/>
              <a:gd name="T79" fmla="*/ 2147483647 h 794"/>
              <a:gd name="T80" fmla="*/ 2147483647 w 743"/>
              <a:gd name="T81" fmla="*/ 2147483647 h 794"/>
              <a:gd name="T82" fmla="*/ 2147483647 w 743"/>
              <a:gd name="T83" fmla="*/ 2147483647 h 794"/>
              <a:gd name="T84" fmla="*/ 2147483647 w 743"/>
              <a:gd name="T85" fmla="*/ 2147483647 h 794"/>
              <a:gd name="T86" fmla="*/ 2147483647 w 743"/>
              <a:gd name="T87" fmla="*/ 2147483647 h 794"/>
              <a:gd name="T88" fmla="*/ 2147483647 w 743"/>
              <a:gd name="T89" fmla="*/ 2147483647 h 794"/>
              <a:gd name="T90" fmla="*/ 2147483647 w 743"/>
              <a:gd name="T91" fmla="*/ 2147483647 h 794"/>
              <a:gd name="T92" fmla="*/ 2147483647 w 743"/>
              <a:gd name="T93" fmla="*/ 2147483647 h 794"/>
              <a:gd name="T94" fmla="*/ 2147483647 w 743"/>
              <a:gd name="T95" fmla="*/ 2147483647 h 794"/>
              <a:gd name="T96" fmla="*/ 2147483647 w 743"/>
              <a:gd name="T97" fmla="*/ 2147483647 h 794"/>
              <a:gd name="T98" fmla="*/ 2147483647 w 743"/>
              <a:gd name="T99" fmla="*/ 2147483647 h 794"/>
              <a:gd name="T100" fmla="*/ 2147483647 w 743"/>
              <a:gd name="T101" fmla="*/ 2147483647 h 794"/>
              <a:gd name="T102" fmla="*/ 2147483647 w 743"/>
              <a:gd name="T103" fmla="*/ 2147483647 h 794"/>
              <a:gd name="T104" fmla="*/ 2147483647 w 743"/>
              <a:gd name="T105" fmla="*/ 2147483647 h 794"/>
              <a:gd name="T106" fmla="*/ 2147483647 w 743"/>
              <a:gd name="T107" fmla="*/ 2147483647 h 794"/>
              <a:gd name="T108" fmla="*/ 2147483647 w 743"/>
              <a:gd name="T109" fmla="*/ 2147483647 h 794"/>
              <a:gd name="T110" fmla="*/ 2147483647 w 743"/>
              <a:gd name="T111" fmla="*/ 2147483647 h 794"/>
              <a:gd name="T112" fmla="*/ 2147483647 w 743"/>
              <a:gd name="T113" fmla="*/ 2147483647 h 794"/>
              <a:gd name="T114" fmla="*/ 2147483647 w 743"/>
              <a:gd name="T115" fmla="*/ 2147483647 h 794"/>
              <a:gd name="T116" fmla="*/ 2147483647 w 743"/>
              <a:gd name="T117" fmla="*/ 2147483647 h 794"/>
              <a:gd name="T118" fmla="*/ 2147483647 w 743"/>
              <a:gd name="T119" fmla="*/ 2147483647 h 794"/>
              <a:gd name="T120" fmla="*/ 2147483647 w 743"/>
              <a:gd name="T121" fmla="*/ 2147483647 h 79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43"/>
              <a:gd name="T184" fmla="*/ 0 h 794"/>
              <a:gd name="T185" fmla="*/ 743 w 743"/>
              <a:gd name="T186" fmla="*/ 794 h 79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43" h="794">
                <a:moveTo>
                  <a:pt x="6" y="703"/>
                </a:moveTo>
                <a:lnTo>
                  <a:pt x="6" y="698"/>
                </a:lnTo>
                <a:lnTo>
                  <a:pt x="6" y="692"/>
                </a:lnTo>
                <a:lnTo>
                  <a:pt x="12" y="686"/>
                </a:lnTo>
                <a:lnTo>
                  <a:pt x="12" y="681"/>
                </a:lnTo>
                <a:lnTo>
                  <a:pt x="12" y="675"/>
                </a:lnTo>
                <a:lnTo>
                  <a:pt x="12" y="669"/>
                </a:lnTo>
                <a:lnTo>
                  <a:pt x="17" y="669"/>
                </a:lnTo>
                <a:lnTo>
                  <a:pt x="17" y="664"/>
                </a:lnTo>
                <a:lnTo>
                  <a:pt x="17" y="658"/>
                </a:lnTo>
                <a:lnTo>
                  <a:pt x="12" y="652"/>
                </a:lnTo>
                <a:lnTo>
                  <a:pt x="12" y="647"/>
                </a:lnTo>
                <a:lnTo>
                  <a:pt x="6" y="641"/>
                </a:lnTo>
                <a:lnTo>
                  <a:pt x="0" y="635"/>
                </a:lnTo>
                <a:lnTo>
                  <a:pt x="0" y="630"/>
                </a:lnTo>
                <a:lnTo>
                  <a:pt x="0" y="624"/>
                </a:lnTo>
                <a:lnTo>
                  <a:pt x="0" y="618"/>
                </a:lnTo>
                <a:lnTo>
                  <a:pt x="0" y="613"/>
                </a:lnTo>
                <a:lnTo>
                  <a:pt x="0" y="607"/>
                </a:lnTo>
                <a:lnTo>
                  <a:pt x="0" y="601"/>
                </a:lnTo>
                <a:lnTo>
                  <a:pt x="6" y="601"/>
                </a:lnTo>
                <a:lnTo>
                  <a:pt x="6" y="596"/>
                </a:lnTo>
                <a:lnTo>
                  <a:pt x="6" y="590"/>
                </a:lnTo>
                <a:lnTo>
                  <a:pt x="6" y="584"/>
                </a:lnTo>
                <a:lnTo>
                  <a:pt x="12" y="584"/>
                </a:lnTo>
                <a:lnTo>
                  <a:pt x="12" y="573"/>
                </a:lnTo>
                <a:lnTo>
                  <a:pt x="12" y="567"/>
                </a:lnTo>
                <a:lnTo>
                  <a:pt x="17" y="567"/>
                </a:lnTo>
                <a:lnTo>
                  <a:pt x="17" y="562"/>
                </a:lnTo>
                <a:lnTo>
                  <a:pt x="23" y="562"/>
                </a:lnTo>
                <a:lnTo>
                  <a:pt x="23" y="556"/>
                </a:lnTo>
                <a:lnTo>
                  <a:pt x="34" y="556"/>
                </a:lnTo>
                <a:lnTo>
                  <a:pt x="40" y="556"/>
                </a:lnTo>
                <a:lnTo>
                  <a:pt x="46" y="556"/>
                </a:lnTo>
                <a:lnTo>
                  <a:pt x="51" y="556"/>
                </a:lnTo>
                <a:lnTo>
                  <a:pt x="57" y="562"/>
                </a:lnTo>
                <a:lnTo>
                  <a:pt x="63" y="562"/>
                </a:lnTo>
                <a:lnTo>
                  <a:pt x="68" y="562"/>
                </a:lnTo>
                <a:lnTo>
                  <a:pt x="68" y="556"/>
                </a:lnTo>
                <a:lnTo>
                  <a:pt x="74" y="556"/>
                </a:lnTo>
                <a:lnTo>
                  <a:pt x="80" y="556"/>
                </a:lnTo>
                <a:lnTo>
                  <a:pt x="85" y="545"/>
                </a:lnTo>
                <a:lnTo>
                  <a:pt x="91" y="545"/>
                </a:lnTo>
                <a:lnTo>
                  <a:pt x="97" y="539"/>
                </a:lnTo>
                <a:lnTo>
                  <a:pt x="97" y="533"/>
                </a:lnTo>
                <a:lnTo>
                  <a:pt x="97" y="528"/>
                </a:lnTo>
                <a:lnTo>
                  <a:pt x="102" y="522"/>
                </a:lnTo>
                <a:lnTo>
                  <a:pt x="108" y="522"/>
                </a:lnTo>
                <a:lnTo>
                  <a:pt x="114" y="522"/>
                </a:lnTo>
                <a:lnTo>
                  <a:pt x="119" y="528"/>
                </a:lnTo>
                <a:lnTo>
                  <a:pt x="119" y="522"/>
                </a:lnTo>
                <a:lnTo>
                  <a:pt x="125" y="522"/>
                </a:lnTo>
                <a:lnTo>
                  <a:pt x="125" y="516"/>
                </a:lnTo>
                <a:lnTo>
                  <a:pt x="131" y="516"/>
                </a:lnTo>
                <a:lnTo>
                  <a:pt x="131" y="511"/>
                </a:lnTo>
                <a:lnTo>
                  <a:pt x="125" y="505"/>
                </a:lnTo>
                <a:lnTo>
                  <a:pt x="125" y="499"/>
                </a:lnTo>
                <a:lnTo>
                  <a:pt x="119" y="499"/>
                </a:lnTo>
                <a:lnTo>
                  <a:pt x="114" y="488"/>
                </a:lnTo>
                <a:lnTo>
                  <a:pt x="108" y="488"/>
                </a:lnTo>
                <a:lnTo>
                  <a:pt x="108" y="482"/>
                </a:lnTo>
                <a:lnTo>
                  <a:pt x="102" y="482"/>
                </a:lnTo>
                <a:lnTo>
                  <a:pt x="97" y="482"/>
                </a:lnTo>
                <a:lnTo>
                  <a:pt x="91" y="482"/>
                </a:lnTo>
                <a:lnTo>
                  <a:pt x="91" y="477"/>
                </a:lnTo>
                <a:lnTo>
                  <a:pt x="85" y="477"/>
                </a:lnTo>
                <a:lnTo>
                  <a:pt x="85" y="471"/>
                </a:lnTo>
                <a:lnTo>
                  <a:pt x="85" y="465"/>
                </a:lnTo>
                <a:lnTo>
                  <a:pt x="85" y="460"/>
                </a:lnTo>
                <a:lnTo>
                  <a:pt x="91" y="460"/>
                </a:lnTo>
                <a:lnTo>
                  <a:pt x="91" y="454"/>
                </a:lnTo>
                <a:lnTo>
                  <a:pt x="97" y="454"/>
                </a:lnTo>
                <a:lnTo>
                  <a:pt x="97" y="448"/>
                </a:lnTo>
                <a:lnTo>
                  <a:pt x="97" y="443"/>
                </a:lnTo>
                <a:lnTo>
                  <a:pt x="102" y="443"/>
                </a:lnTo>
                <a:lnTo>
                  <a:pt x="102" y="437"/>
                </a:lnTo>
                <a:lnTo>
                  <a:pt x="102" y="431"/>
                </a:lnTo>
                <a:lnTo>
                  <a:pt x="102" y="426"/>
                </a:lnTo>
                <a:lnTo>
                  <a:pt x="102" y="420"/>
                </a:lnTo>
                <a:lnTo>
                  <a:pt x="97" y="414"/>
                </a:lnTo>
                <a:lnTo>
                  <a:pt x="97" y="409"/>
                </a:lnTo>
                <a:lnTo>
                  <a:pt x="97" y="403"/>
                </a:lnTo>
                <a:lnTo>
                  <a:pt x="97" y="397"/>
                </a:lnTo>
                <a:lnTo>
                  <a:pt x="91" y="392"/>
                </a:lnTo>
                <a:lnTo>
                  <a:pt x="85" y="386"/>
                </a:lnTo>
                <a:lnTo>
                  <a:pt x="85" y="380"/>
                </a:lnTo>
                <a:lnTo>
                  <a:pt x="85" y="369"/>
                </a:lnTo>
                <a:lnTo>
                  <a:pt x="85" y="363"/>
                </a:lnTo>
                <a:lnTo>
                  <a:pt x="80" y="363"/>
                </a:lnTo>
                <a:lnTo>
                  <a:pt x="80" y="358"/>
                </a:lnTo>
                <a:lnTo>
                  <a:pt x="80" y="352"/>
                </a:lnTo>
                <a:lnTo>
                  <a:pt x="80" y="346"/>
                </a:lnTo>
                <a:lnTo>
                  <a:pt x="80" y="341"/>
                </a:lnTo>
                <a:lnTo>
                  <a:pt x="74" y="341"/>
                </a:lnTo>
                <a:lnTo>
                  <a:pt x="74" y="335"/>
                </a:lnTo>
                <a:lnTo>
                  <a:pt x="68" y="335"/>
                </a:lnTo>
                <a:lnTo>
                  <a:pt x="68" y="329"/>
                </a:lnTo>
                <a:lnTo>
                  <a:pt x="68" y="312"/>
                </a:lnTo>
                <a:lnTo>
                  <a:pt x="68" y="307"/>
                </a:lnTo>
                <a:lnTo>
                  <a:pt x="68" y="301"/>
                </a:lnTo>
                <a:lnTo>
                  <a:pt x="68" y="295"/>
                </a:lnTo>
                <a:lnTo>
                  <a:pt x="68" y="290"/>
                </a:lnTo>
                <a:lnTo>
                  <a:pt x="68" y="267"/>
                </a:lnTo>
                <a:lnTo>
                  <a:pt x="63" y="261"/>
                </a:lnTo>
                <a:lnTo>
                  <a:pt x="63" y="256"/>
                </a:lnTo>
                <a:lnTo>
                  <a:pt x="63" y="250"/>
                </a:lnTo>
                <a:lnTo>
                  <a:pt x="63" y="244"/>
                </a:lnTo>
                <a:lnTo>
                  <a:pt x="57" y="239"/>
                </a:lnTo>
                <a:lnTo>
                  <a:pt x="57" y="233"/>
                </a:lnTo>
                <a:lnTo>
                  <a:pt x="57" y="205"/>
                </a:lnTo>
                <a:lnTo>
                  <a:pt x="57" y="193"/>
                </a:lnTo>
                <a:lnTo>
                  <a:pt x="63" y="182"/>
                </a:lnTo>
                <a:lnTo>
                  <a:pt x="63" y="176"/>
                </a:lnTo>
                <a:lnTo>
                  <a:pt x="63" y="165"/>
                </a:lnTo>
                <a:lnTo>
                  <a:pt x="63" y="154"/>
                </a:lnTo>
                <a:lnTo>
                  <a:pt x="63" y="137"/>
                </a:lnTo>
                <a:lnTo>
                  <a:pt x="63" y="119"/>
                </a:lnTo>
                <a:lnTo>
                  <a:pt x="74" y="119"/>
                </a:lnTo>
                <a:lnTo>
                  <a:pt x="80" y="114"/>
                </a:lnTo>
                <a:lnTo>
                  <a:pt x="85" y="114"/>
                </a:lnTo>
                <a:lnTo>
                  <a:pt x="91" y="114"/>
                </a:lnTo>
                <a:lnTo>
                  <a:pt x="91" y="108"/>
                </a:lnTo>
                <a:lnTo>
                  <a:pt x="97" y="108"/>
                </a:lnTo>
                <a:lnTo>
                  <a:pt x="102" y="97"/>
                </a:lnTo>
                <a:lnTo>
                  <a:pt x="108" y="97"/>
                </a:lnTo>
                <a:lnTo>
                  <a:pt x="108" y="91"/>
                </a:lnTo>
                <a:lnTo>
                  <a:pt x="114" y="91"/>
                </a:lnTo>
                <a:lnTo>
                  <a:pt x="114" y="85"/>
                </a:lnTo>
                <a:lnTo>
                  <a:pt x="119" y="85"/>
                </a:lnTo>
                <a:lnTo>
                  <a:pt x="125" y="80"/>
                </a:lnTo>
                <a:lnTo>
                  <a:pt x="131" y="80"/>
                </a:lnTo>
                <a:lnTo>
                  <a:pt x="136" y="80"/>
                </a:lnTo>
                <a:lnTo>
                  <a:pt x="153" y="85"/>
                </a:lnTo>
                <a:lnTo>
                  <a:pt x="159" y="85"/>
                </a:lnTo>
                <a:lnTo>
                  <a:pt x="170" y="85"/>
                </a:lnTo>
                <a:lnTo>
                  <a:pt x="176" y="85"/>
                </a:lnTo>
                <a:lnTo>
                  <a:pt x="182" y="85"/>
                </a:lnTo>
                <a:lnTo>
                  <a:pt x="193" y="80"/>
                </a:lnTo>
                <a:lnTo>
                  <a:pt x="199" y="74"/>
                </a:lnTo>
                <a:lnTo>
                  <a:pt x="205" y="74"/>
                </a:lnTo>
                <a:lnTo>
                  <a:pt x="210" y="68"/>
                </a:lnTo>
                <a:lnTo>
                  <a:pt x="216" y="68"/>
                </a:lnTo>
                <a:lnTo>
                  <a:pt x="222" y="68"/>
                </a:lnTo>
                <a:lnTo>
                  <a:pt x="222" y="63"/>
                </a:lnTo>
                <a:lnTo>
                  <a:pt x="227" y="63"/>
                </a:lnTo>
                <a:lnTo>
                  <a:pt x="233" y="57"/>
                </a:lnTo>
                <a:lnTo>
                  <a:pt x="239" y="51"/>
                </a:lnTo>
                <a:lnTo>
                  <a:pt x="244" y="51"/>
                </a:lnTo>
                <a:lnTo>
                  <a:pt x="250" y="51"/>
                </a:lnTo>
                <a:lnTo>
                  <a:pt x="250" y="46"/>
                </a:lnTo>
                <a:lnTo>
                  <a:pt x="256" y="46"/>
                </a:lnTo>
                <a:lnTo>
                  <a:pt x="261" y="40"/>
                </a:lnTo>
                <a:lnTo>
                  <a:pt x="267" y="40"/>
                </a:lnTo>
                <a:lnTo>
                  <a:pt x="267" y="34"/>
                </a:lnTo>
                <a:lnTo>
                  <a:pt x="273" y="34"/>
                </a:lnTo>
                <a:lnTo>
                  <a:pt x="278" y="34"/>
                </a:lnTo>
                <a:lnTo>
                  <a:pt x="295" y="23"/>
                </a:lnTo>
                <a:lnTo>
                  <a:pt x="295" y="17"/>
                </a:lnTo>
                <a:lnTo>
                  <a:pt x="307" y="12"/>
                </a:lnTo>
                <a:lnTo>
                  <a:pt x="312" y="12"/>
                </a:lnTo>
                <a:lnTo>
                  <a:pt x="312" y="6"/>
                </a:lnTo>
                <a:lnTo>
                  <a:pt x="318" y="6"/>
                </a:lnTo>
                <a:lnTo>
                  <a:pt x="329" y="0"/>
                </a:lnTo>
                <a:lnTo>
                  <a:pt x="335" y="0"/>
                </a:lnTo>
                <a:lnTo>
                  <a:pt x="341" y="0"/>
                </a:lnTo>
                <a:lnTo>
                  <a:pt x="346" y="0"/>
                </a:lnTo>
                <a:lnTo>
                  <a:pt x="352" y="0"/>
                </a:lnTo>
                <a:lnTo>
                  <a:pt x="358" y="0"/>
                </a:lnTo>
                <a:lnTo>
                  <a:pt x="363" y="6"/>
                </a:lnTo>
                <a:lnTo>
                  <a:pt x="369" y="6"/>
                </a:lnTo>
                <a:lnTo>
                  <a:pt x="375" y="6"/>
                </a:lnTo>
                <a:lnTo>
                  <a:pt x="392" y="6"/>
                </a:lnTo>
                <a:lnTo>
                  <a:pt x="397" y="6"/>
                </a:lnTo>
                <a:lnTo>
                  <a:pt x="403" y="12"/>
                </a:lnTo>
                <a:lnTo>
                  <a:pt x="409" y="12"/>
                </a:lnTo>
                <a:lnTo>
                  <a:pt x="414" y="12"/>
                </a:lnTo>
                <a:lnTo>
                  <a:pt x="420" y="12"/>
                </a:lnTo>
                <a:lnTo>
                  <a:pt x="426" y="12"/>
                </a:lnTo>
                <a:lnTo>
                  <a:pt x="426" y="17"/>
                </a:lnTo>
                <a:lnTo>
                  <a:pt x="431" y="17"/>
                </a:lnTo>
                <a:lnTo>
                  <a:pt x="443" y="23"/>
                </a:lnTo>
                <a:lnTo>
                  <a:pt x="448" y="23"/>
                </a:lnTo>
                <a:lnTo>
                  <a:pt x="454" y="29"/>
                </a:lnTo>
                <a:lnTo>
                  <a:pt x="460" y="34"/>
                </a:lnTo>
                <a:lnTo>
                  <a:pt x="465" y="40"/>
                </a:lnTo>
                <a:lnTo>
                  <a:pt x="471" y="40"/>
                </a:lnTo>
                <a:lnTo>
                  <a:pt x="488" y="46"/>
                </a:lnTo>
                <a:lnTo>
                  <a:pt x="488" y="51"/>
                </a:lnTo>
                <a:lnTo>
                  <a:pt x="494" y="51"/>
                </a:lnTo>
                <a:lnTo>
                  <a:pt x="499" y="57"/>
                </a:lnTo>
                <a:lnTo>
                  <a:pt x="499" y="63"/>
                </a:lnTo>
                <a:lnTo>
                  <a:pt x="505" y="63"/>
                </a:lnTo>
                <a:lnTo>
                  <a:pt x="505" y="68"/>
                </a:lnTo>
                <a:lnTo>
                  <a:pt x="511" y="74"/>
                </a:lnTo>
                <a:lnTo>
                  <a:pt x="516" y="80"/>
                </a:lnTo>
                <a:lnTo>
                  <a:pt x="522" y="80"/>
                </a:lnTo>
                <a:lnTo>
                  <a:pt x="528" y="85"/>
                </a:lnTo>
                <a:lnTo>
                  <a:pt x="528" y="91"/>
                </a:lnTo>
                <a:lnTo>
                  <a:pt x="533" y="91"/>
                </a:lnTo>
                <a:lnTo>
                  <a:pt x="539" y="97"/>
                </a:lnTo>
                <a:lnTo>
                  <a:pt x="545" y="102"/>
                </a:lnTo>
                <a:lnTo>
                  <a:pt x="550" y="97"/>
                </a:lnTo>
                <a:lnTo>
                  <a:pt x="562" y="97"/>
                </a:lnTo>
                <a:lnTo>
                  <a:pt x="567" y="97"/>
                </a:lnTo>
                <a:lnTo>
                  <a:pt x="573" y="97"/>
                </a:lnTo>
                <a:lnTo>
                  <a:pt x="579" y="97"/>
                </a:lnTo>
                <a:lnTo>
                  <a:pt x="584" y="102"/>
                </a:lnTo>
                <a:lnTo>
                  <a:pt x="590" y="102"/>
                </a:lnTo>
                <a:lnTo>
                  <a:pt x="596" y="108"/>
                </a:lnTo>
                <a:lnTo>
                  <a:pt x="601" y="114"/>
                </a:lnTo>
                <a:lnTo>
                  <a:pt x="607" y="114"/>
                </a:lnTo>
                <a:lnTo>
                  <a:pt x="618" y="125"/>
                </a:lnTo>
                <a:lnTo>
                  <a:pt x="618" y="131"/>
                </a:lnTo>
                <a:lnTo>
                  <a:pt x="624" y="137"/>
                </a:lnTo>
                <a:lnTo>
                  <a:pt x="624" y="142"/>
                </a:lnTo>
                <a:lnTo>
                  <a:pt x="630" y="142"/>
                </a:lnTo>
                <a:lnTo>
                  <a:pt x="635" y="148"/>
                </a:lnTo>
                <a:lnTo>
                  <a:pt x="641" y="148"/>
                </a:lnTo>
                <a:lnTo>
                  <a:pt x="647" y="148"/>
                </a:lnTo>
                <a:lnTo>
                  <a:pt x="647" y="154"/>
                </a:lnTo>
                <a:lnTo>
                  <a:pt x="647" y="148"/>
                </a:lnTo>
                <a:lnTo>
                  <a:pt x="652" y="154"/>
                </a:lnTo>
                <a:lnTo>
                  <a:pt x="664" y="154"/>
                </a:lnTo>
                <a:lnTo>
                  <a:pt x="669" y="159"/>
                </a:lnTo>
                <a:lnTo>
                  <a:pt x="675" y="159"/>
                </a:lnTo>
                <a:lnTo>
                  <a:pt x="681" y="159"/>
                </a:lnTo>
                <a:lnTo>
                  <a:pt x="686" y="165"/>
                </a:lnTo>
                <a:lnTo>
                  <a:pt x="692" y="165"/>
                </a:lnTo>
                <a:lnTo>
                  <a:pt x="698" y="165"/>
                </a:lnTo>
                <a:lnTo>
                  <a:pt x="703" y="165"/>
                </a:lnTo>
                <a:lnTo>
                  <a:pt x="709" y="171"/>
                </a:lnTo>
                <a:lnTo>
                  <a:pt x="720" y="176"/>
                </a:lnTo>
                <a:lnTo>
                  <a:pt x="726" y="176"/>
                </a:lnTo>
                <a:lnTo>
                  <a:pt x="732" y="176"/>
                </a:lnTo>
                <a:lnTo>
                  <a:pt x="743" y="199"/>
                </a:lnTo>
                <a:lnTo>
                  <a:pt x="737" y="205"/>
                </a:lnTo>
                <a:lnTo>
                  <a:pt x="737" y="210"/>
                </a:lnTo>
                <a:lnTo>
                  <a:pt x="732" y="210"/>
                </a:lnTo>
                <a:lnTo>
                  <a:pt x="732" y="216"/>
                </a:lnTo>
                <a:lnTo>
                  <a:pt x="726" y="216"/>
                </a:lnTo>
                <a:lnTo>
                  <a:pt x="726" y="222"/>
                </a:lnTo>
                <a:lnTo>
                  <a:pt x="726" y="227"/>
                </a:lnTo>
                <a:lnTo>
                  <a:pt x="720" y="227"/>
                </a:lnTo>
                <a:lnTo>
                  <a:pt x="720" y="233"/>
                </a:lnTo>
                <a:lnTo>
                  <a:pt x="715" y="233"/>
                </a:lnTo>
                <a:lnTo>
                  <a:pt x="709" y="239"/>
                </a:lnTo>
                <a:lnTo>
                  <a:pt x="703" y="239"/>
                </a:lnTo>
                <a:lnTo>
                  <a:pt x="698" y="244"/>
                </a:lnTo>
                <a:lnTo>
                  <a:pt x="692" y="244"/>
                </a:lnTo>
                <a:lnTo>
                  <a:pt x="686" y="244"/>
                </a:lnTo>
                <a:lnTo>
                  <a:pt x="669" y="244"/>
                </a:lnTo>
                <a:lnTo>
                  <a:pt x="669" y="250"/>
                </a:lnTo>
                <a:lnTo>
                  <a:pt x="664" y="244"/>
                </a:lnTo>
                <a:lnTo>
                  <a:pt x="652" y="244"/>
                </a:lnTo>
                <a:lnTo>
                  <a:pt x="641" y="239"/>
                </a:lnTo>
                <a:lnTo>
                  <a:pt x="635" y="239"/>
                </a:lnTo>
                <a:lnTo>
                  <a:pt x="630" y="233"/>
                </a:lnTo>
                <a:lnTo>
                  <a:pt x="624" y="233"/>
                </a:lnTo>
                <a:lnTo>
                  <a:pt x="624" y="227"/>
                </a:lnTo>
                <a:lnTo>
                  <a:pt x="618" y="227"/>
                </a:lnTo>
                <a:lnTo>
                  <a:pt x="613" y="222"/>
                </a:lnTo>
                <a:lnTo>
                  <a:pt x="613" y="216"/>
                </a:lnTo>
                <a:lnTo>
                  <a:pt x="607" y="210"/>
                </a:lnTo>
                <a:lnTo>
                  <a:pt x="601" y="205"/>
                </a:lnTo>
                <a:lnTo>
                  <a:pt x="596" y="205"/>
                </a:lnTo>
                <a:lnTo>
                  <a:pt x="596" y="193"/>
                </a:lnTo>
                <a:lnTo>
                  <a:pt x="584" y="188"/>
                </a:lnTo>
                <a:lnTo>
                  <a:pt x="584" y="182"/>
                </a:lnTo>
                <a:lnTo>
                  <a:pt x="579" y="182"/>
                </a:lnTo>
                <a:lnTo>
                  <a:pt x="567" y="182"/>
                </a:lnTo>
                <a:lnTo>
                  <a:pt x="556" y="182"/>
                </a:lnTo>
                <a:lnTo>
                  <a:pt x="550" y="188"/>
                </a:lnTo>
                <a:lnTo>
                  <a:pt x="545" y="188"/>
                </a:lnTo>
                <a:lnTo>
                  <a:pt x="539" y="188"/>
                </a:lnTo>
                <a:lnTo>
                  <a:pt x="533" y="188"/>
                </a:lnTo>
                <a:lnTo>
                  <a:pt x="528" y="193"/>
                </a:lnTo>
                <a:lnTo>
                  <a:pt x="522" y="193"/>
                </a:lnTo>
                <a:lnTo>
                  <a:pt x="516" y="188"/>
                </a:lnTo>
                <a:lnTo>
                  <a:pt x="511" y="188"/>
                </a:lnTo>
                <a:lnTo>
                  <a:pt x="505" y="188"/>
                </a:lnTo>
                <a:lnTo>
                  <a:pt x="499" y="182"/>
                </a:lnTo>
                <a:lnTo>
                  <a:pt x="494" y="182"/>
                </a:lnTo>
                <a:lnTo>
                  <a:pt x="488" y="182"/>
                </a:lnTo>
                <a:lnTo>
                  <a:pt x="482" y="182"/>
                </a:lnTo>
                <a:lnTo>
                  <a:pt x="477" y="182"/>
                </a:lnTo>
                <a:lnTo>
                  <a:pt x="465" y="182"/>
                </a:lnTo>
                <a:lnTo>
                  <a:pt x="460" y="188"/>
                </a:lnTo>
                <a:lnTo>
                  <a:pt x="454" y="193"/>
                </a:lnTo>
                <a:lnTo>
                  <a:pt x="454" y="199"/>
                </a:lnTo>
                <a:lnTo>
                  <a:pt x="454" y="205"/>
                </a:lnTo>
                <a:lnTo>
                  <a:pt x="454" y="222"/>
                </a:lnTo>
                <a:lnTo>
                  <a:pt x="454" y="233"/>
                </a:lnTo>
                <a:lnTo>
                  <a:pt x="454" y="239"/>
                </a:lnTo>
                <a:lnTo>
                  <a:pt x="454" y="244"/>
                </a:lnTo>
                <a:lnTo>
                  <a:pt x="454" y="250"/>
                </a:lnTo>
                <a:lnTo>
                  <a:pt x="454" y="256"/>
                </a:lnTo>
                <a:lnTo>
                  <a:pt x="465" y="261"/>
                </a:lnTo>
                <a:lnTo>
                  <a:pt x="465" y="267"/>
                </a:lnTo>
                <a:lnTo>
                  <a:pt x="471" y="267"/>
                </a:lnTo>
                <a:lnTo>
                  <a:pt x="482" y="267"/>
                </a:lnTo>
                <a:lnTo>
                  <a:pt x="482" y="273"/>
                </a:lnTo>
                <a:lnTo>
                  <a:pt x="488" y="273"/>
                </a:lnTo>
                <a:lnTo>
                  <a:pt x="494" y="273"/>
                </a:lnTo>
                <a:lnTo>
                  <a:pt x="482" y="278"/>
                </a:lnTo>
                <a:lnTo>
                  <a:pt x="482" y="284"/>
                </a:lnTo>
                <a:lnTo>
                  <a:pt x="477" y="290"/>
                </a:lnTo>
                <a:lnTo>
                  <a:pt x="471" y="290"/>
                </a:lnTo>
                <a:lnTo>
                  <a:pt x="465" y="295"/>
                </a:lnTo>
                <a:lnTo>
                  <a:pt x="465" y="301"/>
                </a:lnTo>
                <a:lnTo>
                  <a:pt x="465" y="307"/>
                </a:lnTo>
                <a:lnTo>
                  <a:pt x="460" y="307"/>
                </a:lnTo>
                <a:lnTo>
                  <a:pt x="454" y="312"/>
                </a:lnTo>
                <a:lnTo>
                  <a:pt x="454" y="324"/>
                </a:lnTo>
                <a:lnTo>
                  <a:pt x="454" y="329"/>
                </a:lnTo>
                <a:lnTo>
                  <a:pt x="448" y="329"/>
                </a:lnTo>
                <a:lnTo>
                  <a:pt x="448" y="335"/>
                </a:lnTo>
                <a:lnTo>
                  <a:pt x="443" y="341"/>
                </a:lnTo>
                <a:lnTo>
                  <a:pt x="437" y="346"/>
                </a:lnTo>
                <a:lnTo>
                  <a:pt x="431" y="346"/>
                </a:lnTo>
                <a:lnTo>
                  <a:pt x="426" y="352"/>
                </a:lnTo>
                <a:lnTo>
                  <a:pt x="420" y="352"/>
                </a:lnTo>
                <a:lnTo>
                  <a:pt x="420" y="358"/>
                </a:lnTo>
                <a:lnTo>
                  <a:pt x="409" y="358"/>
                </a:lnTo>
                <a:lnTo>
                  <a:pt x="403" y="358"/>
                </a:lnTo>
                <a:lnTo>
                  <a:pt x="397" y="358"/>
                </a:lnTo>
                <a:lnTo>
                  <a:pt x="392" y="363"/>
                </a:lnTo>
                <a:lnTo>
                  <a:pt x="386" y="363"/>
                </a:lnTo>
                <a:lnTo>
                  <a:pt x="380" y="363"/>
                </a:lnTo>
                <a:lnTo>
                  <a:pt x="375" y="363"/>
                </a:lnTo>
                <a:lnTo>
                  <a:pt x="369" y="363"/>
                </a:lnTo>
                <a:lnTo>
                  <a:pt x="369" y="369"/>
                </a:lnTo>
                <a:lnTo>
                  <a:pt x="358" y="375"/>
                </a:lnTo>
                <a:lnTo>
                  <a:pt x="352" y="375"/>
                </a:lnTo>
                <a:lnTo>
                  <a:pt x="352" y="380"/>
                </a:lnTo>
                <a:lnTo>
                  <a:pt x="346" y="380"/>
                </a:lnTo>
                <a:lnTo>
                  <a:pt x="341" y="386"/>
                </a:lnTo>
                <a:lnTo>
                  <a:pt x="335" y="392"/>
                </a:lnTo>
                <a:lnTo>
                  <a:pt x="329" y="403"/>
                </a:lnTo>
                <a:lnTo>
                  <a:pt x="329" y="409"/>
                </a:lnTo>
                <a:lnTo>
                  <a:pt x="329" y="414"/>
                </a:lnTo>
                <a:lnTo>
                  <a:pt x="329" y="420"/>
                </a:lnTo>
                <a:lnTo>
                  <a:pt x="329" y="426"/>
                </a:lnTo>
                <a:lnTo>
                  <a:pt x="335" y="431"/>
                </a:lnTo>
                <a:lnTo>
                  <a:pt x="335" y="443"/>
                </a:lnTo>
                <a:lnTo>
                  <a:pt x="335" y="448"/>
                </a:lnTo>
                <a:lnTo>
                  <a:pt x="335" y="454"/>
                </a:lnTo>
                <a:lnTo>
                  <a:pt x="341" y="465"/>
                </a:lnTo>
                <a:lnTo>
                  <a:pt x="341" y="471"/>
                </a:lnTo>
                <a:lnTo>
                  <a:pt x="341" y="477"/>
                </a:lnTo>
                <a:lnTo>
                  <a:pt x="335" y="488"/>
                </a:lnTo>
                <a:lnTo>
                  <a:pt x="335" y="494"/>
                </a:lnTo>
                <a:lnTo>
                  <a:pt x="335" y="505"/>
                </a:lnTo>
                <a:lnTo>
                  <a:pt x="335" y="511"/>
                </a:lnTo>
                <a:lnTo>
                  <a:pt x="335" y="516"/>
                </a:lnTo>
                <a:lnTo>
                  <a:pt x="335" y="522"/>
                </a:lnTo>
                <a:lnTo>
                  <a:pt x="341" y="522"/>
                </a:lnTo>
                <a:lnTo>
                  <a:pt x="341" y="528"/>
                </a:lnTo>
                <a:lnTo>
                  <a:pt x="341" y="533"/>
                </a:lnTo>
                <a:lnTo>
                  <a:pt x="346" y="533"/>
                </a:lnTo>
                <a:lnTo>
                  <a:pt x="346" y="539"/>
                </a:lnTo>
                <a:lnTo>
                  <a:pt x="352" y="545"/>
                </a:lnTo>
                <a:lnTo>
                  <a:pt x="352" y="550"/>
                </a:lnTo>
                <a:lnTo>
                  <a:pt x="352" y="556"/>
                </a:lnTo>
                <a:lnTo>
                  <a:pt x="352" y="562"/>
                </a:lnTo>
                <a:lnTo>
                  <a:pt x="352" y="567"/>
                </a:lnTo>
                <a:lnTo>
                  <a:pt x="352" y="579"/>
                </a:lnTo>
                <a:lnTo>
                  <a:pt x="352" y="584"/>
                </a:lnTo>
                <a:lnTo>
                  <a:pt x="358" y="590"/>
                </a:lnTo>
                <a:lnTo>
                  <a:pt x="363" y="596"/>
                </a:lnTo>
                <a:lnTo>
                  <a:pt x="363" y="601"/>
                </a:lnTo>
                <a:lnTo>
                  <a:pt x="363" y="607"/>
                </a:lnTo>
                <a:lnTo>
                  <a:pt x="363" y="613"/>
                </a:lnTo>
                <a:lnTo>
                  <a:pt x="363" y="618"/>
                </a:lnTo>
                <a:lnTo>
                  <a:pt x="352" y="624"/>
                </a:lnTo>
                <a:lnTo>
                  <a:pt x="346" y="624"/>
                </a:lnTo>
                <a:lnTo>
                  <a:pt x="335" y="624"/>
                </a:lnTo>
                <a:lnTo>
                  <a:pt x="329" y="624"/>
                </a:lnTo>
                <a:lnTo>
                  <a:pt x="324" y="624"/>
                </a:lnTo>
                <a:lnTo>
                  <a:pt x="318" y="630"/>
                </a:lnTo>
                <a:lnTo>
                  <a:pt x="312" y="630"/>
                </a:lnTo>
                <a:lnTo>
                  <a:pt x="312" y="635"/>
                </a:lnTo>
                <a:lnTo>
                  <a:pt x="307" y="635"/>
                </a:lnTo>
                <a:lnTo>
                  <a:pt x="301" y="641"/>
                </a:lnTo>
                <a:lnTo>
                  <a:pt x="295" y="641"/>
                </a:lnTo>
                <a:lnTo>
                  <a:pt x="295" y="652"/>
                </a:lnTo>
                <a:lnTo>
                  <a:pt x="290" y="652"/>
                </a:lnTo>
                <a:lnTo>
                  <a:pt x="290" y="658"/>
                </a:lnTo>
                <a:lnTo>
                  <a:pt x="284" y="658"/>
                </a:lnTo>
                <a:lnTo>
                  <a:pt x="284" y="664"/>
                </a:lnTo>
                <a:lnTo>
                  <a:pt x="278" y="664"/>
                </a:lnTo>
                <a:lnTo>
                  <a:pt x="278" y="669"/>
                </a:lnTo>
                <a:lnTo>
                  <a:pt x="284" y="669"/>
                </a:lnTo>
                <a:lnTo>
                  <a:pt x="284" y="675"/>
                </a:lnTo>
                <a:lnTo>
                  <a:pt x="284" y="681"/>
                </a:lnTo>
                <a:lnTo>
                  <a:pt x="290" y="681"/>
                </a:lnTo>
                <a:lnTo>
                  <a:pt x="290" y="686"/>
                </a:lnTo>
                <a:lnTo>
                  <a:pt x="295" y="686"/>
                </a:lnTo>
                <a:lnTo>
                  <a:pt x="295" y="692"/>
                </a:lnTo>
                <a:lnTo>
                  <a:pt x="295" y="698"/>
                </a:lnTo>
                <a:lnTo>
                  <a:pt x="307" y="698"/>
                </a:lnTo>
                <a:lnTo>
                  <a:pt x="307" y="703"/>
                </a:lnTo>
                <a:lnTo>
                  <a:pt x="307" y="709"/>
                </a:lnTo>
                <a:lnTo>
                  <a:pt x="312" y="715"/>
                </a:lnTo>
                <a:lnTo>
                  <a:pt x="318" y="715"/>
                </a:lnTo>
                <a:lnTo>
                  <a:pt x="324" y="715"/>
                </a:lnTo>
                <a:lnTo>
                  <a:pt x="329" y="715"/>
                </a:lnTo>
                <a:lnTo>
                  <a:pt x="335" y="715"/>
                </a:lnTo>
                <a:lnTo>
                  <a:pt x="341" y="715"/>
                </a:lnTo>
                <a:lnTo>
                  <a:pt x="341" y="720"/>
                </a:lnTo>
                <a:lnTo>
                  <a:pt x="329" y="726"/>
                </a:lnTo>
                <a:lnTo>
                  <a:pt x="324" y="726"/>
                </a:lnTo>
                <a:lnTo>
                  <a:pt x="318" y="732"/>
                </a:lnTo>
                <a:lnTo>
                  <a:pt x="312" y="732"/>
                </a:lnTo>
                <a:lnTo>
                  <a:pt x="312" y="737"/>
                </a:lnTo>
                <a:lnTo>
                  <a:pt x="307" y="737"/>
                </a:lnTo>
                <a:lnTo>
                  <a:pt x="307" y="743"/>
                </a:lnTo>
                <a:lnTo>
                  <a:pt x="301" y="743"/>
                </a:lnTo>
                <a:lnTo>
                  <a:pt x="301" y="749"/>
                </a:lnTo>
                <a:lnTo>
                  <a:pt x="295" y="749"/>
                </a:lnTo>
                <a:lnTo>
                  <a:pt x="284" y="754"/>
                </a:lnTo>
                <a:lnTo>
                  <a:pt x="284" y="760"/>
                </a:lnTo>
                <a:lnTo>
                  <a:pt x="278" y="766"/>
                </a:lnTo>
                <a:lnTo>
                  <a:pt x="273" y="766"/>
                </a:lnTo>
                <a:lnTo>
                  <a:pt x="267" y="766"/>
                </a:lnTo>
                <a:lnTo>
                  <a:pt x="261" y="766"/>
                </a:lnTo>
                <a:lnTo>
                  <a:pt x="256" y="766"/>
                </a:lnTo>
                <a:lnTo>
                  <a:pt x="256" y="760"/>
                </a:lnTo>
                <a:lnTo>
                  <a:pt x="256" y="749"/>
                </a:lnTo>
                <a:lnTo>
                  <a:pt x="256" y="743"/>
                </a:lnTo>
                <a:lnTo>
                  <a:pt x="256" y="737"/>
                </a:lnTo>
                <a:lnTo>
                  <a:pt x="250" y="726"/>
                </a:lnTo>
                <a:lnTo>
                  <a:pt x="244" y="726"/>
                </a:lnTo>
                <a:lnTo>
                  <a:pt x="239" y="720"/>
                </a:lnTo>
                <a:lnTo>
                  <a:pt x="233" y="720"/>
                </a:lnTo>
                <a:lnTo>
                  <a:pt x="227" y="715"/>
                </a:lnTo>
                <a:lnTo>
                  <a:pt x="227" y="709"/>
                </a:lnTo>
                <a:lnTo>
                  <a:pt x="222" y="709"/>
                </a:lnTo>
                <a:lnTo>
                  <a:pt x="216" y="703"/>
                </a:lnTo>
                <a:lnTo>
                  <a:pt x="210" y="703"/>
                </a:lnTo>
                <a:lnTo>
                  <a:pt x="199" y="703"/>
                </a:lnTo>
                <a:lnTo>
                  <a:pt x="193" y="703"/>
                </a:lnTo>
                <a:lnTo>
                  <a:pt x="188" y="709"/>
                </a:lnTo>
                <a:lnTo>
                  <a:pt x="182" y="709"/>
                </a:lnTo>
                <a:lnTo>
                  <a:pt x="176" y="709"/>
                </a:lnTo>
                <a:lnTo>
                  <a:pt x="176" y="715"/>
                </a:lnTo>
                <a:lnTo>
                  <a:pt x="170" y="720"/>
                </a:lnTo>
                <a:lnTo>
                  <a:pt x="170" y="737"/>
                </a:lnTo>
                <a:lnTo>
                  <a:pt x="165" y="737"/>
                </a:lnTo>
                <a:lnTo>
                  <a:pt x="165" y="743"/>
                </a:lnTo>
                <a:lnTo>
                  <a:pt x="159" y="743"/>
                </a:lnTo>
                <a:lnTo>
                  <a:pt x="153" y="743"/>
                </a:lnTo>
                <a:lnTo>
                  <a:pt x="148" y="743"/>
                </a:lnTo>
                <a:lnTo>
                  <a:pt x="142" y="737"/>
                </a:lnTo>
                <a:lnTo>
                  <a:pt x="136" y="737"/>
                </a:lnTo>
                <a:lnTo>
                  <a:pt x="125" y="737"/>
                </a:lnTo>
                <a:lnTo>
                  <a:pt x="114" y="743"/>
                </a:lnTo>
                <a:lnTo>
                  <a:pt x="114" y="749"/>
                </a:lnTo>
                <a:lnTo>
                  <a:pt x="114" y="754"/>
                </a:lnTo>
                <a:lnTo>
                  <a:pt x="114" y="766"/>
                </a:lnTo>
                <a:lnTo>
                  <a:pt x="114" y="771"/>
                </a:lnTo>
                <a:lnTo>
                  <a:pt x="114" y="777"/>
                </a:lnTo>
                <a:lnTo>
                  <a:pt x="114" y="783"/>
                </a:lnTo>
                <a:lnTo>
                  <a:pt x="114" y="788"/>
                </a:lnTo>
                <a:lnTo>
                  <a:pt x="108" y="788"/>
                </a:lnTo>
                <a:lnTo>
                  <a:pt x="102" y="794"/>
                </a:lnTo>
                <a:lnTo>
                  <a:pt x="97" y="794"/>
                </a:lnTo>
                <a:lnTo>
                  <a:pt x="85" y="788"/>
                </a:lnTo>
                <a:lnTo>
                  <a:pt x="85" y="783"/>
                </a:lnTo>
                <a:lnTo>
                  <a:pt x="80" y="777"/>
                </a:lnTo>
                <a:lnTo>
                  <a:pt x="74" y="777"/>
                </a:lnTo>
                <a:lnTo>
                  <a:pt x="74" y="771"/>
                </a:lnTo>
                <a:lnTo>
                  <a:pt x="68" y="771"/>
                </a:lnTo>
                <a:lnTo>
                  <a:pt x="68" y="766"/>
                </a:lnTo>
                <a:lnTo>
                  <a:pt x="63" y="766"/>
                </a:lnTo>
                <a:lnTo>
                  <a:pt x="57" y="766"/>
                </a:lnTo>
                <a:lnTo>
                  <a:pt x="51" y="760"/>
                </a:lnTo>
                <a:lnTo>
                  <a:pt x="46" y="760"/>
                </a:lnTo>
                <a:lnTo>
                  <a:pt x="46" y="754"/>
                </a:lnTo>
                <a:lnTo>
                  <a:pt x="40" y="754"/>
                </a:lnTo>
                <a:lnTo>
                  <a:pt x="40" y="749"/>
                </a:lnTo>
                <a:lnTo>
                  <a:pt x="40" y="743"/>
                </a:lnTo>
                <a:lnTo>
                  <a:pt x="40" y="737"/>
                </a:lnTo>
                <a:lnTo>
                  <a:pt x="46" y="737"/>
                </a:lnTo>
                <a:lnTo>
                  <a:pt x="46" y="726"/>
                </a:lnTo>
                <a:lnTo>
                  <a:pt x="46" y="720"/>
                </a:lnTo>
                <a:lnTo>
                  <a:pt x="46" y="715"/>
                </a:lnTo>
                <a:lnTo>
                  <a:pt x="40" y="715"/>
                </a:lnTo>
                <a:lnTo>
                  <a:pt x="34" y="709"/>
                </a:lnTo>
                <a:lnTo>
                  <a:pt x="23" y="709"/>
                </a:lnTo>
                <a:lnTo>
                  <a:pt x="17" y="709"/>
                </a:lnTo>
                <a:lnTo>
                  <a:pt x="12" y="709"/>
                </a:lnTo>
                <a:lnTo>
                  <a:pt x="6" y="70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48" name="Freeform 9"/>
          <p:cNvSpPr>
            <a:spLocks/>
          </p:cNvSpPr>
          <p:nvPr/>
        </p:nvSpPr>
        <p:spPr bwMode="gray">
          <a:xfrm>
            <a:off x="1325029" y="1107906"/>
            <a:ext cx="1535609" cy="1882144"/>
          </a:xfrm>
          <a:custGeom>
            <a:avLst/>
            <a:gdLst>
              <a:gd name="T0" fmla="*/ 2147483647 w 907"/>
              <a:gd name="T1" fmla="*/ 2147483647 h 1111"/>
              <a:gd name="T2" fmla="*/ 2147483647 w 907"/>
              <a:gd name="T3" fmla="*/ 2147483647 h 1111"/>
              <a:gd name="T4" fmla="*/ 2147483647 w 907"/>
              <a:gd name="T5" fmla="*/ 2147483647 h 1111"/>
              <a:gd name="T6" fmla="*/ 2147483647 w 907"/>
              <a:gd name="T7" fmla="*/ 2147483647 h 1111"/>
              <a:gd name="T8" fmla="*/ 2147483647 w 907"/>
              <a:gd name="T9" fmla="*/ 2147483647 h 1111"/>
              <a:gd name="T10" fmla="*/ 2147483647 w 907"/>
              <a:gd name="T11" fmla="*/ 2147483647 h 1111"/>
              <a:gd name="T12" fmla="*/ 2147483647 w 907"/>
              <a:gd name="T13" fmla="*/ 2147483647 h 1111"/>
              <a:gd name="T14" fmla="*/ 2147483647 w 907"/>
              <a:gd name="T15" fmla="*/ 2147483647 h 1111"/>
              <a:gd name="T16" fmla="*/ 2147483647 w 907"/>
              <a:gd name="T17" fmla="*/ 2147483647 h 1111"/>
              <a:gd name="T18" fmla="*/ 2147483647 w 907"/>
              <a:gd name="T19" fmla="*/ 2147483647 h 1111"/>
              <a:gd name="T20" fmla="*/ 2147483647 w 907"/>
              <a:gd name="T21" fmla="*/ 2147483647 h 1111"/>
              <a:gd name="T22" fmla="*/ 2147483647 w 907"/>
              <a:gd name="T23" fmla="*/ 2147483647 h 1111"/>
              <a:gd name="T24" fmla="*/ 2147483647 w 907"/>
              <a:gd name="T25" fmla="*/ 2147483647 h 1111"/>
              <a:gd name="T26" fmla="*/ 2147483647 w 907"/>
              <a:gd name="T27" fmla="*/ 2147483647 h 1111"/>
              <a:gd name="T28" fmla="*/ 2147483647 w 907"/>
              <a:gd name="T29" fmla="*/ 2147483647 h 1111"/>
              <a:gd name="T30" fmla="*/ 2147483647 w 907"/>
              <a:gd name="T31" fmla="*/ 2147483647 h 1111"/>
              <a:gd name="T32" fmla="*/ 2147483647 w 907"/>
              <a:gd name="T33" fmla="*/ 2147483647 h 1111"/>
              <a:gd name="T34" fmla="*/ 2147483647 w 907"/>
              <a:gd name="T35" fmla="*/ 2147483647 h 1111"/>
              <a:gd name="T36" fmla="*/ 2147483647 w 907"/>
              <a:gd name="T37" fmla="*/ 2147483647 h 1111"/>
              <a:gd name="T38" fmla="*/ 2147483647 w 907"/>
              <a:gd name="T39" fmla="*/ 2147483647 h 1111"/>
              <a:gd name="T40" fmla="*/ 2147483647 w 907"/>
              <a:gd name="T41" fmla="*/ 2147483647 h 1111"/>
              <a:gd name="T42" fmla="*/ 2147483647 w 907"/>
              <a:gd name="T43" fmla="*/ 2147483647 h 1111"/>
              <a:gd name="T44" fmla="*/ 2147483647 w 907"/>
              <a:gd name="T45" fmla="*/ 2147483647 h 1111"/>
              <a:gd name="T46" fmla="*/ 2147483647 w 907"/>
              <a:gd name="T47" fmla="*/ 2147483647 h 1111"/>
              <a:gd name="T48" fmla="*/ 2147483647 w 907"/>
              <a:gd name="T49" fmla="*/ 2147483647 h 1111"/>
              <a:gd name="T50" fmla="*/ 2147483647 w 907"/>
              <a:gd name="T51" fmla="*/ 2147483647 h 1111"/>
              <a:gd name="T52" fmla="*/ 2147483647 w 907"/>
              <a:gd name="T53" fmla="*/ 2147483647 h 1111"/>
              <a:gd name="T54" fmla="*/ 2147483647 w 907"/>
              <a:gd name="T55" fmla="*/ 2147483647 h 1111"/>
              <a:gd name="T56" fmla="*/ 2147483647 w 907"/>
              <a:gd name="T57" fmla="*/ 2147483647 h 1111"/>
              <a:gd name="T58" fmla="*/ 2147483647 w 907"/>
              <a:gd name="T59" fmla="*/ 2147483647 h 1111"/>
              <a:gd name="T60" fmla="*/ 2147483647 w 907"/>
              <a:gd name="T61" fmla="*/ 2147483647 h 1111"/>
              <a:gd name="T62" fmla="*/ 2147483647 w 907"/>
              <a:gd name="T63" fmla="*/ 2147483647 h 1111"/>
              <a:gd name="T64" fmla="*/ 2147483647 w 907"/>
              <a:gd name="T65" fmla="*/ 2147483647 h 1111"/>
              <a:gd name="T66" fmla="*/ 2147483647 w 907"/>
              <a:gd name="T67" fmla="*/ 2147483647 h 1111"/>
              <a:gd name="T68" fmla="*/ 2147483647 w 907"/>
              <a:gd name="T69" fmla="*/ 2147483647 h 1111"/>
              <a:gd name="T70" fmla="*/ 2147483647 w 907"/>
              <a:gd name="T71" fmla="*/ 2147483647 h 1111"/>
              <a:gd name="T72" fmla="*/ 2147483647 w 907"/>
              <a:gd name="T73" fmla="*/ 2147483647 h 1111"/>
              <a:gd name="T74" fmla="*/ 2147483647 w 907"/>
              <a:gd name="T75" fmla="*/ 2147483647 h 1111"/>
              <a:gd name="T76" fmla="*/ 2147483647 w 907"/>
              <a:gd name="T77" fmla="*/ 2147483647 h 1111"/>
              <a:gd name="T78" fmla="*/ 2147483647 w 907"/>
              <a:gd name="T79" fmla="*/ 2147483647 h 1111"/>
              <a:gd name="T80" fmla="*/ 2147483647 w 907"/>
              <a:gd name="T81" fmla="*/ 2147483647 h 1111"/>
              <a:gd name="T82" fmla="*/ 2147483647 w 907"/>
              <a:gd name="T83" fmla="*/ 2147483647 h 1111"/>
              <a:gd name="T84" fmla="*/ 2147483647 w 907"/>
              <a:gd name="T85" fmla="*/ 2147483647 h 1111"/>
              <a:gd name="T86" fmla="*/ 2147483647 w 907"/>
              <a:gd name="T87" fmla="*/ 2147483647 h 1111"/>
              <a:gd name="T88" fmla="*/ 2147483647 w 907"/>
              <a:gd name="T89" fmla="*/ 2147483647 h 1111"/>
              <a:gd name="T90" fmla="*/ 2147483647 w 907"/>
              <a:gd name="T91" fmla="*/ 2147483647 h 1111"/>
              <a:gd name="T92" fmla="*/ 2147483647 w 907"/>
              <a:gd name="T93" fmla="*/ 2147483647 h 1111"/>
              <a:gd name="T94" fmla="*/ 2147483647 w 907"/>
              <a:gd name="T95" fmla="*/ 2147483647 h 1111"/>
              <a:gd name="T96" fmla="*/ 2147483647 w 907"/>
              <a:gd name="T97" fmla="*/ 2147483647 h 1111"/>
              <a:gd name="T98" fmla="*/ 2147483647 w 907"/>
              <a:gd name="T99" fmla="*/ 2147483647 h 1111"/>
              <a:gd name="T100" fmla="*/ 2147483647 w 907"/>
              <a:gd name="T101" fmla="*/ 2147483647 h 1111"/>
              <a:gd name="T102" fmla="*/ 2147483647 w 907"/>
              <a:gd name="T103" fmla="*/ 2147483647 h 1111"/>
              <a:gd name="T104" fmla="*/ 2147483647 w 907"/>
              <a:gd name="T105" fmla="*/ 2147483647 h 1111"/>
              <a:gd name="T106" fmla="*/ 2147483647 w 907"/>
              <a:gd name="T107" fmla="*/ 2147483647 h 1111"/>
              <a:gd name="T108" fmla="*/ 2147483647 w 907"/>
              <a:gd name="T109" fmla="*/ 2147483647 h 1111"/>
              <a:gd name="T110" fmla="*/ 2147483647 w 907"/>
              <a:gd name="T111" fmla="*/ 2147483647 h 1111"/>
              <a:gd name="T112" fmla="*/ 2147483647 w 907"/>
              <a:gd name="T113" fmla="*/ 2147483647 h 1111"/>
              <a:gd name="T114" fmla="*/ 2147483647 w 907"/>
              <a:gd name="T115" fmla="*/ 2147483647 h 1111"/>
              <a:gd name="T116" fmla="*/ 2147483647 w 907"/>
              <a:gd name="T117" fmla="*/ 2147483647 h 111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07"/>
              <a:gd name="T178" fmla="*/ 0 h 1111"/>
              <a:gd name="T179" fmla="*/ 907 w 907"/>
              <a:gd name="T180" fmla="*/ 1111 h 111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07" h="1111">
                <a:moveTo>
                  <a:pt x="79" y="771"/>
                </a:moveTo>
                <a:lnTo>
                  <a:pt x="79" y="765"/>
                </a:lnTo>
                <a:lnTo>
                  <a:pt x="85" y="759"/>
                </a:lnTo>
                <a:lnTo>
                  <a:pt x="79" y="759"/>
                </a:lnTo>
                <a:lnTo>
                  <a:pt x="73" y="759"/>
                </a:lnTo>
                <a:lnTo>
                  <a:pt x="68" y="759"/>
                </a:lnTo>
                <a:lnTo>
                  <a:pt x="62" y="748"/>
                </a:lnTo>
                <a:lnTo>
                  <a:pt x="45" y="737"/>
                </a:lnTo>
                <a:lnTo>
                  <a:pt x="28" y="725"/>
                </a:lnTo>
                <a:lnTo>
                  <a:pt x="28" y="720"/>
                </a:lnTo>
                <a:lnTo>
                  <a:pt x="22" y="714"/>
                </a:lnTo>
                <a:lnTo>
                  <a:pt x="17" y="714"/>
                </a:lnTo>
                <a:lnTo>
                  <a:pt x="0" y="697"/>
                </a:lnTo>
                <a:lnTo>
                  <a:pt x="0" y="686"/>
                </a:lnTo>
                <a:lnTo>
                  <a:pt x="5" y="669"/>
                </a:lnTo>
                <a:lnTo>
                  <a:pt x="11" y="657"/>
                </a:lnTo>
                <a:lnTo>
                  <a:pt x="17" y="635"/>
                </a:lnTo>
                <a:lnTo>
                  <a:pt x="17" y="606"/>
                </a:lnTo>
                <a:lnTo>
                  <a:pt x="22" y="589"/>
                </a:lnTo>
                <a:lnTo>
                  <a:pt x="28" y="584"/>
                </a:lnTo>
                <a:lnTo>
                  <a:pt x="28" y="572"/>
                </a:lnTo>
                <a:lnTo>
                  <a:pt x="34" y="567"/>
                </a:lnTo>
                <a:lnTo>
                  <a:pt x="34" y="561"/>
                </a:lnTo>
                <a:lnTo>
                  <a:pt x="39" y="555"/>
                </a:lnTo>
                <a:lnTo>
                  <a:pt x="51" y="550"/>
                </a:lnTo>
                <a:lnTo>
                  <a:pt x="56" y="538"/>
                </a:lnTo>
                <a:lnTo>
                  <a:pt x="62" y="538"/>
                </a:lnTo>
                <a:lnTo>
                  <a:pt x="68" y="533"/>
                </a:lnTo>
                <a:lnTo>
                  <a:pt x="62" y="521"/>
                </a:lnTo>
                <a:lnTo>
                  <a:pt x="62" y="516"/>
                </a:lnTo>
                <a:lnTo>
                  <a:pt x="56" y="510"/>
                </a:lnTo>
                <a:lnTo>
                  <a:pt x="51" y="504"/>
                </a:lnTo>
                <a:lnTo>
                  <a:pt x="45" y="504"/>
                </a:lnTo>
                <a:lnTo>
                  <a:pt x="45" y="499"/>
                </a:lnTo>
                <a:lnTo>
                  <a:pt x="45" y="493"/>
                </a:lnTo>
                <a:lnTo>
                  <a:pt x="45" y="482"/>
                </a:lnTo>
                <a:lnTo>
                  <a:pt x="45" y="476"/>
                </a:lnTo>
                <a:lnTo>
                  <a:pt x="45" y="470"/>
                </a:lnTo>
                <a:lnTo>
                  <a:pt x="56" y="465"/>
                </a:lnTo>
                <a:lnTo>
                  <a:pt x="62" y="459"/>
                </a:lnTo>
                <a:lnTo>
                  <a:pt x="62" y="453"/>
                </a:lnTo>
                <a:lnTo>
                  <a:pt x="62" y="448"/>
                </a:lnTo>
                <a:lnTo>
                  <a:pt x="56" y="436"/>
                </a:lnTo>
                <a:lnTo>
                  <a:pt x="56" y="425"/>
                </a:lnTo>
                <a:lnTo>
                  <a:pt x="51" y="419"/>
                </a:lnTo>
                <a:lnTo>
                  <a:pt x="51" y="408"/>
                </a:lnTo>
                <a:lnTo>
                  <a:pt x="51" y="397"/>
                </a:lnTo>
                <a:lnTo>
                  <a:pt x="51" y="391"/>
                </a:lnTo>
                <a:lnTo>
                  <a:pt x="51" y="380"/>
                </a:lnTo>
                <a:lnTo>
                  <a:pt x="51" y="374"/>
                </a:lnTo>
                <a:lnTo>
                  <a:pt x="56" y="363"/>
                </a:lnTo>
                <a:lnTo>
                  <a:pt x="56" y="351"/>
                </a:lnTo>
                <a:lnTo>
                  <a:pt x="56" y="346"/>
                </a:lnTo>
                <a:lnTo>
                  <a:pt x="56" y="329"/>
                </a:lnTo>
                <a:lnTo>
                  <a:pt x="56" y="317"/>
                </a:lnTo>
                <a:lnTo>
                  <a:pt x="56" y="306"/>
                </a:lnTo>
                <a:lnTo>
                  <a:pt x="56" y="295"/>
                </a:lnTo>
                <a:lnTo>
                  <a:pt x="56" y="289"/>
                </a:lnTo>
                <a:lnTo>
                  <a:pt x="56" y="283"/>
                </a:lnTo>
                <a:lnTo>
                  <a:pt x="56" y="272"/>
                </a:lnTo>
                <a:lnTo>
                  <a:pt x="51" y="266"/>
                </a:lnTo>
                <a:lnTo>
                  <a:pt x="51" y="261"/>
                </a:lnTo>
                <a:lnTo>
                  <a:pt x="62" y="255"/>
                </a:lnTo>
                <a:lnTo>
                  <a:pt x="68" y="249"/>
                </a:lnTo>
                <a:lnTo>
                  <a:pt x="73" y="244"/>
                </a:lnTo>
                <a:lnTo>
                  <a:pt x="79" y="238"/>
                </a:lnTo>
                <a:lnTo>
                  <a:pt x="85" y="232"/>
                </a:lnTo>
                <a:lnTo>
                  <a:pt x="90" y="232"/>
                </a:lnTo>
                <a:lnTo>
                  <a:pt x="102" y="221"/>
                </a:lnTo>
                <a:lnTo>
                  <a:pt x="113" y="210"/>
                </a:lnTo>
                <a:lnTo>
                  <a:pt x="119" y="210"/>
                </a:lnTo>
                <a:lnTo>
                  <a:pt x="119" y="204"/>
                </a:lnTo>
                <a:lnTo>
                  <a:pt x="130" y="198"/>
                </a:lnTo>
                <a:lnTo>
                  <a:pt x="136" y="198"/>
                </a:lnTo>
                <a:lnTo>
                  <a:pt x="136" y="193"/>
                </a:lnTo>
                <a:lnTo>
                  <a:pt x="153" y="181"/>
                </a:lnTo>
                <a:lnTo>
                  <a:pt x="158" y="176"/>
                </a:lnTo>
                <a:lnTo>
                  <a:pt x="170" y="164"/>
                </a:lnTo>
                <a:lnTo>
                  <a:pt x="170" y="159"/>
                </a:lnTo>
                <a:lnTo>
                  <a:pt x="181" y="142"/>
                </a:lnTo>
                <a:lnTo>
                  <a:pt x="181" y="136"/>
                </a:lnTo>
                <a:lnTo>
                  <a:pt x="187" y="130"/>
                </a:lnTo>
                <a:lnTo>
                  <a:pt x="192" y="125"/>
                </a:lnTo>
                <a:lnTo>
                  <a:pt x="198" y="119"/>
                </a:lnTo>
                <a:lnTo>
                  <a:pt x="198" y="113"/>
                </a:lnTo>
                <a:lnTo>
                  <a:pt x="204" y="108"/>
                </a:lnTo>
                <a:lnTo>
                  <a:pt x="215" y="90"/>
                </a:lnTo>
                <a:lnTo>
                  <a:pt x="215" y="85"/>
                </a:lnTo>
                <a:lnTo>
                  <a:pt x="221" y="68"/>
                </a:lnTo>
                <a:lnTo>
                  <a:pt x="221" y="62"/>
                </a:lnTo>
                <a:lnTo>
                  <a:pt x="226" y="51"/>
                </a:lnTo>
                <a:lnTo>
                  <a:pt x="226" y="39"/>
                </a:lnTo>
                <a:lnTo>
                  <a:pt x="226" y="22"/>
                </a:lnTo>
                <a:lnTo>
                  <a:pt x="226" y="17"/>
                </a:lnTo>
                <a:lnTo>
                  <a:pt x="226" y="5"/>
                </a:lnTo>
                <a:lnTo>
                  <a:pt x="249" y="5"/>
                </a:lnTo>
                <a:lnTo>
                  <a:pt x="255" y="5"/>
                </a:lnTo>
                <a:lnTo>
                  <a:pt x="260" y="5"/>
                </a:lnTo>
                <a:lnTo>
                  <a:pt x="272" y="5"/>
                </a:lnTo>
                <a:lnTo>
                  <a:pt x="277" y="5"/>
                </a:lnTo>
                <a:lnTo>
                  <a:pt x="283" y="5"/>
                </a:lnTo>
                <a:lnTo>
                  <a:pt x="283" y="0"/>
                </a:lnTo>
                <a:lnTo>
                  <a:pt x="289" y="0"/>
                </a:lnTo>
                <a:lnTo>
                  <a:pt x="294" y="0"/>
                </a:lnTo>
                <a:lnTo>
                  <a:pt x="300" y="0"/>
                </a:lnTo>
                <a:lnTo>
                  <a:pt x="300" y="5"/>
                </a:lnTo>
                <a:lnTo>
                  <a:pt x="300" y="11"/>
                </a:lnTo>
                <a:lnTo>
                  <a:pt x="306" y="11"/>
                </a:lnTo>
                <a:lnTo>
                  <a:pt x="306" y="17"/>
                </a:lnTo>
                <a:lnTo>
                  <a:pt x="311" y="17"/>
                </a:lnTo>
                <a:lnTo>
                  <a:pt x="317" y="17"/>
                </a:lnTo>
                <a:lnTo>
                  <a:pt x="317" y="22"/>
                </a:lnTo>
                <a:lnTo>
                  <a:pt x="323" y="22"/>
                </a:lnTo>
                <a:lnTo>
                  <a:pt x="328" y="22"/>
                </a:lnTo>
                <a:lnTo>
                  <a:pt x="328" y="28"/>
                </a:lnTo>
                <a:lnTo>
                  <a:pt x="334" y="28"/>
                </a:lnTo>
                <a:lnTo>
                  <a:pt x="334" y="34"/>
                </a:lnTo>
                <a:lnTo>
                  <a:pt x="334" y="39"/>
                </a:lnTo>
                <a:lnTo>
                  <a:pt x="340" y="39"/>
                </a:lnTo>
                <a:lnTo>
                  <a:pt x="345" y="39"/>
                </a:lnTo>
                <a:lnTo>
                  <a:pt x="351" y="45"/>
                </a:lnTo>
                <a:lnTo>
                  <a:pt x="362" y="45"/>
                </a:lnTo>
                <a:lnTo>
                  <a:pt x="368" y="51"/>
                </a:lnTo>
                <a:lnTo>
                  <a:pt x="374" y="51"/>
                </a:lnTo>
                <a:lnTo>
                  <a:pt x="379" y="51"/>
                </a:lnTo>
                <a:lnTo>
                  <a:pt x="385" y="51"/>
                </a:lnTo>
                <a:lnTo>
                  <a:pt x="391" y="56"/>
                </a:lnTo>
                <a:lnTo>
                  <a:pt x="396" y="56"/>
                </a:lnTo>
                <a:lnTo>
                  <a:pt x="402" y="62"/>
                </a:lnTo>
                <a:lnTo>
                  <a:pt x="402" y="68"/>
                </a:lnTo>
                <a:lnTo>
                  <a:pt x="408" y="68"/>
                </a:lnTo>
                <a:lnTo>
                  <a:pt x="413" y="68"/>
                </a:lnTo>
                <a:lnTo>
                  <a:pt x="419" y="68"/>
                </a:lnTo>
                <a:lnTo>
                  <a:pt x="425" y="62"/>
                </a:lnTo>
                <a:lnTo>
                  <a:pt x="430" y="62"/>
                </a:lnTo>
                <a:lnTo>
                  <a:pt x="430" y="56"/>
                </a:lnTo>
                <a:lnTo>
                  <a:pt x="430" y="51"/>
                </a:lnTo>
                <a:lnTo>
                  <a:pt x="436" y="51"/>
                </a:lnTo>
                <a:lnTo>
                  <a:pt x="442" y="45"/>
                </a:lnTo>
                <a:lnTo>
                  <a:pt x="447" y="39"/>
                </a:lnTo>
                <a:lnTo>
                  <a:pt x="453" y="39"/>
                </a:lnTo>
                <a:lnTo>
                  <a:pt x="459" y="39"/>
                </a:lnTo>
                <a:lnTo>
                  <a:pt x="459" y="45"/>
                </a:lnTo>
                <a:lnTo>
                  <a:pt x="459" y="51"/>
                </a:lnTo>
                <a:lnTo>
                  <a:pt x="459" y="56"/>
                </a:lnTo>
                <a:lnTo>
                  <a:pt x="459" y="62"/>
                </a:lnTo>
                <a:lnTo>
                  <a:pt x="447" y="68"/>
                </a:lnTo>
                <a:lnTo>
                  <a:pt x="447" y="73"/>
                </a:lnTo>
                <a:lnTo>
                  <a:pt x="447" y="79"/>
                </a:lnTo>
                <a:lnTo>
                  <a:pt x="447" y="85"/>
                </a:lnTo>
                <a:lnTo>
                  <a:pt x="447" y="90"/>
                </a:lnTo>
                <a:lnTo>
                  <a:pt x="447" y="96"/>
                </a:lnTo>
                <a:lnTo>
                  <a:pt x="442" y="102"/>
                </a:lnTo>
                <a:lnTo>
                  <a:pt x="442" y="108"/>
                </a:lnTo>
                <a:lnTo>
                  <a:pt x="436" y="108"/>
                </a:lnTo>
                <a:lnTo>
                  <a:pt x="436" y="113"/>
                </a:lnTo>
                <a:lnTo>
                  <a:pt x="436" y="119"/>
                </a:lnTo>
                <a:lnTo>
                  <a:pt x="436" y="125"/>
                </a:lnTo>
                <a:lnTo>
                  <a:pt x="442" y="125"/>
                </a:lnTo>
                <a:lnTo>
                  <a:pt x="447" y="130"/>
                </a:lnTo>
                <a:lnTo>
                  <a:pt x="447" y="136"/>
                </a:lnTo>
                <a:lnTo>
                  <a:pt x="459" y="147"/>
                </a:lnTo>
                <a:lnTo>
                  <a:pt x="459" y="159"/>
                </a:lnTo>
                <a:lnTo>
                  <a:pt x="459" y="170"/>
                </a:lnTo>
                <a:lnTo>
                  <a:pt x="459" y="181"/>
                </a:lnTo>
                <a:lnTo>
                  <a:pt x="459" y="193"/>
                </a:lnTo>
                <a:lnTo>
                  <a:pt x="453" y="198"/>
                </a:lnTo>
                <a:lnTo>
                  <a:pt x="447" y="204"/>
                </a:lnTo>
                <a:lnTo>
                  <a:pt x="447" y="210"/>
                </a:lnTo>
                <a:lnTo>
                  <a:pt x="447" y="221"/>
                </a:lnTo>
                <a:lnTo>
                  <a:pt x="459" y="232"/>
                </a:lnTo>
                <a:lnTo>
                  <a:pt x="459" y="249"/>
                </a:lnTo>
                <a:lnTo>
                  <a:pt x="459" y="261"/>
                </a:lnTo>
                <a:lnTo>
                  <a:pt x="459" y="278"/>
                </a:lnTo>
                <a:lnTo>
                  <a:pt x="459" y="289"/>
                </a:lnTo>
                <a:lnTo>
                  <a:pt x="459" y="300"/>
                </a:lnTo>
                <a:lnTo>
                  <a:pt x="453" y="306"/>
                </a:lnTo>
                <a:lnTo>
                  <a:pt x="447" y="306"/>
                </a:lnTo>
                <a:lnTo>
                  <a:pt x="447" y="300"/>
                </a:lnTo>
                <a:lnTo>
                  <a:pt x="436" y="295"/>
                </a:lnTo>
                <a:lnTo>
                  <a:pt x="430" y="289"/>
                </a:lnTo>
                <a:lnTo>
                  <a:pt x="419" y="295"/>
                </a:lnTo>
                <a:lnTo>
                  <a:pt x="408" y="300"/>
                </a:lnTo>
                <a:lnTo>
                  <a:pt x="402" y="300"/>
                </a:lnTo>
                <a:lnTo>
                  <a:pt x="391" y="306"/>
                </a:lnTo>
                <a:lnTo>
                  <a:pt x="385" y="317"/>
                </a:lnTo>
                <a:lnTo>
                  <a:pt x="379" y="317"/>
                </a:lnTo>
                <a:lnTo>
                  <a:pt x="379" y="329"/>
                </a:lnTo>
                <a:lnTo>
                  <a:pt x="379" y="346"/>
                </a:lnTo>
                <a:lnTo>
                  <a:pt x="379" y="357"/>
                </a:lnTo>
                <a:lnTo>
                  <a:pt x="379" y="374"/>
                </a:lnTo>
                <a:lnTo>
                  <a:pt x="379" y="391"/>
                </a:lnTo>
                <a:lnTo>
                  <a:pt x="379" y="408"/>
                </a:lnTo>
                <a:lnTo>
                  <a:pt x="379" y="419"/>
                </a:lnTo>
                <a:lnTo>
                  <a:pt x="379" y="442"/>
                </a:lnTo>
                <a:lnTo>
                  <a:pt x="379" y="459"/>
                </a:lnTo>
                <a:lnTo>
                  <a:pt x="374" y="482"/>
                </a:lnTo>
                <a:lnTo>
                  <a:pt x="368" y="493"/>
                </a:lnTo>
                <a:lnTo>
                  <a:pt x="362" y="516"/>
                </a:lnTo>
                <a:lnTo>
                  <a:pt x="362" y="538"/>
                </a:lnTo>
                <a:lnTo>
                  <a:pt x="357" y="550"/>
                </a:lnTo>
                <a:lnTo>
                  <a:pt x="351" y="561"/>
                </a:lnTo>
                <a:lnTo>
                  <a:pt x="351" y="567"/>
                </a:lnTo>
                <a:lnTo>
                  <a:pt x="345" y="572"/>
                </a:lnTo>
                <a:lnTo>
                  <a:pt x="351" y="589"/>
                </a:lnTo>
                <a:lnTo>
                  <a:pt x="351" y="595"/>
                </a:lnTo>
                <a:lnTo>
                  <a:pt x="362" y="601"/>
                </a:lnTo>
                <a:lnTo>
                  <a:pt x="368" y="606"/>
                </a:lnTo>
                <a:lnTo>
                  <a:pt x="374" y="606"/>
                </a:lnTo>
                <a:lnTo>
                  <a:pt x="379" y="606"/>
                </a:lnTo>
                <a:lnTo>
                  <a:pt x="385" y="606"/>
                </a:lnTo>
                <a:lnTo>
                  <a:pt x="385" y="601"/>
                </a:lnTo>
                <a:lnTo>
                  <a:pt x="391" y="601"/>
                </a:lnTo>
                <a:lnTo>
                  <a:pt x="391" y="595"/>
                </a:lnTo>
                <a:lnTo>
                  <a:pt x="391" y="589"/>
                </a:lnTo>
                <a:lnTo>
                  <a:pt x="396" y="584"/>
                </a:lnTo>
                <a:lnTo>
                  <a:pt x="402" y="578"/>
                </a:lnTo>
                <a:lnTo>
                  <a:pt x="408" y="572"/>
                </a:lnTo>
                <a:lnTo>
                  <a:pt x="419" y="572"/>
                </a:lnTo>
                <a:lnTo>
                  <a:pt x="425" y="567"/>
                </a:lnTo>
                <a:lnTo>
                  <a:pt x="430" y="567"/>
                </a:lnTo>
                <a:lnTo>
                  <a:pt x="436" y="567"/>
                </a:lnTo>
                <a:lnTo>
                  <a:pt x="447" y="567"/>
                </a:lnTo>
                <a:lnTo>
                  <a:pt x="447" y="561"/>
                </a:lnTo>
                <a:lnTo>
                  <a:pt x="453" y="561"/>
                </a:lnTo>
                <a:lnTo>
                  <a:pt x="453" y="555"/>
                </a:lnTo>
                <a:lnTo>
                  <a:pt x="459" y="555"/>
                </a:lnTo>
                <a:lnTo>
                  <a:pt x="464" y="555"/>
                </a:lnTo>
                <a:lnTo>
                  <a:pt x="464" y="550"/>
                </a:lnTo>
                <a:lnTo>
                  <a:pt x="470" y="550"/>
                </a:lnTo>
                <a:lnTo>
                  <a:pt x="476" y="544"/>
                </a:lnTo>
                <a:lnTo>
                  <a:pt x="481" y="544"/>
                </a:lnTo>
                <a:lnTo>
                  <a:pt x="487" y="544"/>
                </a:lnTo>
                <a:lnTo>
                  <a:pt x="493" y="550"/>
                </a:lnTo>
                <a:lnTo>
                  <a:pt x="504" y="550"/>
                </a:lnTo>
                <a:lnTo>
                  <a:pt x="504" y="544"/>
                </a:lnTo>
                <a:lnTo>
                  <a:pt x="510" y="544"/>
                </a:lnTo>
                <a:lnTo>
                  <a:pt x="510" y="550"/>
                </a:lnTo>
                <a:lnTo>
                  <a:pt x="510" y="555"/>
                </a:lnTo>
                <a:lnTo>
                  <a:pt x="516" y="555"/>
                </a:lnTo>
                <a:lnTo>
                  <a:pt x="521" y="555"/>
                </a:lnTo>
                <a:lnTo>
                  <a:pt x="527" y="555"/>
                </a:lnTo>
                <a:lnTo>
                  <a:pt x="533" y="555"/>
                </a:lnTo>
                <a:lnTo>
                  <a:pt x="533" y="550"/>
                </a:lnTo>
                <a:lnTo>
                  <a:pt x="550" y="550"/>
                </a:lnTo>
                <a:lnTo>
                  <a:pt x="555" y="550"/>
                </a:lnTo>
                <a:lnTo>
                  <a:pt x="555" y="555"/>
                </a:lnTo>
                <a:lnTo>
                  <a:pt x="561" y="555"/>
                </a:lnTo>
                <a:lnTo>
                  <a:pt x="561" y="561"/>
                </a:lnTo>
                <a:lnTo>
                  <a:pt x="561" y="567"/>
                </a:lnTo>
                <a:lnTo>
                  <a:pt x="567" y="567"/>
                </a:lnTo>
                <a:lnTo>
                  <a:pt x="572" y="567"/>
                </a:lnTo>
                <a:lnTo>
                  <a:pt x="572" y="561"/>
                </a:lnTo>
                <a:lnTo>
                  <a:pt x="578" y="567"/>
                </a:lnTo>
                <a:lnTo>
                  <a:pt x="589" y="561"/>
                </a:lnTo>
                <a:lnTo>
                  <a:pt x="595" y="555"/>
                </a:lnTo>
                <a:lnTo>
                  <a:pt x="601" y="555"/>
                </a:lnTo>
                <a:lnTo>
                  <a:pt x="606" y="555"/>
                </a:lnTo>
                <a:lnTo>
                  <a:pt x="606" y="550"/>
                </a:lnTo>
                <a:lnTo>
                  <a:pt x="606" y="544"/>
                </a:lnTo>
                <a:lnTo>
                  <a:pt x="606" y="538"/>
                </a:lnTo>
                <a:lnTo>
                  <a:pt x="612" y="538"/>
                </a:lnTo>
                <a:lnTo>
                  <a:pt x="618" y="538"/>
                </a:lnTo>
                <a:lnTo>
                  <a:pt x="623" y="538"/>
                </a:lnTo>
                <a:lnTo>
                  <a:pt x="623" y="544"/>
                </a:lnTo>
                <a:lnTo>
                  <a:pt x="629" y="544"/>
                </a:lnTo>
                <a:lnTo>
                  <a:pt x="635" y="544"/>
                </a:lnTo>
                <a:lnTo>
                  <a:pt x="640" y="544"/>
                </a:lnTo>
                <a:lnTo>
                  <a:pt x="646" y="544"/>
                </a:lnTo>
                <a:lnTo>
                  <a:pt x="646" y="538"/>
                </a:lnTo>
                <a:lnTo>
                  <a:pt x="652" y="538"/>
                </a:lnTo>
                <a:lnTo>
                  <a:pt x="657" y="538"/>
                </a:lnTo>
                <a:lnTo>
                  <a:pt x="663" y="538"/>
                </a:lnTo>
                <a:lnTo>
                  <a:pt x="663" y="544"/>
                </a:lnTo>
                <a:lnTo>
                  <a:pt x="669" y="550"/>
                </a:lnTo>
                <a:lnTo>
                  <a:pt x="674" y="555"/>
                </a:lnTo>
                <a:lnTo>
                  <a:pt x="674" y="561"/>
                </a:lnTo>
                <a:lnTo>
                  <a:pt x="674" y="567"/>
                </a:lnTo>
                <a:lnTo>
                  <a:pt x="680" y="567"/>
                </a:lnTo>
                <a:lnTo>
                  <a:pt x="680" y="572"/>
                </a:lnTo>
                <a:lnTo>
                  <a:pt x="680" y="567"/>
                </a:lnTo>
                <a:lnTo>
                  <a:pt x="686" y="567"/>
                </a:lnTo>
                <a:lnTo>
                  <a:pt x="691" y="567"/>
                </a:lnTo>
                <a:lnTo>
                  <a:pt x="703" y="567"/>
                </a:lnTo>
                <a:lnTo>
                  <a:pt x="703" y="572"/>
                </a:lnTo>
                <a:lnTo>
                  <a:pt x="708" y="572"/>
                </a:lnTo>
                <a:lnTo>
                  <a:pt x="714" y="578"/>
                </a:lnTo>
                <a:lnTo>
                  <a:pt x="714" y="584"/>
                </a:lnTo>
                <a:lnTo>
                  <a:pt x="720" y="584"/>
                </a:lnTo>
                <a:lnTo>
                  <a:pt x="720" y="589"/>
                </a:lnTo>
                <a:lnTo>
                  <a:pt x="725" y="589"/>
                </a:lnTo>
                <a:lnTo>
                  <a:pt x="731" y="584"/>
                </a:lnTo>
                <a:lnTo>
                  <a:pt x="737" y="584"/>
                </a:lnTo>
                <a:lnTo>
                  <a:pt x="742" y="584"/>
                </a:lnTo>
                <a:lnTo>
                  <a:pt x="748" y="578"/>
                </a:lnTo>
                <a:lnTo>
                  <a:pt x="754" y="578"/>
                </a:lnTo>
                <a:lnTo>
                  <a:pt x="754" y="584"/>
                </a:lnTo>
                <a:lnTo>
                  <a:pt x="759" y="584"/>
                </a:lnTo>
                <a:lnTo>
                  <a:pt x="759" y="578"/>
                </a:lnTo>
                <a:lnTo>
                  <a:pt x="765" y="578"/>
                </a:lnTo>
                <a:lnTo>
                  <a:pt x="765" y="584"/>
                </a:lnTo>
                <a:lnTo>
                  <a:pt x="771" y="584"/>
                </a:lnTo>
                <a:lnTo>
                  <a:pt x="776" y="584"/>
                </a:lnTo>
                <a:lnTo>
                  <a:pt x="782" y="578"/>
                </a:lnTo>
                <a:lnTo>
                  <a:pt x="788" y="584"/>
                </a:lnTo>
                <a:lnTo>
                  <a:pt x="793" y="584"/>
                </a:lnTo>
                <a:lnTo>
                  <a:pt x="793" y="578"/>
                </a:lnTo>
                <a:lnTo>
                  <a:pt x="799" y="572"/>
                </a:lnTo>
                <a:lnTo>
                  <a:pt x="805" y="572"/>
                </a:lnTo>
                <a:lnTo>
                  <a:pt x="810" y="572"/>
                </a:lnTo>
                <a:lnTo>
                  <a:pt x="816" y="572"/>
                </a:lnTo>
                <a:lnTo>
                  <a:pt x="822" y="572"/>
                </a:lnTo>
                <a:lnTo>
                  <a:pt x="827" y="572"/>
                </a:lnTo>
                <a:lnTo>
                  <a:pt x="833" y="578"/>
                </a:lnTo>
                <a:lnTo>
                  <a:pt x="833" y="584"/>
                </a:lnTo>
                <a:lnTo>
                  <a:pt x="839" y="584"/>
                </a:lnTo>
                <a:lnTo>
                  <a:pt x="844" y="584"/>
                </a:lnTo>
                <a:lnTo>
                  <a:pt x="844" y="589"/>
                </a:lnTo>
                <a:lnTo>
                  <a:pt x="850" y="595"/>
                </a:lnTo>
                <a:lnTo>
                  <a:pt x="856" y="601"/>
                </a:lnTo>
                <a:lnTo>
                  <a:pt x="861" y="623"/>
                </a:lnTo>
                <a:lnTo>
                  <a:pt x="861" y="629"/>
                </a:lnTo>
                <a:lnTo>
                  <a:pt x="856" y="635"/>
                </a:lnTo>
                <a:lnTo>
                  <a:pt x="856" y="640"/>
                </a:lnTo>
                <a:lnTo>
                  <a:pt x="850" y="652"/>
                </a:lnTo>
                <a:lnTo>
                  <a:pt x="850" y="657"/>
                </a:lnTo>
                <a:lnTo>
                  <a:pt x="844" y="657"/>
                </a:lnTo>
                <a:lnTo>
                  <a:pt x="844" y="663"/>
                </a:lnTo>
                <a:lnTo>
                  <a:pt x="850" y="663"/>
                </a:lnTo>
                <a:lnTo>
                  <a:pt x="856" y="669"/>
                </a:lnTo>
                <a:lnTo>
                  <a:pt x="861" y="669"/>
                </a:lnTo>
                <a:lnTo>
                  <a:pt x="867" y="669"/>
                </a:lnTo>
                <a:lnTo>
                  <a:pt x="873" y="669"/>
                </a:lnTo>
                <a:lnTo>
                  <a:pt x="878" y="674"/>
                </a:lnTo>
                <a:lnTo>
                  <a:pt x="878" y="680"/>
                </a:lnTo>
                <a:lnTo>
                  <a:pt x="884" y="680"/>
                </a:lnTo>
                <a:lnTo>
                  <a:pt x="890" y="680"/>
                </a:lnTo>
                <a:lnTo>
                  <a:pt x="890" y="686"/>
                </a:lnTo>
                <a:lnTo>
                  <a:pt x="890" y="691"/>
                </a:lnTo>
                <a:lnTo>
                  <a:pt x="890" y="697"/>
                </a:lnTo>
                <a:lnTo>
                  <a:pt x="895" y="697"/>
                </a:lnTo>
                <a:lnTo>
                  <a:pt x="895" y="703"/>
                </a:lnTo>
                <a:lnTo>
                  <a:pt x="901" y="708"/>
                </a:lnTo>
                <a:lnTo>
                  <a:pt x="901" y="720"/>
                </a:lnTo>
                <a:lnTo>
                  <a:pt x="901" y="725"/>
                </a:lnTo>
                <a:lnTo>
                  <a:pt x="901" y="737"/>
                </a:lnTo>
                <a:lnTo>
                  <a:pt x="901" y="742"/>
                </a:lnTo>
                <a:lnTo>
                  <a:pt x="901" y="748"/>
                </a:lnTo>
                <a:lnTo>
                  <a:pt x="901" y="754"/>
                </a:lnTo>
                <a:lnTo>
                  <a:pt x="901" y="759"/>
                </a:lnTo>
                <a:lnTo>
                  <a:pt x="901" y="765"/>
                </a:lnTo>
                <a:lnTo>
                  <a:pt x="907" y="771"/>
                </a:lnTo>
                <a:lnTo>
                  <a:pt x="901" y="771"/>
                </a:lnTo>
                <a:lnTo>
                  <a:pt x="895" y="771"/>
                </a:lnTo>
                <a:lnTo>
                  <a:pt x="895" y="776"/>
                </a:lnTo>
                <a:lnTo>
                  <a:pt x="890" y="776"/>
                </a:lnTo>
                <a:lnTo>
                  <a:pt x="884" y="782"/>
                </a:lnTo>
                <a:lnTo>
                  <a:pt x="878" y="788"/>
                </a:lnTo>
                <a:lnTo>
                  <a:pt x="873" y="788"/>
                </a:lnTo>
                <a:lnTo>
                  <a:pt x="873" y="793"/>
                </a:lnTo>
                <a:lnTo>
                  <a:pt x="867" y="793"/>
                </a:lnTo>
                <a:lnTo>
                  <a:pt x="861" y="793"/>
                </a:lnTo>
                <a:lnTo>
                  <a:pt x="861" y="799"/>
                </a:lnTo>
                <a:lnTo>
                  <a:pt x="856" y="799"/>
                </a:lnTo>
                <a:lnTo>
                  <a:pt x="850" y="805"/>
                </a:lnTo>
                <a:lnTo>
                  <a:pt x="844" y="805"/>
                </a:lnTo>
                <a:lnTo>
                  <a:pt x="827" y="810"/>
                </a:lnTo>
                <a:lnTo>
                  <a:pt x="810" y="816"/>
                </a:lnTo>
                <a:lnTo>
                  <a:pt x="805" y="816"/>
                </a:lnTo>
                <a:lnTo>
                  <a:pt x="793" y="816"/>
                </a:lnTo>
                <a:lnTo>
                  <a:pt x="788" y="816"/>
                </a:lnTo>
                <a:lnTo>
                  <a:pt x="771" y="816"/>
                </a:lnTo>
                <a:lnTo>
                  <a:pt x="754" y="816"/>
                </a:lnTo>
                <a:lnTo>
                  <a:pt x="742" y="816"/>
                </a:lnTo>
                <a:lnTo>
                  <a:pt x="731" y="816"/>
                </a:lnTo>
                <a:lnTo>
                  <a:pt x="720" y="810"/>
                </a:lnTo>
                <a:lnTo>
                  <a:pt x="714" y="810"/>
                </a:lnTo>
                <a:lnTo>
                  <a:pt x="714" y="805"/>
                </a:lnTo>
                <a:lnTo>
                  <a:pt x="708" y="805"/>
                </a:lnTo>
                <a:lnTo>
                  <a:pt x="703" y="805"/>
                </a:lnTo>
                <a:lnTo>
                  <a:pt x="697" y="799"/>
                </a:lnTo>
                <a:lnTo>
                  <a:pt x="691" y="799"/>
                </a:lnTo>
                <a:lnTo>
                  <a:pt x="691" y="793"/>
                </a:lnTo>
                <a:lnTo>
                  <a:pt x="680" y="788"/>
                </a:lnTo>
                <a:lnTo>
                  <a:pt x="680" y="776"/>
                </a:lnTo>
                <a:lnTo>
                  <a:pt x="674" y="771"/>
                </a:lnTo>
                <a:lnTo>
                  <a:pt x="674" y="759"/>
                </a:lnTo>
                <a:lnTo>
                  <a:pt x="674" y="748"/>
                </a:lnTo>
                <a:lnTo>
                  <a:pt x="669" y="737"/>
                </a:lnTo>
                <a:lnTo>
                  <a:pt x="669" y="731"/>
                </a:lnTo>
                <a:lnTo>
                  <a:pt x="663" y="725"/>
                </a:lnTo>
                <a:lnTo>
                  <a:pt x="663" y="720"/>
                </a:lnTo>
                <a:lnTo>
                  <a:pt x="663" y="714"/>
                </a:lnTo>
                <a:lnTo>
                  <a:pt x="663" y="708"/>
                </a:lnTo>
                <a:lnTo>
                  <a:pt x="657" y="697"/>
                </a:lnTo>
                <a:lnTo>
                  <a:pt x="652" y="697"/>
                </a:lnTo>
                <a:lnTo>
                  <a:pt x="652" y="691"/>
                </a:lnTo>
                <a:lnTo>
                  <a:pt x="646" y="686"/>
                </a:lnTo>
                <a:lnTo>
                  <a:pt x="640" y="686"/>
                </a:lnTo>
                <a:lnTo>
                  <a:pt x="635" y="680"/>
                </a:lnTo>
                <a:lnTo>
                  <a:pt x="629" y="680"/>
                </a:lnTo>
                <a:lnTo>
                  <a:pt x="618" y="680"/>
                </a:lnTo>
                <a:lnTo>
                  <a:pt x="612" y="680"/>
                </a:lnTo>
                <a:lnTo>
                  <a:pt x="606" y="680"/>
                </a:lnTo>
                <a:lnTo>
                  <a:pt x="601" y="680"/>
                </a:lnTo>
                <a:lnTo>
                  <a:pt x="589" y="680"/>
                </a:lnTo>
                <a:lnTo>
                  <a:pt x="567" y="680"/>
                </a:lnTo>
                <a:lnTo>
                  <a:pt x="561" y="680"/>
                </a:lnTo>
                <a:lnTo>
                  <a:pt x="550" y="686"/>
                </a:lnTo>
                <a:lnTo>
                  <a:pt x="538" y="686"/>
                </a:lnTo>
                <a:lnTo>
                  <a:pt x="533" y="691"/>
                </a:lnTo>
                <a:lnTo>
                  <a:pt x="504" y="691"/>
                </a:lnTo>
                <a:lnTo>
                  <a:pt x="493" y="691"/>
                </a:lnTo>
                <a:lnTo>
                  <a:pt x="493" y="697"/>
                </a:lnTo>
                <a:lnTo>
                  <a:pt x="487" y="697"/>
                </a:lnTo>
                <a:lnTo>
                  <a:pt x="481" y="697"/>
                </a:lnTo>
                <a:lnTo>
                  <a:pt x="476" y="697"/>
                </a:lnTo>
                <a:lnTo>
                  <a:pt x="476" y="703"/>
                </a:lnTo>
                <a:lnTo>
                  <a:pt x="470" y="703"/>
                </a:lnTo>
                <a:lnTo>
                  <a:pt x="470" y="708"/>
                </a:lnTo>
                <a:lnTo>
                  <a:pt x="464" y="708"/>
                </a:lnTo>
                <a:lnTo>
                  <a:pt x="459" y="708"/>
                </a:lnTo>
                <a:lnTo>
                  <a:pt x="453" y="714"/>
                </a:lnTo>
                <a:lnTo>
                  <a:pt x="447" y="714"/>
                </a:lnTo>
                <a:lnTo>
                  <a:pt x="447" y="720"/>
                </a:lnTo>
                <a:lnTo>
                  <a:pt x="447" y="725"/>
                </a:lnTo>
                <a:lnTo>
                  <a:pt x="447" y="731"/>
                </a:lnTo>
                <a:lnTo>
                  <a:pt x="453" y="731"/>
                </a:lnTo>
                <a:lnTo>
                  <a:pt x="453" y="737"/>
                </a:lnTo>
                <a:lnTo>
                  <a:pt x="464" y="737"/>
                </a:lnTo>
                <a:lnTo>
                  <a:pt x="464" y="742"/>
                </a:lnTo>
                <a:lnTo>
                  <a:pt x="470" y="748"/>
                </a:lnTo>
                <a:lnTo>
                  <a:pt x="476" y="748"/>
                </a:lnTo>
                <a:lnTo>
                  <a:pt x="481" y="754"/>
                </a:lnTo>
                <a:lnTo>
                  <a:pt x="487" y="759"/>
                </a:lnTo>
                <a:lnTo>
                  <a:pt x="493" y="759"/>
                </a:lnTo>
                <a:lnTo>
                  <a:pt x="499" y="759"/>
                </a:lnTo>
                <a:lnTo>
                  <a:pt x="504" y="765"/>
                </a:lnTo>
                <a:lnTo>
                  <a:pt x="510" y="771"/>
                </a:lnTo>
                <a:lnTo>
                  <a:pt x="510" y="776"/>
                </a:lnTo>
                <a:lnTo>
                  <a:pt x="516" y="776"/>
                </a:lnTo>
                <a:lnTo>
                  <a:pt x="521" y="776"/>
                </a:lnTo>
                <a:lnTo>
                  <a:pt x="533" y="776"/>
                </a:lnTo>
                <a:lnTo>
                  <a:pt x="544" y="776"/>
                </a:lnTo>
                <a:lnTo>
                  <a:pt x="550" y="776"/>
                </a:lnTo>
                <a:lnTo>
                  <a:pt x="550" y="782"/>
                </a:lnTo>
                <a:lnTo>
                  <a:pt x="555" y="782"/>
                </a:lnTo>
                <a:lnTo>
                  <a:pt x="555" y="788"/>
                </a:lnTo>
                <a:lnTo>
                  <a:pt x="561" y="788"/>
                </a:lnTo>
                <a:lnTo>
                  <a:pt x="561" y="793"/>
                </a:lnTo>
                <a:lnTo>
                  <a:pt x="561" y="805"/>
                </a:lnTo>
                <a:lnTo>
                  <a:pt x="567" y="816"/>
                </a:lnTo>
                <a:lnTo>
                  <a:pt x="567" y="822"/>
                </a:lnTo>
                <a:lnTo>
                  <a:pt x="567" y="827"/>
                </a:lnTo>
                <a:lnTo>
                  <a:pt x="561" y="833"/>
                </a:lnTo>
                <a:lnTo>
                  <a:pt x="561" y="844"/>
                </a:lnTo>
                <a:lnTo>
                  <a:pt x="555" y="844"/>
                </a:lnTo>
                <a:lnTo>
                  <a:pt x="550" y="844"/>
                </a:lnTo>
                <a:lnTo>
                  <a:pt x="550" y="850"/>
                </a:lnTo>
                <a:lnTo>
                  <a:pt x="555" y="850"/>
                </a:lnTo>
                <a:lnTo>
                  <a:pt x="555" y="856"/>
                </a:lnTo>
                <a:lnTo>
                  <a:pt x="561" y="856"/>
                </a:lnTo>
                <a:lnTo>
                  <a:pt x="567" y="856"/>
                </a:lnTo>
                <a:lnTo>
                  <a:pt x="567" y="861"/>
                </a:lnTo>
                <a:lnTo>
                  <a:pt x="572" y="861"/>
                </a:lnTo>
                <a:lnTo>
                  <a:pt x="578" y="861"/>
                </a:lnTo>
                <a:lnTo>
                  <a:pt x="584" y="867"/>
                </a:lnTo>
                <a:lnTo>
                  <a:pt x="584" y="873"/>
                </a:lnTo>
                <a:lnTo>
                  <a:pt x="584" y="878"/>
                </a:lnTo>
                <a:lnTo>
                  <a:pt x="578" y="878"/>
                </a:lnTo>
                <a:lnTo>
                  <a:pt x="578" y="884"/>
                </a:lnTo>
                <a:lnTo>
                  <a:pt x="567" y="890"/>
                </a:lnTo>
                <a:lnTo>
                  <a:pt x="555" y="890"/>
                </a:lnTo>
                <a:lnTo>
                  <a:pt x="550" y="890"/>
                </a:lnTo>
                <a:lnTo>
                  <a:pt x="544" y="895"/>
                </a:lnTo>
                <a:lnTo>
                  <a:pt x="538" y="895"/>
                </a:lnTo>
                <a:lnTo>
                  <a:pt x="538" y="901"/>
                </a:lnTo>
                <a:lnTo>
                  <a:pt x="533" y="901"/>
                </a:lnTo>
                <a:lnTo>
                  <a:pt x="521" y="901"/>
                </a:lnTo>
                <a:lnTo>
                  <a:pt x="510" y="907"/>
                </a:lnTo>
                <a:lnTo>
                  <a:pt x="499" y="907"/>
                </a:lnTo>
                <a:lnTo>
                  <a:pt x="493" y="901"/>
                </a:lnTo>
                <a:lnTo>
                  <a:pt x="487" y="901"/>
                </a:lnTo>
                <a:lnTo>
                  <a:pt x="481" y="901"/>
                </a:lnTo>
                <a:lnTo>
                  <a:pt x="476" y="895"/>
                </a:lnTo>
                <a:lnTo>
                  <a:pt x="470" y="895"/>
                </a:lnTo>
                <a:lnTo>
                  <a:pt x="470" y="901"/>
                </a:lnTo>
                <a:lnTo>
                  <a:pt x="470" y="912"/>
                </a:lnTo>
                <a:lnTo>
                  <a:pt x="470" y="924"/>
                </a:lnTo>
                <a:lnTo>
                  <a:pt x="476" y="935"/>
                </a:lnTo>
                <a:lnTo>
                  <a:pt x="481" y="941"/>
                </a:lnTo>
                <a:lnTo>
                  <a:pt x="481" y="946"/>
                </a:lnTo>
                <a:lnTo>
                  <a:pt x="481" y="958"/>
                </a:lnTo>
                <a:lnTo>
                  <a:pt x="481" y="969"/>
                </a:lnTo>
                <a:lnTo>
                  <a:pt x="481" y="980"/>
                </a:lnTo>
                <a:lnTo>
                  <a:pt x="481" y="986"/>
                </a:lnTo>
                <a:lnTo>
                  <a:pt x="481" y="992"/>
                </a:lnTo>
                <a:lnTo>
                  <a:pt x="481" y="997"/>
                </a:lnTo>
                <a:lnTo>
                  <a:pt x="487" y="997"/>
                </a:lnTo>
                <a:lnTo>
                  <a:pt x="493" y="997"/>
                </a:lnTo>
                <a:lnTo>
                  <a:pt x="493" y="1003"/>
                </a:lnTo>
                <a:lnTo>
                  <a:pt x="499" y="1003"/>
                </a:lnTo>
                <a:lnTo>
                  <a:pt x="499" y="1009"/>
                </a:lnTo>
                <a:lnTo>
                  <a:pt x="499" y="1020"/>
                </a:lnTo>
                <a:lnTo>
                  <a:pt x="504" y="1026"/>
                </a:lnTo>
                <a:lnTo>
                  <a:pt x="510" y="1026"/>
                </a:lnTo>
                <a:lnTo>
                  <a:pt x="510" y="1032"/>
                </a:lnTo>
                <a:lnTo>
                  <a:pt x="510" y="1037"/>
                </a:lnTo>
                <a:lnTo>
                  <a:pt x="510" y="1043"/>
                </a:lnTo>
                <a:lnTo>
                  <a:pt x="510" y="1049"/>
                </a:lnTo>
                <a:lnTo>
                  <a:pt x="510" y="1054"/>
                </a:lnTo>
                <a:lnTo>
                  <a:pt x="504" y="1060"/>
                </a:lnTo>
                <a:lnTo>
                  <a:pt x="499" y="1060"/>
                </a:lnTo>
                <a:lnTo>
                  <a:pt x="499" y="1066"/>
                </a:lnTo>
                <a:lnTo>
                  <a:pt x="493" y="1066"/>
                </a:lnTo>
                <a:lnTo>
                  <a:pt x="487" y="1066"/>
                </a:lnTo>
                <a:lnTo>
                  <a:pt x="481" y="1066"/>
                </a:lnTo>
                <a:lnTo>
                  <a:pt x="476" y="1066"/>
                </a:lnTo>
                <a:lnTo>
                  <a:pt x="470" y="1066"/>
                </a:lnTo>
                <a:lnTo>
                  <a:pt x="464" y="1066"/>
                </a:lnTo>
                <a:lnTo>
                  <a:pt x="459" y="1066"/>
                </a:lnTo>
                <a:lnTo>
                  <a:pt x="442" y="1060"/>
                </a:lnTo>
                <a:lnTo>
                  <a:pt x="436" y="1060"/>
                </a:lnTo>
                <a:lnTo>
                  <a:pt x="430" y="1060"/>
                </a:lnTo>
                <a:lnTo>
                  <a:pt x="430" y="1066"/>
                </a:lnTo>
                <a:lnTo>
                  <a:pt x="425" y="1066"/>
                </a:lnTo>
                <a:lnTo>
                  <a:pt x="425" y="1071"/>
                </a:lnTo>
                <a:lnTo>
                  <a:pt x="425" y="1077"/>
                </a:lnTo>
                <a:lnTo>
                  <a:pt x="425" y="1083"/>
                </a:lnTo>
                <a:lnTo>
                  <a:pt x="425" y="1094"/>
                </a:lnTo>
                <a:lnTo>
                  <a:pt x="425" y="1100"/>
                </a:lnTo>
                <a:lnTo>
                  <a:pt x="425" y="1105"/>
                </a:lnTo>
                <a:lnTo>
                  <a:pt x="419" y="1105"/>
                </a:lnTo>
                <a:lnTo>
                  <a:pt x="413" y="1111"/>
                </a:lnTo>
                <a:lnTo>
                  <a:pt x="408" y="1111"/>
                </a:lnTo>
                <a:lnTo>
                  <a:pt x="402" y="1111"/>
                </a:lnTo>
                <a:lnTo>
                  <a:pt x="396" y="1111"/>
                </a:lnTo>
                <a:lnTo>
                  <a:pt x="385" y="1111"/>
                </a:lnTo>
                <a:lnTo>
                  <a:pt x="379" y="1105"/>
                </a:lnTo>
                <a:lnTo>
                  <a:pt x="379" y="1100"/>
                </a:lnTo>
                <a:lnTo>
                  <a:pt x="379" y="1094"/>
                </a:lnTo>
                <a:lnTo>
                  <a:pt x="379" y="1088"/>
                </a:lnTo>
                <a:lnTo>
                  <a:pt x="379" y="1083"/>
                </a:lnTo>
                <a:lnTo>
                  <a:pt x="379" y="1077"/>
                </a:lnTo>
                <a:lnTo>
                  <a:pt x="379" y="1071"/>
                </a:lnTo>
                <a:lnTo>
                  <a:pt x="374" y="1066"/>
                </a:lnTo>
                <a:lnTo>
                  <a:pt x="368" y="1066"/>
                </a:lnTo>
                <a:lnTo>
                  <a:pt x="368" y="1060"/>
                </a:lnTo>
                <a:lnTo>
                  <a:pt x="362" y="1054"/>
                </a:lnTo>
                <a:lnTo>
                  <a:pt x="357" y="1054"/>
                </a:lnTo>
                <a:lnTo>
                  <a:pt x="357" y="1049"/>
                </a:lnTo>
                <a:lnTo>
                  <a:pt x="357" y="1043"/>
                </a:lnTo>
                <a:lnTo>
                  <a:pt x="357" y="1037"/>
                </a:lnTo>
                <a:lnTo>
                  <a:pt x="351" y="1032"/>
                </a:lnTo>
                <a:lnTo>
                  <a:pt x="351" y="1026"/>
                </a:lnTo>
                <a:lnTo>
                  <a:pt x="351" y="1020"/>
                </a:lnTo>
                <a:lnTo>
                  <a:pt x="351" y="1009"/>
                </a:lnTo>
                <a:lnTo>
                  <a:pt x="351" y="1003"/>
                </a:lnTo>
                <a:lnTo>
                  <a:pt x="357" y="992"/>
                </a:lnTo>
                <a:lnTo>
                  <a:pt x="357" y="986"/>
                </a:lnTo>
                <a:lnTo>
                  <a:pt x="357" y="980"/>
                </a:lnTo>
                <a:lnTo>
                  <a:pt x="357" y="975"/>
                </a:lnTo>
                <a:lnTo>
                  <a:pt x="362" y="975"/>
                </a:lnTo>
                <a:lnTo>
                  <a:pt x="368" y="969"/>
                </a:lnTo>
                <a:lnTo>
                  <a:pt x="368" y="963"/>
                </a:lnTo>
                <a:lnTo>
                  <a:pt x="374" y="963"/>
                </a:lnTo>
                <a:lnTo>
                  <a:pt x="374" y="958"/>
                </a:lnTo>
                <a:lnTo>
                  <a:pt x="379" y="958"/>
                </a:lnTo>
                <a:lnTo>
                  <a:pt x="385" y="952"/>
                </a:lnTo>
                <a:lnTo>
                  <a:pt x="391" y="946"/>
                </a:lnTo>
                <a:lnTo>
                  <a:pt x="396" y="946"/>
                </a:lnTo>
                <a:lnTo>
                  <a:pt x="402" y="941"/>
                </a:lnTo>
                <a:lnTo>
                  <a:pt x="408" y="941"/>
                </a:lnTo>
                <a:lnTo>
                  <a:pt x="413" y="941"/>
                </a:lnTo>
                <a:lnTo>
                  <a:pt x="413" y="935"/>
                </a:lnTo>
                <a:lnTo>
                  <a:pt x="419" y="929"/>
                </a:lnTo>
                <a:lnTo>
                  <a:pt x="425" y="929"/>
                </a:lnTo>
                <a:lnTo>
                  <a:pt x="425" y="924"/>
                </a:lnTo>
                <a:lnTo>
                  <a:pt x="425" y="918"/>
                </a:lnTo>
                <a:lnTo>
                  <a:pt x="430" y="918"/>
                </a:lnTo>
                <a:lnTo>
                  <a:pt x="430" y="912"/>
                </a:lnTo>
                <a:lnTo>
                  <a:pt x="436" y="912"/>
                </a:lnTo>
                <a:lnTo>
                  <a:pt x="436" y="901"/>
                </a:lnTo>
                <a:lnTo>
                  <a:pt x="436" y="884"/>
                </a:lnTo>
                <a:lnTo>
                  <a:pt x="436" y="867"/>
                </a:lnTo>
                <a:lnTo>
                  <a:pt x="436" y="861"/>
                </a:lnTo>
                <a:lnTo>
                  <a:pt x="436" y="856"/>
                </a:lnTo>
                <a:lnTo>
                  <a:pt x="436" y="850"/>
                </a:lnTo>
                <a:lnTo>
                  <a:pt x="436" y="844"/>
                </a:lnTo>
                <a:lnTo>
                  <a:pt x="430" y="844"/>
                </a:lnTo>
                <a:lnTo>
                  <a:pt x="425" y="844"/>
                </a:lnTo>
                <a:lnTo>
                  <a:pt x="413" y="844"/>
                </a:lnTo>
                <a:lnTo>
                  <a:pt x="408" y="844"/>
                </a:lnTo>
                <a:lnTo>
                  <a:pt x="408" y="850"/>
                </a:lnTo>
                <a:lnTo>
                  <a:pt x="402" y="850"/>
                </a:lnTo>
                <a:lnTo>
                  <a:pt x="396" y="850"/>
                </a:lnTo>
                <a:lnTo>
                  <a:pt x="396" y="856"/>
                </a:lnTo>
                <a:lnTo>
                  <a:pt x="391" y="861"/>
                </a:lnTo>
                <a:lnTo>
                  <a:pt x="385" y="861"/>
                </a:lnTo>
                <a:lnTo>
                  <a:pt x="379" y="861"/>
                </a:lnTo>
                <a:lnTo>
                  <a:pt x="374" y="861"/>
                </a:lnTo>
                <a:lnTo>
                  <a:pt x="368" y="861"/>
                </a:lnTo>
                <a:lnTo>
                  <a:pt x="362" y="861"/>
                </a:lnTo>
                <a:lnTo>
                  <a:pt x="357" y="861"/>
                </a:lnTo>
                <a:lnTo>
                  <a:pt x="351" y="861"/>
                </a:lnTo>
                <a:lnTo>
                  <a:pt x="351" y="856"/>
                </a:lnTo>
                <a:lnTo>
                  <a:pt x="345" y="856"/>
                </a:lnTo>
                <a:lnTo>
                  <a:pt x="340" y="856"/>
                </a:lnTo>
                <a:lnTo>
                  <a:pt x="328" y="856"/>
                </a:lnTo>
                <a:lnTo>
                  <a:pt x="328" y="850"/>
                </a:lnTo>
                <a:lnTo>
                  <a:pt x="323" y="850"/>
                </a:lnTo>
                <a:lnTo>
                  <a:pt x="317" y="844"/>
                </a:lnTo>
                <a:lnTo>
                  <a:pt x="311" y="844"/>
                </a:lnTo>
                <a:lnTo>
                  <a:pt x="306" y="839"/>
                </a:lnTo>
                <a:lnTo>
                  <a:pt x="300" y="839"/>
                </a:lnTo>
                <a:lnTo>
                  <a:pt x="300" y="833"/>
                </a:lnTo>
                <a:lnTo>
                  <a:pt x="294" y="833"/>
                </a:lnTo>
                <a:lnTo>
                  <a:pt x="294" y="827"/>
                </a:lnTo>
                <a:lnTo>
                  <a:pt x="294" y="822"/>
                </a:lnTo>
                <a:lnTo>
                  <a:pt x="289" y="822"/>
                </a:lnTo>
                <a:lnTo>
                  <a:pt x="283" y="822"/>
                </a:lnTo>
                <a:lnTo>
                  <a:pt x="283" y="816"/>
                </a:lnTo>
                <a:lnTo>
                  <a:pt x="277" y="810"/>
                </a:lnTo>
                <a:lnTo>
                  <a:pt x="272" y="810"/>
                </a:lnTo>
                <a:lnTo>
                  <a:pt x="272" y="805"/>
                </a:lnTo>
                <a:lnTo>
                  <a:pt x="266" y="805"/>
                </a:lnTo>
                <a:lnTo>
                  <a:pt x="260" y="805"/>
                </a:lnTo>
                <a:lnTo>
                  <a:pt x="255" y="805"/>
                </a:lnTo>
                <a:lnTo>
                  <a:pt x="249" y="805"/>
                </a:lnTo>
                <a:lnTo>
                  <a:pt x="249" y="799"/>
                </a:lnTo>
                <a:lnTo>
                  <a:pt x="243" y="799"/>
                </a:lnTo>
                <a:lnTo>
                  <a:pt x="238" y="799"/>
                </a:lnTo>
                <a:lnTo>
                  <a:pt x="232" y="799"/>
                </a:lnTo>
                <a:lnTo>
                  <a:pt x="226" y="805"/>
                </a:lnTo>
                <a:lnTo>
                  <a:pt x="221" y="805"/>
                </a:lnTo>
                <a:lnTo>
                  <a:pt x="215" y="810"/>
                </a:lnTo>
                <a:lnTo>
                  <a:pt x="209" y="810"/>
                </a:lnTo>
                <a:lnTo>
                  <a:pt x="198" y="810"/>
                </a:lnTo>
                <a:lnTo>
                  <a:pt x="192" y="810"/>
                </a:lnTo>
                <a:lnTo>
                  <a:pt x="187" y="810"/>
                </a:lnTo>
                <a:lnTo>
                  <a:pt x="181" y="810"/>
                </a:lnTo>
                <a:lnTo>
                  <a:pt x="164" y="810"/>
                </a:lnTo>
                <a:lnTo>
                  <a:pt x="153" y="805"/>
                </a:lnTo>
                <a:lnTo>
                  <a:pt x="141" y="799"/>
                </a:lnTo>
                <a:lnTo>
                  <a:pt x="141" y="793"/>
                </a:lnTo>
                <a:lnTo>
                  <a:pt x="136" y="793"/>
                </a:lnTo>
                <a:lnTo>
                  <a:pt x="130" y="793"/>
                </a:lnTo>
                <a:lnTo>
                  <a:pt x="130" y="788"/>
                </a:lnTo>
                <a:lnTo>
                  <a:pt x="124" y="788"/>
                </a:lnTo>
                <a:lnTo>
                  <a:pt x="119" y="788"/>
                </a:lnTo>
                <a:lnTo>
                  <a:pt x="113" y="788"/>
                </a:lnTo>
                <a:lnTo>
                  <a:pt x="113" y="782"/>
                </a:lnTo>
                <a:lnTo>
                  <a:pt x="107" y="782"/>
                </a:lnTo>
                <a:lnTo>
                  <a:pt x="107" y="776"/>
                </a:lnTo>
                <a:lnTo>
                  <a:pt x="102" y="776"/>
                </a:lnTo>
                <a:lnTo>
                  <a:pt x="96" y="776"/>
                </a:lnTo>
                <a:lnTo>
                  <a:pt x="96" y="771"/>
                </a:lnTo>
                <a:lnTo>
                  <a:pt x="90" y="765"/>
                </a:lnTo>
                <a:lnTo>
                  <a:pt x="79" y="77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49" name="Freeform 10"/>
          <p:cNvSpPr>
            <a:spLocks/>
          </p:cNvSpPr>
          <p:nvPr/>
        </p:nvSpPr>
        <p:spPr bwMode="gray">
          <a:xfrm>
            <a:off x="2437861" y="3842035"/>
            <a:ext cx="1498352" cy="1316853"/>
          </a:xfrm>
          <a:custGeom>
            <a:avLst/>
            <a:gdLst>
              <a:gd name="T0" fmla="*/ 2147483647 w 885"/>
              <a:gd name="T1" fmla="*/ 2147483647 h 777"/>
              <a:gd name="T2" fmla="*/ 2147483647 w 885"/>
              <a:gd name="T3" fmla="*/ 2147483647 h 777"/>
              <a:gd name="T4" fmla="*/ 2147483647 w 885"/>
              <a:gd name="T5" fmla="*/ 2147483647 h 777"/>
              <a:gd name="T6" fmla="*/ 2147483647 w 885"/>
              <a:gd name="T7" fmla="*/ 2147483647 h 777"/>
              <a:gd name="T8" fmla="*/ 2147483647 w 885"/>
              <a:gd name="T9" fmla="*/ 2147483647 h 777"/>
              <a:gd name="T10" fmla="*/ 2147483647 w 885"/>
              <a:gd name="T11" fmla="*/ 2147483647 h 777"/>
              <a:gd name="T12" fmla="*/ 2147483647 w 885"/>
              <a:gd name="T13" fmla="*/ 2147483647 h 777"/>
              <a:gd name="T14" fmla="*/ 2147483647 w 885"/>
              <a:gd name="T15" fmla="*/ 2147483647 h 777"/>
              <a:gd name="T16" fmla="*/ 2147483647 w 885"/>
              <a:gd name="T17" fmla="*/ 2147483647 h 777"/>
              <a:gd name="T18" fmla="*/ 2147483647 w 885"/>
              <a:gd name="T19" fmla="*/ 2147483647 h 777"/>
              <a:gd name="T20" fmla="*/ 2147483647 w 885"/>
              <a:gd name="T21" fmla="*/ 2147483647 h 777"/>
              <a:gd name="T22" fmla="*/ 2147483647 w 885"/>
              <a:gd name="T23" fmla="*/ 2147483647 h 777"/>
              <a:gd name="T24" fmla="*/ 2147483647 w 885"/>
              <a:gd name="T25" fmla="*/ 2147483647 h 777"/>
              <a:gd name="T26" fmla="*/ 2147483647 w 885"/>
              <a:gd name="T27" fmla="*/ 2147483647 h 777"/>
              <a:gd name="T28" fmla="*/ 2147483647 w 885"/>
              <a:gd name="T29" fmla="*/ 2147483647 h 777"/>
              <a:gd name="T30" fmla="*/ 2147483647 w 885"/>
              <a:gd name="T31" fmla="*/ 2147483647 h 777"/>
              <a:gd name="T32" fmla="*/ 2147483647 w 885"/>
              <a:gd name="T33" fmla="*/ 2147483647 h 777"/>
              <a:gd name="T34" fmla="*/ 2147483647 w 885"/>
              <a:gd name="T35" fmla="*/ 2147483647 h 777"/>
              <a:gd name="T36" fmla="*/ 2147483647 w 885"/>
              <a:gd name="T37" fmla="*/ 2147483647 h 777"/>
              <a:gd name="T38" fmla="*/ 2147483647 w 885"/>
              <a:gd name="T39" fmla="*/ 2147483647 h 777"/>
              <a:gd name="T40" fmla="*/ 2147483647 w 885"/>
              <a:gd name="T41" fmla="*/ 2147483647 h 777"/>
              <a:gd name="T42" fmla="*/ 2147483647 w 885"/>
              <a:gd name="T43" fmla="*/ 2147483647 h 777"/>
              <a:gd name="T44" fmla="*/ 2147483647 w 885"/>
              <a:gd name="T45" fmla="*/ 2147483647 h 777"/>
              <a:gd name="T46" fmla="*/ 2147483647 w 885"/>
              <a:gd name="T47" fmla="*/ 2147483647 h 777"/>
              <a:gd name="T48" fmla="*/ 2147483647 w 885"/>
              <a:gd name="T49" fmla="*/ 2147483647 h 777"/>
              <a:gd name="T50" fmla="*/ 2147483647 w 885"/>
              <a:gd name="T51" fmla="*/ 2147483647 h 777"/>
              <a:gd name="T52" fmla="*/ 2147483647 w 885"/>
              <a:gd name="T53" fmla="*/ 2147483647 h 777"/>
              <a:gd name="T54" fmla="*/ 2147483647 w 885"/>
              <a:gd name="T55" fmla="*/ 2147483647 h 777"/>
              <a:gd name="T56" fmla="*/ 2147483647 w 885"/>
              <a:gd name="T57" fmla="*/ 2147483647 h 777"/>
              <a:gd name="T58" fmla="*/ 2147483647 w 885"/>
              <a:gd name="T59" fmla="*/ 2147483647 h 777"/>
              <a:gd name="T60" fmla="*/ 2147483647 w 885"/>
              <a:gd name="T61" fmla="*/ 2147483647 h 777"/>
              <a:gd name="T62" fmla="*/ 2147483647 w 885"/>
              <a:gd name="T63" fmla="*/ 2147483647 h 777"/>
              <a:gd name="T64" fmla="*/ 2147483647 w 885"/>
              <a:gd name="T65" fmla="*/ 2147483647 h 777"/>
              <a:gd name="T66" fmla="*/ 2147483647 w 885"/>
              <a:gd name="T67" fmla="*/ 2147483647 h 777"/>
              <a:gd name="T68" fmla="*/ 2147483647 w 885"/>
              <a:gd name="T69" fmla="*/ 2147483647 h 777"/>
              <a:gd name="T70" fmla="*/ 2147483647 w 885"/>
              <a:gd name="T71" fmla="*/ 2147483647 h 777"/>
              <a:gd name="T72" fmla="*/ 2147483647 w 885"/>
              <a:gd name="T73" fmla="*/ 2147483647 h 777"/>
              <a:gd name="T74" fmla="*/ 2147483647 w 885"/>
              <a:gd name="T75" fmla="*/ 2147483647 h 777"/>
              <a:gd name="T76" fmla="*/ 2147483647 w 885"/>
              <a:gd name="T77" fmla="*/ 2147483647 h 777"/>
              <a:gd name="T78" fmla="*/ 2147483647 w 885"/>
              <a:gd name="T79" fmla="*/ 2147483647 h 777"/>
              <a:gd name="T80" fmla="*/ 2147483647 w 885"/>
              <a:gd name="T81" fmla="*/ 2147483647 h 777"/>
              <a:gd name="T82" fmla="*/ 2147483647 w 885"/>
              <a:gd name="T83" fmla="*/ 2147483647 h 777"/>
              <a:gd name="T84" fmla="*/ 2147483647 w 885"/>
              <a:gd name="T85" fmla="*/ 2147483647 h 777"/>
              <a:gd name="T86" fmla="*/ 2147483647 w 885"/>
              <a:gd name="T87" fmla="*/ 2147483647 h 777"/>
              <a:gd name="T88" fmla="*/ 2147483647 w 885"/>
              <a:gd name="T89" fmla="*/ 2147483647 h 777"/>
              <a:gd name="T90" fmla="*/ 2147483647 w 885"/>
              <a:gd name="T91" fmla="*/ 2147483647 h 777"/>
              <a:gd name="T92" fmla="*/ 2147483647 w 885"/>
              <a:gd name="T93" fmla="*/ 2147483647 h 777"/>
              <a:gd name="T94" fmla="*/ 2147483647 w 885"/>
              <a:gd name="T95" fmla="*/ 2147483647 h 777"/>
              <a:gd name="T96" fmla="*/ 2147483647 w 885"/>
              <a:gd name="T97" fmla="*/ 2147483647 h 777"/>
              <a:gd name="T98" fmla="*/ 2147483647 w 885"/>
              <a:gd name="T99" fmla="*/ 2147483647 h 777"/>
              <a:gd name="T100" fmla="*/ 2147483647 w 885"/>
              <a:gd name="T101" fmla="*/ 2147483647 h 777"/>
              <a:gd name="T102" fmla="*/ 2147483647 w 885"/>
              <a:gd name="T103" fmla="*/ 2147483647 h 777"/>
              <a:gd name="T104" fmla="*/ 2147483647 w 885"/>
              <a:gd name="T105" fmla="*/ 2147483647 h 777"/>
              <a:gd name="T106" fmla="*/ 2147483647 w 885"/>
              <a:gd name="T107" fmla="*/ 2147483647 h 777"/>
              <a:gd name="T108" fmla="*/ 2147483647 w 885"/>
              <a:gd name="T109" fmla="*/ 2147483647 h 777"/>
              <a:gd name="T110" fmla="*/ 2147483647 w 885"/>
              <a:gd name="T111" fmla="*/ 2147483647 h 777"/>
              <a:gd name="T112" fmla="*/ 2147483647 w 885"/>
              <a:gd name="T113" fmla="*/ 2147483647 h 777"/>
              <a:gd name="T114" fmla="*/ 2147483647 w 885"/>
              <a:gd name="T115" fmla="*/ 2147483647 h 777"/>
              <a:gd name="T116" fmla="*/ 2147483647 w 885"/>
              <a:gd name="T117" fmla="*/ 2147483647 h 777"/>
              <a:gd name="T118" fmla="*/ 2147483647 w 885"/>
              <a:gd name="T119" fmla="*/ 2147483647 h 777"/>
              <a:gd name="T120" fmla="*/ 2147483647 w 885"/>
              <a:gd name="T121" fmla="*/ 2147483647 h 77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85"/>
              <a:gd name="T184" fmla="*/ 0 h 777"/>
              <a:gd name="T185" fmla="*/ 885 w 885"/>
              <a:gd name="T186" fmla="*/ 777 h 77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85" h="777">
                <a:moveTo>
                  <a:pt x="68" y="244"/>
                </a:moveTo>
                <a:lnTo>
                  <a:pt x="68" y="238"/>
                </a:lnTo>
                <a:lnTo>
                  <a:pt x="74" y="238"/>
                </a:lnTo>
                <a:lnTo>
                  <a:pt x="74" y="233"/>
                </a:lnTo>
                <a:lnTo>
                  <a:pt x="80" y="227"/>
                </a:lnTo>
                <a:lnTo>
                  <a:pt x="80" y="221"/>
                </a:lnTo>
                <a:lnTo>
                  <a:pt x="80" y="216"/>
                </a:lnTo>
                <a:lnTo>
                  <a:pt x="80" y="210"/>
                </a:lnTo>
                <a:lnTo>
                  <a:pt x="80" y="204"/>
                </a:lnTo>
                <a:lnTo>
                  <a:pt x="74" y="204"/>
                </a:lnTo>
                <a:lnTo>
                  <a:pt x="68" y="204"/>
                </a:lnTo>
                <a:lnTo>
                  <a:pt x="57" y="204"/>
                </a:lnTo>
                <a:lnTo>
                  <a:pt x="51" y="204"/>
                </a:lnTo>
                <a:lnTo>
                  <a:pt x="46" y="204"/>
                </a:lnTo>
                <a:lnTo>
                  <a:pt x="40" y="199"/>
                </a:lnTo>
                <a:lnTo>
                  <a:pt x="40" y="193"/>
                </a:lnTo>
                <a:lnTo>
                  <a:pt x="40" y="187"/>
                </a:lnTo>
                <a:lnTo>
                  <a:pt x="40" y="182"/>
                </a:lnTo>
                <a:lnTo>
                  <a:pt x="34" y="182"/>
                </a:lnTo>
                <a:lnTo>
                  <a:pt x="34" y="176"/>
                </a:lnTo>
                <a:lnTo>
                  <a:pt x="29" y="176"/>
                </a:lnTo>
                <a:lnTo>
                  <a:pt x="23" y="176"/>
                </a:lnTo>
                <a:lnTo>
                  <a:pt x="17" y="176"/>
                </a:lnTo>
                <a:lnTo>
                  <a:pt x="12" y="170"/>
                </a:lnTo>
                <a:lnTo>
                  <a:pt x="12" y="165"/>
                </a:lnTo>
                <a:lnTo>
                  <a:pt x="12" y="153"/>
                </a:lnTo>
                <a:lnTo>
                  <a:pt x="6" y="153"/>
                </a:lnTo>
                <a:lnTo>
                  <a:pt x="0" y="142"/>
                </a:lnTo>
                <a:lnTo>
                  <a:pt x="0" y="136"/>
                </a:lnTo>
                <a:lnTo>
                  <a:pt x="6" y="136"/>
                </a:lnTo>
                <a:lnTo>
                  <a:pt x="6" y="131"/>
                </a:lnTo>
                <a:lnTo>
                  <a:pt x="6" y="125"/>
                </a:lnTo>
                <a:lnTo>
                  <a:pt x="12" y="125"/>
                </a:lnTo>
                <a:lnTo>
                  <a:pt x="17" y="125"/>
                </a:lnTo>
                <a:lnTo>
                  <a:pt x="17" y="119"/>
                </a:lnTo>
                <a:lnTo>
                  <a:pt x="23" y="119"/>
                </a:lnTo>
                <a:lnTo>
                  <a:pt x="23" y="114"/>
                </a:lnTo>
                <a:lnTo>
                  <a:pt x="29" y="114"/>
                </a:lnTo>
                <a:lnTo>
                  <a:pt x="29" y="108"/>
                </a:lnTo>
                <a:lnTo>
                  <a:pt x="34" y="108"/>
                </a:lnTo>
                <a:lnTo>
                  <a:pt x="34" y="102"/>
                </a:lnTo>
                <a:lnTo>
                  <a:pt x="40" y="102"/>
                </a:lnTo>
                <a:lnTo>
                  <a:pt x="40" y="97"/>
                </a:lnTo>
                <a:lnTo>
                  <a:pt x="46" y="91"/>
                </a:lnTo>
                <a:lnTo>
                  <a:pt x="46" y="85"/>
                </a:lnTo>
                <a:lnTo>
                  <a:pt x="51" y="85"/>
                </a:lnTo>
                <a:lnTo>
                  <a:pt x="51" y="80"/>
                </a:lnTo>
                <a:lnTo>
                  <a:pt x="57" y="80"/>
                </a:lnTo>
                <a:lnTo>
                  <a:pt x="57" y="74"/>
                </a:lnTo>
                <a:lnTo>
                  <a:pt x="63" y="74"/>
                </a:lnTo>
                <a:lnTo>
                  <a:pt x="68" y="74"/>
                </a:lnTo>
                <a:lnTo>
                  <a:pt x="74" y="74"/>
                </a:lnTo>
                <a:lnTo>
                  <a:pt x="80" y="74"/>
                </a:lnTo>
                <a:lnTo>
                  <a:pt x="80" y="80"/>
                </a:lnTo>
                <a:lnTo>
                  <a:pt x="85" y="80"/>
                </a:lnTo>
                <a:lnTo>
                  <a:pt x="91" y="85"/>
                </a:lnTo>
                <a:lnTo>
                  <a:pt x="97" y="91"/>
                </a:lnTo>
                <a:lnTo>
                  <a:pt x="102" y="91"/>
                </a:lnTo>
                <a:lnTo>
                  <a:pt x="108" y="97"/>
                </a:lnTo>
                <a:lnTo>
                  <a:pt x="114" y="97"/>
                </a:lnTo>
                <a:lnTo>
                  <a:pt x="114" y="102"/>
                </a:lnTo>
                <a:lnTo>
                  <a:pt x="125" y="108"/>
                </a:lnTo>
                <a:lnTo>
                  <a:pt x="131" y="108"/>
                </a:lnTo>
                <a:lnTo>
                  <a:pt x="136" y="108"/>
                </a:lnTo>
                <a:lnTo>
                  <a:pt x="136" y="114"/>
                </a:lnTo>
                <a:lnTo>
                  <a:pt x="148" y="114"/>
                </a:lnTo>
                <a:lnTo>
                  <a:pt x="153" y="119"/>
                </a:lnTo>
                <a:lnTo>
                  <a:pt x="165" y="119"/>
                </a:lnTo>
                <a:lnTo>
                  <a:pt x="170" y="119"/>
                </a:lnTo>
                <a:lnTo>
                  <a:pt x="176" y="119"/>
                </a:lnTo>
                <a:lnTo>
                  <a:pt x="182" y="119"/>
                </a:lnTo>
                <a:lnTo>
                  <a:pt x="187" y="119"/>
                </a:lnTo>
                <a:lnTo>
                  <a:pt x="193" y="119"/>
                </a:lnTo>
                <a:lnTo>
                  <a:pt x="204" y="114"/>
                </a:lnTo>
                <a:lnTo>
                  <a:pt x="210" y="114"/>
                </a:lnTo>
                <a:lnTo>
                  <a:pt x="216" y="114"/>
                </a:lnTo>
                <a:lnTo>
                  <a:pt x="221" y="114"/>
                </a:lnTo>
                <a:lnTo>
                  <a:pt x="233" y="119"/>
                </a:lnTo>
                <a:lnTo>
                  <a:pt x="238" y="119"/>
                </a:lnTo>
                <a:lnTo>
                  <a:pt x="244" y="119"/>
                </a:lnTo>
                <a:lnTo>
                  <a:pt x="250" y="119"/>
                </a:lnTo>
                <a:lnTo>
                  <a:pt x="261" y="119"/>
                </a:lnTo>
                <a:lnTo>
                  <a:pt x="267" y="119"/>
                </a:lnTo>
                <a:lnTo>
                  <a:pt x="272" y="119"/>
                </a:lnTo>
                <a:lnTo>
                  <a:pt x="272" y="114"/>
                </a:lnTo>
                <a:lnTo>
                  <a:pt x="278" y="114"/>
                </a:lnTo>
                <a:lnTo>
                  <a:pt x="278" y="102"/>
                </a:lnTo>
                <a:lnTo>
                  <a:pt x="278" y="97"/>
                </a:lnTo>
                <a:lnTo>
                  <a:pt x="278" y="91"/>
                </a:lnTo>
                <a:lnTo>
                  <a:pt x="278" y="85"/>
                </a:lnTo>
                <a:lnTo>
                  <a:pt x="278" y="80"/>
                </a:lnTo>
                <a:lnTo>
                  <a:pt x="278" y="74"/>
                </a:lnTo>
                <a:lnTo>
                  <a:pt x="278" y="68"/>
                </a:lnTo>
                <a:lnTo>
                  <a:pt x="278" y="63"/>
                </a:lnTo>
                <a:lnTo>
                  <a:pt x="284" y="63"/>
                </a:lnTo>
                <a:lnTo>
                  <a:pt x="284" y="57"/>
                </a:lnTo>
                <a:lnTo>
                  <a:pt x="284" y="51"/>
                </a:lnTo>
                <a:lnTo>
                  <a:pt x="289" y="51"/>
                </a:lnTo>
                <a:lnTo>
                  <a:pt x="289" y="46"/>
                </a:lnTo>
                <a:lnTo>
                  <a:pt x="289" y="40"/>
                </a:lnTo>
                <a:lnTo>
                  <a:pt x="295" y="40"/>
                </a:lnTo>
                <a:lnTo>
                  <a:pt x="295" y="34"/>
                </a:lnTo>
                <a:lnTo>
                  <a:pt x="295" y="29"/>
                </a:lnTo>
                <a:lnTo>
                  <a:pt x="301" y="29"/>
                </a:lnTo>
                <a:lnTo>
                  <a:pt x="301" y="23"/>
                </a:lnTo>
                <a:lnTo>
                  <a:pt x="306" y="17"/>
                </a:lnTo>
                <a:lnTo>
                  <a:pt x="306" y="12"/>
                </a:lnTo>
                <a:lnTo>
                  <a:pt x="306" y="6"/>
                </a:lnTo>
                <a:lnTo>
                  <a:pt x="318" y="0"/>
                </a:lnTo>
                <a:lnTo>
                  <a:pt x="323" y="0"/>
                </a:lnTo>
                <a:lnTo>
                  <a:pt x="329" y="0"/>
                </a:lnTo>
                <a:lnTo>
                  <a:pt x="335" y="0"/>
                </a:lnTo>
                <a:lnTo>
                  <a:pt x="346" y="6"/>
                </a:lnTo>
                <a:lnTo>
                  <a:pt x="352" y="12"/>
                </a:lnTo>
                <a:lnTo>
                  <a:pt x="357" y="17"/>
                </a:lnTo>
                <a:lnTo>
                  <a:pt x="363" y="17"/>
                </a:lnTo>
                <a:lnTo>
                  <a:pt x="363" y="23"/>
                </a:lnTo>
                <a:lnTo>
                  <a:pt x="369" y="23"/>
                </a:lnTo>
                <a:lnTo>
                  <a:pt x="369" y="29"/>
                </a:lnTo>
                <a:lnTo>
                  <a:pt x="374" y="29"/>
                </a:lnTo>
                <a:lnTo>
                  <a:pt x="374" y="34"/>
                </a:lnTo>
                <a:lnTo>
                  <a:pt x="374" y="40"/>
                </a:lnTo>
                <a:lnTo>
                  <a:pt x="374" y="46"/>
                </a:lnTo>
                <a:lnTo>
                  <a:pt x="380" y="51"/>
                </a:lnTo>
                <a:lnTo>
                  <a:pt x="380" y="57"/>
                </a:lnTo>
                <a:lnTo>
                  <a:pt x="380" y="63"/>
                </a:lnTo>
                <a:lnTo>
                  <a:pt x="380" y="68"/>
                </a:lnTo>
                <a:lnTo>
                  <a:pt x="386" y="68"/>
                </a:lnTo>
                <a:lnTo>
                  <a:pt x="386" y="74"/>
                </a:lnTo>
                <a:lnTo>
                  <a:pt x="391" y="80"/>
                </a:lnTo>
                <a:lnTo>
                  <a:pt x="391" y="85"/>
                </a:lnTo>
                <a:lnTo>
                  <a:pt x="391" y="97"/>
                </a:lnTo>
                <a:lnTo>
                  <a:pt x="397" y="102"/>
                </a:lnTo>
                <a:lnTo>
                  <a:pt x="397" y="108"/>
                </a:lnTo>
                <a:lnTo>
                  <a:pt x="403" y="108"/>
                </a:lnTo>
                <a:lnTo>
                  <a:pt x="408" y="114"/>
                </a:lnTo>
                <a:lnTo>
                  <a:pt x="408" y="119"/>
                </a:lnTo>
                <a:lnTo>
                  <a:pt x="414" y="119"/>
                </a:lnTo>
                <a:lnTo>
                  <a:pt x="420" y="125"/>
                </a:lnTo>
                <a:lnTo>
                  <a:pt x="425" y="125"/>
                </a:lnTo>
                <a:lnTo>
                  <a:pt x="425" y="131"/>
                </a:lnTo>
                <a:lnTo>
                  <a:pt x="431" y="131"/>
                </a:lnTo>
                <a:lnTo>
                  <a:pt x="437" y="136"/>
                </a:lnTo>
                <a:lnTo>
                  <a:pt x="442" y="136"/>
                </a:lnTo>
                <a:lnTo>
                  <a:pt x="442" y="142"/>
                </a:lnTo>
                <a:lnTo>
                  <a:pt x="448" y="142"/>
                </a:lnTo>
                <a:lnTo>
                  <a:pt x="448" y="148"/>
                </a:lnTo>
                <a:lnTo>
                  <a:pt x="454" y="148"/>
                </a:lnTo>
                <a:lnTo>
                  <a:pt x="459" y="153"/>
                </a:lnTo>
                <a:lnTo>
                  <a:pt x="465" y="159"/>
                </a:lnTo>
                <a:lnTo>
                  <a:pt x="471" y="165"/>
                </a:lnTo>
                <a:lnTo>
                  <a:pt x="471" y="170"/>
                </a:lnTo>
                <a:lnTo>
                  <a:pt x="471" y="176"/>
                </a:lnTo>
                <a:lnTo>
                  <a:pt x="476" y="176"/>
                </a:lnTo>
                <a:lnTo>
                  <a:pt x="482" y="182"/>
                </a:lnTo>
                <a:lnTo>
                  <a:pt x="488" y="182"/>
                </a:lnTo>
                <a:lnTo>
                  <a:pt x="493" y="182"/>
                </a:lnTo>
                <a:lnTo>
                  <a:pt x="499" y="176"/>
                </a:lnTo>
                <a:lnTo>
                  <a:pt x="499" y="170"/>
                </a:lnTo>
                <a:lnTo>
                  <a:pt x="505" y="165"/>
                </a:lnTo>
                <a:lnTo>
                  <a:pt x="510" y="153"/>
                </a:lnTo>
                <a:lnTo>
                  <a:pt x="516" y="148"/>
                </a:lnTo>
                <a:lnTo>
                  <a:pt x="516" y="142"/>
                </a:lnTo>
                <a:lnTo>
                  <a:pt x="516" y="136"/>
                </a:lnTo>
                <a:lnTo>
                  <a:pt x="522" y="136"/>
                </a:lnTo>
                <a:lnTo>
                  <a:pt x="527" y="136"/>
                </a:lnTo>
                <a:lnTo>
                  <a:pt x="527" y="131"/>
                </a:lnTo>
                <a:lnTo>
                  <a:pt x="527" y="125"/>
                </a:lnTo>
                <a:lnTo>
                  <a:pt x="533" y="125"/>
                </a:lnTo>
                <a:lnTo>
                  <a:pt x="533" y="119"/>
                </a:lnTo>
                <a:lnTo>
                  <a:pt x="533" y="114"/>
                </a:lnTo>
                <a:lnTo>
                  <a:pt x="533" y="108"/>
                </a:lnTo>
                <a:lnTo>
                  <a:pt x="539" y="108"/>
                </a:lnTo>
                <a:lnTo>
                  <a:pt x="544" y="108"/>
                </a:lnTo>
                <a:lnTo>
                  <a:pt x="550" y="108"/>
                </a:lnTo>
                <a:lnTo>
                  <a:pt x="556" y="108"/>
                </a:lnTo>
                <a:lnTo>
                  <a:pt x="567" y="108"/>
                </a:lnTo>
                <a:lnTo>
                  <a:pt x="573" y="108"/>
                </a:lnTo>
                <a:lnTo>
                  <a:pt x="578" y="108"/>
                </a:lnTo>
                <a:lnTo>
                  <a:pt x="590" y="108"/>
                </a:lnTo>
                <a:lnTo>
                  <a:pt x="601" y="108"/>
                </a:lnTo>
                <a:lnTo>
                  <a:pt x="590" y="119"/>
                </a:lnTo>
                <a:lnTo>
                  <a:pt x="590" y="125"/>
                </a:lnTo>
                <a:lnTo>
                  <a:pt x="584" y="131"/>
                </a:lnTo>
                <a:lnTo>
                  <a:pt x="578" y="148"/>
                </a:lnTo>
                <a:lnTo>
                  <a:pt x="573" y="153"/>
                </a:lnTo>
                <a:lnTo>
                  <a:pt x="573" y="159"/>
                </a:lnTo>
                <a:lnTo>
                  <a:pt x="578" y="165"/>
                </a:lnTo>
                <a:lnTo>
                  <a:pt x="584" y="170"/>
                </a:lnTo>
                <a:lnTo>
                  <a:pt x="584" y="176"/>
                </a:lnTo>
                <a:lnTo>
                  <a:pt x="584" y="182"/>
                </a:lnTo>
                <a:lnTo>
                  <a:pt x="584" y="187"/>
                </a:lnTo>
                <a:lnTo>
                  <a:pt x="590" y="193"/>
                </a:lnTo>
                <a:lnTo>
                  <a:pt x="590" y="199"/>
                </a:lnTo>
                <a:lnTo>
                  <a:pt x="595" y="199"/>
                </a:lnTo>
                <a:lnTo>
                  <a:pt x="595" y="204"/>
                </a:lnTo>
                <a:lnTo>
                  <a:pt x="590" y="204"/>
                </a:lnTo>
                <a:lnTo>
                  <a:pt x="590" y="216"/>
                </a:lnTo>
                <a:lnTo>
                  <a:pt x="590" y="221"/>
                </a:lnTo>
                <a:lnTo>
                  <a:pt x="590" y="227"/>
                </a:lnTo>
                <a:lnTo>
                  <a:pt x="590" y="233"/>
                </a:lnTo>
                <a:lnTo>
                  <a:pt x="590" y="238"/>
                </a:lnTo>
                <a:lnTo>
                  <a:pt x="590" y="244"/>
                </a:lnTo>
                <a:lnTo>
                  <a:pt x="584" y="244"/>
                </a:lnTo>
                <a:lnTo>
                  <a:pt x="584" y="250"/>
                </a:lnTo>
                <a:lnTo>
                  <a:pt x="584" y="255"/>
                </a:lnTo>
                <a:lnTo>
                  <a:pt x="584" y="261"/>
                </a:lnTo>
                <a:lnTo>
                  <a:pt x="584" y="272"/>
                </a:lnTo>
                <a:lnTo>
                  <a:pt x="578" y="278"/>
                </a:lnTo>
                <a:lnTo>
                  <a:pt x="578" y="289"/>
                </a:lnTo>
                <a:lnTo>
                  <a:pt x="578" y="295"/>
                </a:lnTo>
                <a:lnTo>
                  <a:pt x="578" y="301"/>
                </a:lnTo>
                <a:lnTo>
                  <a:pt x="584" y="301"/>
                </a:lnTo>
                <a:lnTo>
                  <a:pt x="590" y="301"/>
                </a:lnTo>
                <a:lnTo>
                  <a:pt x="590" y="295"/>
                </a:lnTo>
                <a:lnTo>
                  <a:pt x="595" y="289"/>
                </a:lnTo>
                <a:lnTo>
                  <a:pt x="601" y="289"/>
                </a:lnTo>
                <a:lnTo>
                  <a:pt x="607" y="289"/>
                </a:lnTo>
                <a:lnTo>
                  <a:pt x="612" y="284"/>
                </a:lnTo>
                <a:lnTo>
                  <a:pt x="612" y="278"/>
                </a:lnTo>
                <a:lnTo>
                  <a:pt x="624" y="278"/>
                </a:lnTo>
                <a:lnTo>
                  <a:pt x="629" y="278"/>
                </a:lnTo>
                <a:lnTo>
                  <a:pt x="629" y="272"/>
                </a:lnTo>
                <a:lnTo>
                  <a:pt x="641" y="272"/>
                </a:lnTo>
                <a:lnTo>
                  <a:pt x="646" y="272"/>
                </a:lnTo>
                <a:lnTo>
                  <a:pt x="652" y="272"/>
                </a:lnTo>
                <a:lnTo>
                  <a:pt x="658" y="272"/>
                </a:lnTo>
                <a:lnTo>
                  <a:pt x="658" y="267"/>
                </a:lnTo>
                <a:lnTo>
                  <a:pt x="669" y="267"/>
                </a:lnTo>
                <a:lnTo>
                  <a:pt x="669" y="261"/>
                </a:lnTo>
                <a:lnTo>
                  <a:pt x="675" y="261"/>
                </a:lnTo>
                <a:lnTo>
                  <a:pt x="686" y="261"/>
                </a:lnTo>
                <a:lnTo>
                  <a:pt x="692" y="255"/>
                </a:lnTo>
                <a:lnTo>
                  <a:pt x="697" y="255"/>
                </a:lnTo>
                <a:lnTo>
                  <a:pt x="709" y="250"/>
                </a:lnTo>
                <a:lnTo>
                  <a:pt x="714" y="250"/>
                </a:lnTo>
                <a:lnTo>
                  <a:pt x="720" y="250"/>
                </a:lnTo>
                <a:lnTo>
                  <a:pt x="726" y="250"/>
                </a:lnTo>
                <a:lnTo>
                  <a:pt x="732" y="250"/>
                </a:lnTo>
                <a:lnTo>
                  <a:pt x="743" y="244"/>
                </a:lnTo>
                <a:lnTo>
                  <a:pt x="754" y="244"/>
                </a:lnTo>
                <a:lnTo>
                  <a:pt x="766" y="244"/>
                </a:lnTo>
                <a:lnTo>
                  <a:pt x="771" y="244"/>
                </a:lnTo>
                <a:lnTo>
                  <a:pt x="777" y="244"/>
                </a:lnTo>
                <a:lnTo>
                  <a:pt x="788" y="244"/>
                </a:lnTo>
                <a:lnTo>
                  <a:pt x="800" y="244"/>
                </a:lnTo>
                <a:lnTo>
                  <a:pt x="805" y="244"/>
                </a:lnTo>
                <a:lnTo>
                  <a:pt x="811" y="244"/>
                </a:lnTo>
                <a:lnTo>
                  <a:pt x="811" y="255"/>
                </a:lnTo>
                <a:lnTo>
                  <a:pt x="811" y="267"/>
                </a:lnTo>
                <a:lnTo>
                  <a:pt x="811" y="272"/>
                </a:lnTo>
                <a:lnTo>
                  <a:pt x="811" y="278"/>
                </a:lnTo>
                <a:lnTo>
                  <a:pt x="817" y="289"/>
                </a:lnTo>
                <a:lnTo>
                  <a:pt x="817" y="295"/>
                </a:lnTo>
                <a:lnTo>
                  <a:pt x="817" y="301"/>
                </a:lnTo>
                <a:lnTo>
                  <a:pt x="822" y="301"/>
                </a:lnTo>
                <a:lnTo>
                  <a:pt x="822" y="306"/>
                </a:lnTo>
                <a:lnTo>
                  <a:pt x="828" y="312"/>
                </a:lnTo>
                <a:lnTo>
                  <a:pt x="828" y="318"/>
                </a:lnTo>
                <a:lnTo>
                  <a:pt x="828" y="323"/>
                </a:lnTo>
                <a:lnTo>
                  <a:pt x="834" y="329"/>
                </a:lnTo>
                <a:lnTo>
                  <a:pt x="839" y="335"/>
                </a:lnTo>
                <a:lnTo>
                  <a:pt x="845" y="341"/>
                </a:lnTo>
                <a:lnTo>
                  <a:pt x="845" y="346"/>
                </a:lnTo>
                <a:lnTo>
                  <a:pt x="851" y="352"/>
                </a:lnTo>
                <a:lnTo>
                  <a:pt x="851" y="358"/>
                </a:lnTo>
                <a:lnTo>
                  <a:pt x="851" y="369"/>
                </a:lnTo>
                <a:lnTo>
                  <a:pt x="851" y="386"/>
                </a:lnTo>
                <a:lnTo>
                  <a:pt x="851" y="397"/>
                </a:lnTo>
                <a:lnTo>
                  <a:pt x="851" y="414"/>
                </a:lnTo>
                <a:lnTo>
                  <a:pt x="851" y="426"/>
                </a:lnTo>
                <a:lnTo>
                  <a:pt x="851" y="443"/>
                </a:lnTo>
                <a:lnTo>
                  <a:pt x="856" y="443"/>
                </a:lnTo>
                <a:lnTo>
                  <a:pt x="856" y="454"/>
                </a:lnTo>
                <a:lnTo>
                  <a:pt x="856" y="460"/>
                </a:lnTo>
                <a:lnTo>
                  <a:pt x="862" y="460"/>
                </a:lnTo>
                <a:lnTo>
                  <a:pt x="868" y="471"/>
                </a:lnTo>
                <a:lnTo>
                  <a:pt x="873" y="471"/>
                </a:lnTo>
                <a:lnTo>
                  <a:pt x="879" y="471"/>
                </a:lnTo>
                <a:lnTo>
                  <a:pt x="879" y="477"/>
                </a:lnTo>
                <a:lnTo>
                  <a:pt x="885" y="477"/>
                </a:lnTo>
                <a:lnTo>
                  <a:pt x="885" y="482"/>
                </a:lnTo>
                <a:lnTo>
                  <a:pt x="885" y="488"/>
                </a:lnTo>
                <a:lnTo>
                  <a:pt x="885" y="494"/>
                </a:lnTo>
                <a:lnTo>
                  <a:pt x="879" y="494"/>
                </a:lnTo>
                <a:lnTo>
                  <a:pt x="879" y="499"/>
                </a:lnTo>
                <a:lnTo>
                  <a:pt x="879" y="511"/>
                </a:lnTo>
                <a:lnTo>
                  <a:pt x="873" y="511"/>
                </a:lnTo>
                <a:lnTo>
                  <a:pt x="873" y="516"/>
                </a:lnTo>
                <a:lnTo>
                  <a:pt x="873" y="522"/>
                </a:lnTo>
                <a:lnTo>
                  <a:pt x="868" y="522"/>
                </a:lnTo>
                <a:lnTo>
                  <a:pt x="868" y="528"/>
                </a:lnTo>
                <a:lnTo>
                  <a:pt x="868" y="533"/>
                </a:lnTo>
                <a:lnTo>
                  <a:pt x="868" y="539"/>
                </a:lnTo>
                <a:lnTo>
                  <a:pt x="862" y="539"/>
                </a:lnTo>
                <a:lnTo>
                  <a:pt x="862" y="545"/>
                </a:lnTo>
                <a:lnTo>
                  <a:pt x="856" y="550"/>
                </a:lnTo>
                <a:lnTo>
                  <a:pt x="851" y="550"/>
                </a:lnTo>
                <a:lnTo>
                  <a:pt x="845" y="556"/>
                </a:lnTo>
                <a:lnTo>
                  <a:pt x="839" y="556"/>
                </a:lnTo>
                <a:lnTo>
                  <a:pt x="834" y="556"/>
                </a:lnTo>
                <a:lnTo>
                  <a:pt x="828" y="556"/>
                </a:lnTo>
                <a:lnTo>
                  <a:pt x="822" y="562"/>
                </a:lnTo>
                <a:lnTo>
                  <a:pt x="817" y="562"/>
                </a:lnTo>
                <a:lnTo>
                  <a:pt x="811" y="567"/>
                </a:lnTo>
                <a:lnTo>
                  <a:pt x="805" y="573"/>
                </a:lnTo>
                <a:lnTo>
                  <a:pt x="800" y="579"/>
                </a:lnTo>
                <a:lnTo>
                  <a:pt x="800" y="584"/>
                </a:lnTo>
                <a:lnTo>
                  <a:pt x="794" y="584"/>
                </a:lnTo>
                <a:lnTo>
                  <a:pt x="794" y="590"/>
                </a:lnTo>
                <a:lnTo>
                  <a:pt x="794" y="596"/>
                </a:lnTo>
                <a:lnTo>
                  <a:pt x="794" y="601"/>
                </a:lnTo>
                <a:lnTo>
                  <a:pt x="794" y="607"/>
                </a:lnTo>
                <a:lnTo>
                  <a:pt x="794" y="613"/>
                </a:lnTo>
                <a:lnTo>
                  <a:pt x="783" y="607"/>
                </a:lnTo>
                <a:lnTo>
                  <a:pt x="777" y="601"/>
                </a:lnTo>
                <a:lnTo>
                  <a:pt x="771" y="590"/>
                </a:lnTo>
                <a:lnTo>
                  <a:pt x="766" y="584"/>
                </a:lnTo>
                <a:lnTo>
                  <a:pt x="760" y="579"/>
                </a:lnTo>
                <a:lnTo>
                  <a:pt x="754" y="579"/>
                </a:lnTo>
                <a:lnTo>
                  <a:pt x="749" y="579"/>
                </a:lnTo>
                <a:lnTo>
                  <a:pt x="743" y="579"/>
                </a:lnTo>
                <a:lnTo>
                  <a:pt x="732" y="579"/>
                </a:lnTo>
                <a:lnTo>
                  <a:pt x="726" y="579"/>
                </a:lnTo>
                <a:lnTo>
                  <a:pt x="726" y="584"/>
                </a:lnTo>
                <a:lnTo>
                  <a:pt x="720" y="584"/>
                </a:lnTo>
                <a:lnTo>
                  <a:pt x="720" y="590"/>
                </a:lnTo>
                <a:lnTo>
                  <a:pt x="714" y="590"/>
                </a:lnTo>
                <a:lnTo>
                  <a:pt x="714" y="596"/>
                </a:lnTo>
                <a:lnTo>
                  <a:pt x="709" y="596"/>
                </a:lnTo>
                <a:lnTo>
                  <a:pt x="703" y="601"/>
                </a:lnTo>
                <a:lnTo>
                  <a:pt x="703" y="607"/>
                </a:lnTo>
                <a:lnTo>
                  <a:pt x="697" y="607"/>
                </a:lnTo>
                <a:lnTo>
                  <a:pt x="692" y="613"/>
                </a:lnTo>
                <a:lnTo>
                  <a:pt x="686" y="613"/>
                </a:lnTo>
                <a:lnTo>
                  <a:pt x="686" y="618"/>
                </a:lnTo>
                <a:lnTo>
                  <a:pt x="686" y="624"/>
                </a:lnTo>
                <a:lnTo>
                  <a:pt x="675" y="630"/>
                </a:lnTo>
                <a:lnTo>
                  <a:pt x="675" y="635"/>
                </a:lnTo>
                <a:lnTo>
                  <a:pt x="669" y="635"/>
                </a:lnTo>
                <a:lnTo>
                  <a:pt x="663" y="641"/>
                </a:lnTo>
                <a:lnTo>
                  <a:pt x="658" y="641"/>
                </a:lnTo>
                <a:lnTo>
                  <a:pt x="658" y="652"/>
                </a:lnTo>
                <a:lnTo>
                  <a:pt x="652" y="652"/>
                </a:lnTo>
                <a:lnTo>
                  <a:pt x="646" y="658"/>
                </a:lnTo>
                <a:lnTo>
                  <a:pt x="641" y="664"/>
                </a:lnTo>
                <a:lnTo>
                  <a:pt x="629" y="669"/>
                </a:lnTo>
                <a:lnTo>
                  <a:pt x="629" y="675"/>
                </a:lnTo>
                <a:lnTo>
                  <a:pt x="624" y="675"/>
                </a:lnTo>
                <a:lnTo>
                  <a:pt x="618" y="681"/>
                </a:lnTo>
                <a:lnTo>
                  <a:pt x="612" y="686"/>
                </a:lnTo>
                <a:lnTo>
                  <a:pt x="607" y="692"/>
                </a:lnTo>
                <a:lnTo>
                  <a:pt x="601" y="692"/>
                </a:lnTo>
                <a:lnTo>
                  <a:pt x="595" y="692"/>
                </a:lnTo>
                <a:lnTo>
                  <a:pt x="590" y="692"/>
                </a:lnTo>
                <a:lnTo>
                  <a:pt x="590" y="686"/>
                </a:lnTo>
                <a:lnTo>
                  <a:pt x="590" y="681"/>
                </a:lnTo>
                <a:lnTo>
                  <a:pt x="584" y="681"/>
                </a:lnTo>
                <a:lnTo>
                  <a:pt x="584" y="675"/>
                </a:lnTo>
                <a:lnTo>
                  <a:pt x="584" y="669"/>
                </a:lnTo>
                <a:lnTo>
                  <a:pt x="578" y="664"/>
                </a:lnTo>
                <a:lnTo>
                  <a:pt x="573" y="664"/>
                </a:lnTo>
                <a:lnTo>
                  <a:pt x="573" y="669"/>
                </a:lnTo>
                <a:lnTo>
                  <a:pt x="573" y="675"/>
                </a:lnTo>
                <a:lnTo>
                  <a:pt x="573" y="681"/>
                </a:lnTo>
                <a:lnTo>
                  <a:pt x="567" y="686"/>
                </a:lnTo>
                <a:lnTo>
                  <a:pt x="567" y="692"/>
                </a:lnTo>
                <a:lnTo>
                  <a:pt x="561" y="692"/>
                </a:lnTo>
                <a:lnTo>
                  <a:pt x="561" y="698"/>
                </a:lnTo>
                <a:lnTo>
                  <a:pt x="561" y="703"/>
                </a:lnTo>
                <a:lnTo>
                  <a:pt x="556" y="703"/>
                </a:lnTo>
                <a:lnTo>
                  <a:pt x="550" y="709"/>
                </a:lnTo>
                <a:lnTo>
                  <a:pt x="544" y="715"/>
                </a:lnTo>
                <a:lnTo>
                  <a:pt x="544" y="720"/>
                </a:lnTo>
                <a:lnTo>
                  <a:pt x="539" y="720"/>
                </a:lnTo>
                <a:lnTo>
                  <a:pt x="533" y="726"/>
                </a:lnTo>
                <a:lnTo>
                  <a:pt x="533" y="732"/>
                </a:lnTo>
                <a:lnTo>
                  <a:pt x="533" y="743"/>
                </a:lnTo>
                <a:lnTo>
                  <a:pt x="527" y="754"/>
                </a:lnTo>
                <a:lnTo>
                  <a:pt x="527" y="760"/>
                </a:lnTo>
                <a:lnTo>
                  <a:pt x="527" y="766"/>
                </a:lnTo>
                <a:lnTo>
                  <a:pt x="522" y="771"/>
                </a:lnTo>
                <a:lnTo>
                  <a:pt x="516" y="771"/>
                </a:lnTo>
                <a:lnTo>
                  <a:pt x="510" y="777"/>
                </a:lnTo>
                <a:lnTo>
                  <a:pt x="505" y="777"/>
                </a:lnTo>
                <a:lnTo>
                  <a:pt x="499" y="777"/>
                </a:lnTo>
                <a:lnTo>
                  <a:pt x="493" y="777"/>
                </a:lnTo>
                <a:lnTo>
                  <a:pt x="488" y="777"/>
                </a:lnTo>
                <a:lnTo>
                  <a:pt x="471" y="777"/>
                </a:lnTo>
                <a:lnTo>
                  <a:pt x="471" y="771"/>
                </a:lnTo>
                <a:lnTo>
                  <a:pt x="471" y="760"/>
                </a:lnTo>
                <a:lnTo>
                  <a:pt x="471" y="754"/>
                </a:lnTo>
                <a:lnTo>
                  <a:pt x="471" y="749"/>
                </a:lnTo>
                <a:lnTo>
                  <a:pt x="465" y="743"/>
                </a:lnTo>
                <a:lnTo>
                  <a:pt x="465" y="737"/>
                </a:lnTo>
                <a:lnTo>
                  <a:pt x="465" y="732"/>
                </a:lnTo>
                <a:lnTo>
                  <a:pt x="459" y="720"/>
                </a:lnTo>
                <a:lnTo>
                  <a:pt x="459" y="709"/>
                </a:lnTo>
                <a:lnTo>
                  <a:pt x="459" y="703"/>
                </a:lnTo>
                <a:lnTo>
                  <a:pt x="459" y="692"/>
                </a:lnTo>
                <a:lnTo>
                  <a:pt x="459" y="686"/>
                </a:lnTo>
                <a:lnTo>
                  <a:pt x="459" y="681"/>
                </a:lnTo>
                <a:lnTo>
                  <a:pt x="459" y="675"/>
                </a:lnTo>
                <a:lnTo>
                  <a:pt x="459" y="669"/>
                </a:lnTo>
                <a:lnTo>
                  <a:pt x="459" y="664"/>
                </a:lnTo>
                <a:lnTo>
                  <a:pt x="465" y="658"/>
                </a:lnTo>
                <a:lnTo>
                  <a:pt x="465" y="652"/>
                </a:lnTo>
                <a:lnTo>
                  <a:pt x="471" y="647"/>
                </a:lnTo>
                <a:lnTo>
                  <a:pt x="471" y="641"/>
                </a:lnTo>
                <a:lnTo>
                  <a:pt x="476" y="635"/>
                </a:lnTo>
                <a:lnTo>
                  <a:pt x="476" y="624"/>
                </a:lnTo>
                <a:lnTo>
                  <a:pt x="476" y="613"/>
                </a:lnTo>
                <a:lnTo>
                  <a:pt x="476" y="607"/>
                </a:lnTo>
                <a:lnTo>
                  <a:pt x="482" y="596"/>
                </a:lnTo>
                <a:lnTo>
                  <a:pt x="482" y="590"/>
                </a:lnTo>
                <a:lnTo>
                  <a:pt x="488" y="590"/>
                </a:lnTo>
                <a:lnTo>
                  <a:pt x="488" y="584"/>
                </a:lnTo>
                <a:lnTo>
                  <a:pt x="488" y="579"/>
                </a:lnTo>
                <a:lnTo>
                  <a:pt x="488" y="567"/>
                </a:lnTo>
                <a:lnTo>
                  <a:pt x="493" y="562"/>
                </a:lnTo>
                <a:lnTo>
                  <a:pt x="493" y="556"/>
                </a:lnTo>
                <a:lnTo>
                  <a:pt x="488" y="550"/>
                </a:lnTo>
                <a:lnTo>
                  <a:pt x="488" y="545"/>
                </a:lnTo>
                <a:lnTo>
                  <a:pt x="488" y="539"/>
                </a:lnTo>
                <a:lnTo>
                  <a:pt x="488" y="533"/>
                </a:lnTo>
                <a:lnTo>
                  <a:pt x="482" y="533"/>
                </a:lnTo>
                <a:lnTo>
                  <a:pt x="482" y="528"/>
                </a:lnTo>
                <a:lnTo>
                  <a:pt x="476" y="522"/>
                </a:lnTo>
                <a:lnTo>
                  <a:pt x="476" y="516"/>
                </a:lnTo>
                <a:lnTo>
                  <a:pt x="476" y="511"/>
                </a:lnTo>
                <a:lnTo>
                  <a:pt x="471" y="511"/>
                </a:lnTo>
                <a:lnTo>
                  <a:pt x="465" y="511"/>
                </a:lnTo>
                <a:lnTo>
                  <a:pt x="459" y="505"/>
                </a:lnTo>
                <a:lnTo>
                  <a:pt x="454" y="511"/>
                </a:lnTo>
                <a:lnTo>
                  <a:pt x="448" y="511"/>
                </a:lnTo>
                <a:lnTo>
                  <a:pt x="437" y="511"/>
                </a:lnTo>
                <a:lnTo>
                  <a:pt x="431" y="511"/>
                </a:lnTo>
                <a:lnTo>
                  <a:pt x="431" y="516"/>
                </a:lnTo>
                <a:lnTo>
                  <a:pt x="425" y="516"/>
                </a:lnTo>
                <a:lnTo>
                  <a:pt x="420" y="516"/>
                </a:lnTo>
                <a:lnTo>
                  <a:pt x="414" y="516"/>
                </a:lnTo>
                <a:lnTo>
                  <a:pt x="414" y="511"/>
                </a:lnTo>
                <a:lnTo>
                  <a:pt x="408" y="511"/>
                </a:lnTo>
                <a:lnTo>
                  <a:pt x="408" y="505"/>
                </a:lnTo>
                <a:lnTo>
                  <a:pt x="408" y="499"/>
                </a:lnTo>
                <a:lnTo>
                  <a:pt x="403" y="494"/>
                </a:lnTo>
                <a:lnTo>
                  <a:pt x="403" y="488"/>
                </a:lnTo>
                <a:lnTo>
                  <a:pt x="403" y="482"/>
                </a:lnTo>
                <a:lnTo>
                  <a:pt x="397" y="488"/>
                </a:lnTo>
                <a:lnTo>
                  <a:pt x="391" y="488"/>
                </a:lnTo>
                <a:lnTo>
                  <a:pt x="386" y="488"/>
                </a:lnTo>
                <a:lnTo>
                  <a:pt x="380" y="488"/>
                </a:lnTo>
                <a:lnTo>
                  <a:pt x="380" y="482"/>
                </a:lnTo>
                <a:lnTo>
                  <a:pt x="380" y="477"/>
                </a:lnTo>
                <a:lnTo>
                  <a:pt x="380" y="471"/>
                </a:lnTo>
                <a:lnTo>
                  <a:pt x="374" y="471"/>
                </a:lnTo>
                <a:lnTo>
                  <a:pt x="369" y="471"/>
                </a:lnTo>
                <a:lnTo>
                  <a:pt x="363" y="471"/>
                </a:lnTo>
                <a:lnTo>
                  <a:pt x="357" y="471"/>
                </a:lnTo>
                <a:lnTo>
                  <a:pt x="357" y="465"/>
                </a:lnTo>
                <a:lnTo>
                  <a:pt x="352" y="465"/>
                </a:lnTo>
                <a:lnTo>
                  <a:pt x="352" y="460"/>
                </a:lnTo>
                <a:lnTo>
                  <a:pt x="352" y="454"/>
                </a:lnTo>
                <a:lnTo>
                  <a:pt x="346" y="454"/>
                </a:lnTo>
                <a:lnTo>
                  <a:pt x="340" y="448"/>
                </a:lnTo>
                <a:lnTo>
                  <a:pt x="335" y="443"/>
                </a:lnTo>
                <a:lnTo>
                  <a:pt x="323" y="443"/>
                </a:lnTo>
                <a:lnTo>
                  <a:pt x="318" y="448"/>
                </a:lnTo>
                <a:lnTo>
                  <a:pt x="312" y="454"/>
                </a:lnTo>
                <a:lnTo>
                  <a:pt x="306" y="454"/>
                </a:lnTo>
                <a:lnTo>
                  <a:pt x="301" y="454"/>
                </a:lnTo>
                <a:lnTo>
                  <a:pt x="295" y="454"/>
                </a:lnTo>
                <a:lnTo>
                  <a:pt x="289" y="454"/>
                </a:lnTo>
                <a:lnTo>
                  <a:pt x="284" y="454"/>
                </a:lnTo>
                <a:lnTo>
                  <a:pt x="278" y="454"/>
                </a:lnTo>
                <a:lnTo>
                  <a:pt x="278" y="448"/>
                </a:lnTo>
                <a:lnTo>
                  <a:pt x="278" y="443"/>
                </a:lnTo>
                <a:lnTo>
                  <a:pt x="278" y="431"/>
                </a:lnTo>
                <a:lnTo>
                  <a:pt x="284" y="431"/>
                </a:lnTo>
                <a:lnTo>
                  <a:pt x="289" y="426"/>
                </a:lnTo>
                <a:lnTo>
                  <a:pt x="289" y="420"/>
                </a:lnTo>
                <a:lnTo>
                  <a:pt x="284" y="414"/>
                </a:lnTo>
                <a:lnTo>
                  <a:pt x="278" y="420"/>
                </a:lnTo>
                <a:lnTo>
                  <a:pt x="272" y="420"/>
                </a:lnTo>
                <a:lnTo>
                  <a:pt x="272" y="414"/>
                </a:lnTo>
                <a:lnTo>
                  <a:pt x="267" y="414"/>
                </a:lnTo>
                <a:lnTo>
                  <a:pt x="267" y="409"/>
                </a:lnTo>
                <a:lnTo>
                  <a:pt x="267" y="403"/>
                </a:lnTo>
                <a:lnTo>
                  <a:pt x="261" y="403"/>
                </a:lnTo>
                <a:lnTo>
                  <a:pt x="255" y="409"/>
                </a:lnTo>
                <a:lnTo>
                  <a:pt x="244" y="403"/>
                </a:lnTo>
                <a:lnTo>
                  <a:pt x="238" y="403"/>
                </a:lnTo>
                <a:lnTo>
                  <a:pt x="238" y="397"/>
                </a:lnTo>
                <a:lnTo>
                  <a:pt x="233" y="397"/>
                </a:lnTo>
                <a:lnTo>
                  <a:pt x="227" y="392"/>
                </a:lnTo>
                <a:lnTo>
                  <a:pt x="227" y="386"/>
                </a:lnTo>
                <a:lnTo>
                  <a:pt x="221" y="386"/>
                </a:lnTo>
                <a:lnTo>
                  <a:pt x="221" y="380"/>
                </a:lnTo>
                <a:lnTo>
                  <a:pt x="216" y="375"/>
                </a:lnTo>
                <a:lnTo>
                  <a:pt x="210" y="375"/>
                </a:lnTo>
                <a:lnTo>
                  <a:pt x="210" y="369"/>
                </a:lnTo>
                <a:lnTo>
                  <a:pt x="204" y="363"/>
                </a:lnTo>
                <a:lnTo>
                  <a:pt x="204" y="358"/>
                </a:lnTo>
                <a:lnTo>
                  <a:pt x="210" y="346"/>
                </a:lnTo>
                <a:lnTo>
                  <a:pt x="210" y="341"/>
                </a:lnTo>
                <a:lnTo>
                  <a:pt x="210" y="335"/>
                </a:lnTo>
                <a:lnTo>
                  <a:pt x="204" y="335"/>
                </a:lnTo>
                <a:lnTo>
                  <a:pt x="199" y="335"/>
                </a:lnTo>
                <a:lnTo>
                  <a:pt x="182" y="335"/>
                </a:lnTo>
                <a:lnTo>
                  <a:pt x="170" y="341"/>
                </a:lnTo>
                <a:lnTo>
                  <a:pt x="165" y="341"/>
                </a:lnTo>
                <a:lnTo>
                  <a:pt x="165" y="335"/>
                </a:lnTo>
                <a:lnTo>
                  <a:pt x="153" y="335"/>
                </a:lnTo>
                <a:lnTo>
                  <a:pt x="148" y="335"/>
                </a:lnTo>
                <a:lnTo>
                  <a:pt x="148" y="329"/>
                </a:lnTo>
                <a:lnTo>
                  <a:pt x="142" y="329"/>
                </a:lnTo>
                <a:lnTo>
                  <a:pt x="136" y="329"/>
                </a:lnTo>
                <a:lnTo>
                  <a:pt x="131" y="329"/>
                </a:lnTo>
                <a:lnTo>
                  <a:pt x="125" y="329"/>
                </a:lnTo>
                <a:lnTo>
                  <a:pt x="125" y="323"/>
                </a:lnTo>
                <a:lnTo>
                  <a:pt x="119" y="323"/>
                </a:lnTo>
                <a:lnTo>
                  <a:pt x="119" y="318"/>
                </a:lnTo>
                <a:lnTo>
                  <a:pt x="114" y="318"/>
                </a:lnTo>
                <a:lnTo>
                  <a:pt x="108" y="318"/>
                </a:lnTo>
                <a:lnTo>
                  <a:pt x="102" y="312"/>
                </a:lnTo>
                <a:lnTo>
                  <a:pt x="97" y="312"/>
                </a:lnTo>
                <a:lnTo>
                  <a:pt x="97" y="306"/>
                </a:lnTo>
                <a:lnTo>
                  <a:pt x="91" y="301"/>
                </a:lnTo>
                <a:lnTo>
                  <a:pt x="91" y="295"/>
                </a:lnTo>
                <a:lnTo>
                  <a:pt x="91" y="289"/>
                </a:lnTo>
                <a:lnTo>
                  <a:pt x="91" y="284"/>
                </a:lnTo>
                <a:lnTo>
                  <a:pt x="91" y="278"/>
                </a:lnTo>
                <a:lnTo>
                  <a:pt x="97" y="278"/>
                </a:lnTo>
                <a:lnTo>
                  <a:pt x="97" y="272"/>
                </a:lnTo>
                <a:lnTo>
                  <a:pt x="102" y="272"/>
                </a:lnTo>
                <a:lnTo>
                  <a:pt x="102" y="267"/>
                </a:lnTo>
                <a:lnTo>
                  <a:pt x="108" y="267"/>
                </a:lnTo>
                <a:lnTo>
                  <a:pt x="114" y="261"/>
                </a:lnTo>
                <a:lnTo>
                  <a:pt x="114" y="250"/>
                </a:lnTo>
                <a:lnTo>
                  <a:pt x="108" y="250"/>
                </a:lnTo>
                <a:lnTo>
                  <a:pt x="108" y="244"/>
                </a:lnTo>
                <a:lnTo>
                  <a:pt x="102" y="244"/>
                </a:lnTo>
                <a:lnTo>
                  <a:pt x="97" y="244"/>
                </a:lnTo>
                <a:lnTo>
                  <a:pt x="97" y="250"/>
                </a:lnTo>
                <a:lnTo>
                  <a:pt x="91" y="250"/>
                </a:lnTo>
                <a:lnTo>
                  <a:pt x="85" y="250"/>
                </a:lnTo>
                <a:lnTo>
                  <a:pt x="80" y="250"/>
                </a:lnTo>
                <a:lnTo>
                  <a:pt x="80" y="255"/>
                </a:lnTo>
                <a:lnTo>
                  <a:pt x="74" y="255"/>
                </a:lnTo>
                <a:lnTo>
                  <a:pt x="68" y="255"/>
                </a:lnTo>
                <a:lnTo>
                  <a:pt x="68" y="261"/>
                </a:lnTo>
                <a:lnTo>
                  <a:pt x="63" y="261"/>
                </a:lnTo>
                <a:lnTo>
                  <a:pt x="63" y="250"/>
                </a:lnTo>
                <a:lnTo>
                  <a:pt x="68" y="244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0" name="Freeform 11"/>
          <p:cNvSpPr>
            <a:spLocks noEditPoints="1"/>
          </p:cNvSpPr>
          <p:nvPr/>
        </p:nvSpPr>
        <p:spPr bwMode="gray">
          <a:xfrm>
            <a:off x="863375" y="3017585"/>
            <a:ext cx="2092834" cy="1392981"/>
          </a:xfrm>
          <a:custGeom>
            <a:avLst/>
            <a:gdLst>
              <a:gd name="T0" fmla="*/ 2147483647 w 1235"/>
              <a:gd name="T1" fmla="*/ 2147483647 h 822"/>
              <a:gd name="T2" fmla="*/ 2147483647 w 1235"/>
              <a:gd name="T3" fmla="*/ 2147483647 h 822"/>
              <a:gd name="T4" fmla="*/ 2147483647 w 1235"/>
              <a:gd name="T5" fmla="*/ 2147483647 h 822"/>
              <a:gd name="T6" fmla="*/ 2147483647 w 1235"/>
              <a:gd name="T7" fmla="*/ 2147483647 h 822"/>
              <a:gd name="T8" fmla="*/ 2147483647 w 1235"/>
              <a:gd name="T9" fmla="*/ 2147483647 h 822"/>
              <a:gd name="T10" fmla="*/ 2147483647 w 1235"/>
              <a:gd name="T11" fmla="*/ 2147483647 h 822"/>
              <a:gd name="T12" fmla="*/ 2147483647 w 1235"/>
              <a:gd name="T13" fmla="*/ 2147483647 h 822"/>
              <a:gd name="T14" fmla="*/ 2147483647 w 1235"/>
              <a:gd name="T15" fmla="*/ 2147483647 h 822"/>
              <a:gd name="T16" fmla="*/ 2147483647 w 1235"/>
              <a:gd name="T17" fmla="*/ 2147483647 h 822"/>
              <a:gd name="T18" fmla="*/ 2147483647 w 1235"/>
              <a:gd name="T19" fmla="*/ 2147483647 h 822"/>
              <a:gd name="T20" fmla="*/ 2147483647 w 1235"/>
              <a:gd name="T21" fmla="*/ 2147483647 h 822"/>
              <a:gd name="T22" fmla="*/ 2147483647 w 1235"/>
              <a:gd name="T23" fmla="*/ 2147483647 h 822"/>
              <a:gd name="T24" fmla="*/ 2147483647 w 1235"/>
              <a:gd name="T25" fmla="*/ 2147483647 h 822"/>
              <a:gd name="T26" fmla="*/ 2147483647 w 1235"/>
              <a:gd name="T27" fmla="*/ 2147483647 h 822"/>
              <a:gd name="T28" fmla="*/ 2147483647 w 1235"/>
              <a:gd name="T29" fmla="*/ 2147483647 h 822"/>
              <a:gd name="T30" fmla="*/ 2147483647 w 1235"/>
              <a:gd name="T31" fmla="*/ 2147483647 h 822"/>
              <a:gd name="T32" fmla="*/ 2147483647 w 1235"/>
              <a:gd name="T33" fmla="*/ 2147483647 h 822"/>
              <a:gd name="T34" fmla="*/ 2147483647 w 1235"/>
              <a:gd name="T35" fmla="*/ 2147483647 h 822"/>
              <a:gd name="T36" fmla="*/ 2147483647 w 1235"/>
              <a:gd name="T37" fmla="*/ 2147483647 h 822"/>
              <a:gd name="T38" fmla="*/ 2147483647 w 1235"/>
              <a:gd name="T39" fmla="*/ 2147483647 h 822"/>
              <a:gd name="T40" fmla="*/ 2147483647 w 1235"/>
              <a:gd name="T41" fmla="*/ 2147483647 h 822"/>
              <a:gd name="T42" fmla="*/ 2147483647 w 1235"/>
              <a:gd name="T43" fmla="*/ 2147483647 h 822"/>
              <a:gd name="T44" fmla="*/ 2147483647 w 1235"/>
              <a:gd name="T45" fmla="*/ 2147483647 h 822"/>
              <a:gd name="T46" fmla="*/ 2147483647 w 1235"/>
              <a:gd name="T47" fmla="*/ 2147483647 h 822"/>
              <a:gd name="T48" fmla="*/ 2147483647 w 1235"/>
              <a:gd name="T49" fmla="*/ 2147483647 h 822"/>
              <a:gd name="T50" fmla="*/ 2147483647 w 1235"/>
              <a:gd name="T51" fmla="*/ 2147483647 h 822"/>
              <a:gd name="T52" fmla="*/ 2147483647 w 1235"/>
              <a:gd name="T53" fmla="*/ 2147483647 h 822"/>
              <a:gd name="T54" fmla="*/ 2147483647 w 1235"/>
              <a:gd name="T55" fmla="*/ 2147483647 h 822"/>
              <a:gd name="T56" fmla="*/ 2147483647 w 1235"/>
              <a:gd name="T57" fmla="*/ 2147483647 h 822"/>
              <a:gd name="T58" fmla="*/ 2147483647 w 1235"/>
              <a:gd name="T59" fmla="*/ 2147483647 h 822"/>
              <a:gd name="T60" fmla="*/ 2147483647 w 1235"/>
              <a:gd name="T61" fmla="*/ 2147483647 h 822"/>
              <a:gd name="T62" fmla="*/ 2147483647 w 1235"/>
              <a:gd name="T63" fmla="*/ 2147483647 h 822"/>
              <a:gd name="T64" fmla="*/ 2147483647 w 1235"/>
              <a:gd name="T65" fmla="*/ 2147483647 h 822"/>
              <a:gd name="T66" fmla="*/ 2147483647 w 1235"/>
              <a:gd name="T67" fmla="*/ 2147483647 h 822"/>
              <a:gd name="T68" fmla="*/ 2147483647 w 1235"/>
              <a:gd name="T69" fmla="*/ 2147483647 h 822"/>
              <a:gd name="T70" fmla="*/ 2147483647 w 1235"/>
              <a:gd name="T71" fmla="*/ 2147483647 h 822"/>
              <a:gd name="T72" fmla="*/ 2147483647 w 1235"/>
              <a:gd name="T73" fmla="*/ 2147483647 h 822"/>
              <a:gd name="T74" fmla="*/ 2147483647 w 1235"/>
              <a:gd name="T75" fmla="*/ 2147483647 h 822"/>
              <a:gd name="T76" fmla="*/ 2147483647 w 1235"/>
              <a:gd name="T77" fmla="*/ 2147483647 h 822"/>
              <a:gd name="T78" fmla="*/ 2147483647 w 1235"/>
              <a:gd name="T79" fmla="*/ 2147483647 h 822"/>
              <a:gd name="T80" fmla="*/ 2147483647 w 1235"/>
              <a:gd name="T81" fmla="*/ 2147483647 h 822"/>
              <a:gd name="T82" fmla="*/ 2147483647 w 1235"/>
              <a:gd name="T83" fmla="*/ 2147483647 h 822"/>
              <a:gd name="T84" fmla="*/ 2147483647 w 1235"/>
              <a:gd name="T85" fmla="*/ 2147483647 h 822"/>
              <a:gd name="T86" fmla="*/ 2147483647 w 1235"/>
              <a:gd name="T87" fmla="*/ 2147483647 h 822"/>
              <a:gd name="T88" fmla="*/ 2147483647 w 1235"/>
              <a:gd name="T89" fmla="*/ 2147483647 h 822"/>
              <a:gd name="T90" fmla="*/ 2147483647 w 1235"/>
              <a:gd name="T91" fmla="*/ 2147483647 h 822"/>
              <a:gd name="T92" fmla="*/ 2147483647 w 1235"/>
              <a:gd name="T93" fmla="*/ 2147483647 h 822"/>
              <a:gd name="T94" fmla="*/ 2147483647 w 1235"/>
              <a:gd name="T95" fmla="*/ 2147483647 h 822"/>
              <a:gd name="T96" fmla="*/ 2147483647 w 1235"/>
              <a:gd name="T97" fmla="*/ 2147483647 h 822"/>
              <a:gd name="T98" fmla="*/ 2147483647 w 1235"/>
              <a:gd name="T99" fmla="*/ 2147483647 h 822"/>
              <a:gd name="T100" fmla="*/ 2147483647 w 1235"/>
              <a:gd name="T101" fmla="*/ 2147483647 h 822"/>
              <a:gd name="T102" fmla="*/ 2147483647 w 1235"/>
              <a:gd name="T103" fmla="*/ 2147483647 h 822"/>
              <a:gd name="T104" fmla="*/ 2147483647 w 1235"/>
              <a:gd name="T105" fmla="*/ 2147483647 h 822"/>
              <a:gd name="T106" fmla="*/ 2147483647 w 1235"/>
              <a:gd name="T107" fmla="*/ 2147483647 h 822"/>
              <a:gd name="T108" fmla="*/ 2147483647 w 1235"/>
              <a:gd name="T109" fmla="*/ 2147483647 h 822"/>
              <a:gd name="T110" fmla="*/ 2147483647 w 1235"/>
              <a:gd name="T111" fmla="*/ 2147483647 h 822"/>
              <a:gd name="T112" fmla="*/ 2147483647 w 1235"/>
              <a:gd name="T113" fmla="*/ 2147483647 h 822"/>
              <a:gd name="T114" fmla="*/ 2147483647 w 1235"/>
              <a:gd name="T115" fmla="*/ 2147483647 h 822"/>
              <a:gd name="T116" fmla="*/ 2147483647 w 1235"/>
              <a:gd name="T117" fmla="*/ 2147483647 h 82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235"/>
              <a:gd name="T178" fmla="*/ 0 h 822"/>
              <a:gd name="T179" fmla="*/ 1235 w 1235"/>
              <a:gd name="T180" fmla="*/ 822 h 82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235" h="822">
                <a:moveTo>
                  <a:pt x="629" y="759"/>
                </a:moveTo>
                <a:lnTo>
                  <a:pt x="629" y="765"/>
                </a:lnTo>
                <a:lnTo>
                  <a:pt x="634" y="771"/>
                </a:lnTo>
                <a:lnTo>
                  <a:pt x="634" y="782"/>
                </a:lnTo>
                <a:lnTo>
                  <a:pt x="634" y="793"/>
                </a:lnTo>
                <a:lnTo>
                  <a:pt x="634" y="799"/>
                </a:lnTo>
                <a:lnTo>
                  <a:pt x="629" y="805"/>
                </a:lnTo>
                <a:lnTo>
                  <a:pt x="617" y="810"/>
                </a:lnTo>
                <a:lnTo>
                  <a:pt x="617" y="816"/>
                </a:lnTo>
                <a:lnTo>
                  <a:pt x="612" y="816"/>
                </a:lnTo>
                <a:lnTo>
                  <a:pt x="606" y="822"/>
                </a:lnTo>
                <a:lnTo>
                  <a:pt x="606" y="816"/>
                </a:lnTo>
                <a:lnTo>
                  <a:pt x="595" y="810"/>
                </a:lnTo>
                <a:lnTo>
                  <a:pt x="595" y="805"/>
                </a:lnTo>
                <a:lnTo>
                  <a:pt x="595" y="799"/>
                </a:lnTo>
                <a:lnTo>
                  <a:pt x="589" y="793"/>
                </a:lnTo>
                <a:lnTo>
                  <a:pt x="589" y="788"/>
                </a:lnTo>
                <a:lnTo>
                  <a:pt x="595" y="788"/>
                </a:lnTo>
                <a:lnTo>
                  <a:pt x="595" y="782"/>
                </a:lnTo>
                <a:lnTo>
                  <a:pt x="595" y="776"/>
                </a:lnTo>
                <a:lnTo>
                  <a:pt x="600" y="776"/>
                </a:lnTo>
                <a:lnTo>
                  <a:pt x="600" y="771"/>
                </a:lnTo>
                <a:lnTo>
                  <a:pt x="600" y="765"/>
                </a:lnTo>
                <a:lnTo>
                  <a:pt x="606" y="765"/>
                </a:lnTo>
                <a:lnTo>
                  <a:pt x="612" y="765"/>
                </a:lnTo>
                <a:lnTo>
                  <a:pt x="617" y="765"/>
                </a:lnTo>
                <a:lnTo>
                  <a:pt x="623" y="765"/>
                </a:lnTo>
                <a:lnTo>
                  <a:pt x="629" y="759"/>
                </a:lnTo>
                <a:close/>
                <a:moveTo>
                  <a:pt x="5" y="538"/>
                </a:moveTo>
                <a:lnTo>
                  <a:pt x="5" y="533"/>
                </a:lnTo>
                <a:lnTo>
                  <a:pt x="5" y="527"/>
                </a:lnTo>
                <a:lnTo>
                  <a:pt x="5" y="521"/>
                </a:lnTo>
                <a:lnTo>
                  <a:pt x="5" y="516"/>
                </a:lnTo>
                <a:lnTo>
                  <a:pt x="5" y="510"/>
                </a:lnTo>
                <a:lnTo>
                  <a:pt x="0" y="510"/>
                </a:lnTo>
                <a:lnTo>
                  <a:pt x="5" y="504"/>
                </a:lnTo>
                <a:lnTo>
                  <a:pt x="0" y="499"/>
                </a:lnTo>
                <a:lnTo>
                  <a:pt x="5" y="499"/>
                </a:lnTo>
                <a:lnTo>
                  <a:pt x="5" y="493"/>
                </a:lnTo>
                <a:lnTo>
                  <a:pt x="5" y="487"/>
                </a:lnTo>
                <a:lnTo>
                  <a:pt x="5" y="482"/>
                </a:lnTo>
                <a:lnTo>
                  <a:pt x="5" y="476"/>
                </a:lnTo>
                <a:lnTo>
                  <a:pt x="0" y="476"/>
                </a:lnTo>
                <a:lnTo>
                  <a:pt x="0" y="470"/>
                </a:lnTo>
                <a:lnTo>
                  <a:pt x="0" y="465"/>
                </a:lnTo>
                <a:lnTo>
                  <a:pt x="0" y="459"/>
                </a:lnTo>
                <a:lnTo>
                  <a:pt x="5" y="459"/>
                </a:lnTo>
                <a:lnTo>
                  <a:pt x="11" y="459"/>
                </a:lnTo>
                <a:lnTo>
                  <a:pt x="11" y="453"/>
                </a:lnTo>
                <a:lnTo>
                  <a:pt x="11" y="448"/>
                </a:lnTo>
                <a:lnTo>
                  <a:pt x="11" y="442"/>
                </a:lnTo>
                <a:lnTo>
                  <a:pt x="11" y="436"/>
                </a:lnTo>
                <a:lnTo>
                  <a:pt x="5" y="436"/>
                </a:lnTo>
                <a:lnTo>
                  <a:pt x="11" y="436"/>
                </a:lnTo>
                <a:lnTo>
                  <a:pt x="11" y="425"/>
                </a:lnTo>
                <a:lnTo>
                  <a:pt x="11" y="419"/>
                </a:lnTo>
                <a:lnTo>
                  <a:pt x="11" y="414"/>
                </a:lnTo>
                <a:lnTo>
                  <a:pt x="17" y="408"/>
                </a:lnTo>
                <a:lnTo>
                  <a:pt x="17" y="402"/>
                </a:lnTo>
                <a:lnTo>
                  <a:pt x="11" y="402"/>
                </a:lnTo>
                <a:lnTo>
                  <a:pt x="17" y="402"/>
                </a:lnTo>
                <a:lnTo>
                  <a:pt x="17" y="397"/>
                </a:lnTo>
                <a:lnTo>
                  <a:pt x="17" y="391"/>
                </a:lnTo>
                <a:lnTo>
                  <a:pt x="17" y="385"/>
                </a:lnTo>
                <a:lnTo>
                  <a:pt x="11" y="385"/>
                </a:lnTo>
                <a:lnTo>
                  <a:pt x="17" y="380"/>
                </a:lnTo>
                <a:lnTo>
                  <a:pt x="17" y="374"/>
                </a:lnTo>
                <a:lnTo>
                  <a:pt x="17" y="368"/>
                </a:lnTo>
                <a:lnTo>
                  <a:pt x="17" y="363"/>
                </a:lnTo>
                <a:lnTo>
                  <a:pt x="39" y="363"/>
                </a:lnTo>
                <a:lnTo>
                  <a:pt x="45" y="363"/>
                </a:lnTo>
                <a:lnTo>
                  <a:pt x="51" y="363"/>
                </a:lnTo>
                <a:lnTo>
                  <a:pt x="56" y="357"/>
                </a:lnTo>
                <a:lnTo>
                  <a:pt x="62" y="357"/>
                </a:lnTo>
                <a:lnTo>
                  <a:pt x="79" y="351"/>
                </a:lnTo>
                <a:lnTo>
                  <a:pt x="79" y="357"/>
                </a:lnTo>
                <a:lnTo>
                  <a:pt x="90" y="363"/>
                </a:lnTo>
                <a:lnTo>
                  <a:pt x="96" y="363"/>
                </a:lnTo>
                <a:lnTo>
                  <a:pt x="102" y="357"/>
                </a:lnTo>
                <a:lnTo>
                  <a:pt x="107" y="357"/>
                </a:lnTo>
                <a:lnTo>
                  <a:pt x="113" y="357"/>
                </a:lnTo>
                <a:lnTo>
                  <a:pt x="124" y="351"/>
                </a:lnTo>
                <a:lnTo>
                  <a:pt x="124" y="340"/>
                </a:lnTo>
                <a:lnTo>
                  <a:pt x="130" y="334"/>
                </a:lnTo>
                <a:lnTo>
                  <a:pt x="136" y="317"/>
                </a:lnTo>
                <a:lnTo>
                  <a:pt x="136" y="312"/>
                </a:lnTo>
                <a:lnTo>
                  <a:pt x="136" y="300"/>
                </a:lnTo>
                <a:lnTo>
                  <a:pt x="141" y="295"/>
                </a:lnTo>
                <a:lnTo>
                  <a:pt x="147" y="289"/>
                </a:lnTo>
                <a:lnTo>
                  <a:pt x="153" y="289"/>
                </a:lnTo>
                <a:lnTo>
                  <a:pt x="153" y="283"/>
                </a:lnTo>
                <a:lnTo>
                  <a:pt x="147" y="278"/>
                </a:lnTo>
                <a:lnTo>
                  <a:pt x="147" y="272"/>
                </a:lnTo>
                <a:lnTo>
                  <a:pt x="147" y="266"/>
                </a:lnTo>
                <a:lnTo>
                  <a:pt x="147" y="261"/>
                </a:lnTo>
                <a:lnTo>
                  <a:pt x="147" y="255"/>
                </a:lnTo>
                <a:lnTo>
                  <a:pt x="141" y="238"/>
                </a:lnTo>
                <a:lnTo>
                  <a:pt x="141" y="232"/>
                </a:lnTo>
                <a:lnTo>
                  <a:pt x="141" y="221"/>
                </a:lnTo>
                <a:lnTo>
                  <a:pt x="147" y="215"/>
                </a:lnTo>
                <a:lnTo>
                  <a:pt x="147" y="210"/>
                </a:lnTo>
                <a:lnTo>
                  <a:pt x="153" y="210"/>
                </a:lnTo>
                <a:lnTo>
                  <a:pt x="158" y="210"/>
                </a:lnTo>
                <a:lnTo>
                  <a:pt x="158" y="204"/>
                </a:lnTo>
                <a:lnTo>
                  <a:pt x="164" y="204"/>
                </a:lnTo>
                <a:lnTo>
                  <a:pt x="170" y="193"/>
                </a:lnTo>
                <a:lnTo>
                  <a:pt x="170" y="187"/>
                </a:lnTo>
                <a:lnTo>
                  <a:pt x="175" y="181"/>
                </a:lnTo>
                <a:lnTo>
                  <a:pt x="181" y="176"/>
                </a:lnTo>
                <a:lnTo>
                  <a:pt x="181" y="170"/>
                </a:lnTo>
                <a:lnTo>
                  <a:pt x="187" y="170"/>
                </a:lnTo>
                <a:lnTo>
                  <a:pt x="187" y="159"/>
                </a:lnTo>
                <a:lnTo>
                  <a:pt x="187" y="153"/>
                </a:lnTo>
                <a:lnTo>
                  <a:pt x="192" y="153"/>
                </a:lnTo>
                <a:lnTo>
                  <a:pt x="198" y="153"/>
                </a:lnTo>
                <a:lnTo>
                  <a:pt x="204" y="153"/>
                </a:lnTo>
                <a:lnTo>
                  <a:pt x="209" y="153"/>
                </a:lnTo>
                <a:lnTo>
                  <a:pt x="215" y="147"/>
                </a:lnTo>
                <a:lnTo>
                  <a:pt x="221" y="142"/>
                </a:lnTo>
                <a:lnTo>
                  <a:pt x="221" y="136"/>
                </a:lnTo>
                <a:lnTo>
                  <a:pt x="215" y="130"/>
                </a:lnTo>
                <a:lnTo>
                  <a:pt x="209" y="119"/>
                </a:lnTo>
                <a:lnTo>
                  <a:pt x="209" y="113"/>
                </a:lnTo>
                <a:lnTo>
                  <a:pt x="209" y="108"/>
                </a:lnTo>
                <a:lnTo>
                  <a:pt x="209" y="102"/>
                </a:lnTo>
                <a:lnTo>
                  <a:pt x="221" y="96"/>
                </a:lnTo>
                <a:lnTo>
                  <a:pt x="221" y="91"/>
                </a:lnTo>
                <a:lnTo>
                  <a:pt x="226" y="91"/>
                </a:lnTo>
                <a:lnTo>
                  <a:pt x="232" y="91"/>
                </a:lnTo>
                <a:lnTo>
                  <a:pt x="243" y="85"/>
                </a:lnTo>
                <a:lnTo>
                  <a:pt x="255" y="79"/>
                </a:lnTo>
                <a:lnTo>
                  <a:pt x="266" y="79"/>
                </a:lnTo>
                <a:lnTo>
                  <a:pt x="272" y="79"/>
                </a:lnTo>
                <a:lnTo>
                  <a:pt x="277" y="79"/>
                </a:lnTo>
                <a:lnTo>
                  <a:pt x="283" y="79"/>
                </a:lnTo>
                <a:lnTo>
                  <a:pt x="289" y="79"/>
                </a:lnTo>
                <a:lnTo>
                  <a:pt x="289" y="74"/>
                </a:lnTo>
                <a:lnTo>
                  <a:pt x="294" y="68"/>
                </a:lnTo>
                <a:lnTo>
                  <a:pt x="294" y="62"/>
                </a:lnTo>
                <a:lnTo>
                  <a:pt x="300" y="57"/>
                </a:lnTo>
                <a:lnTo>
                  <a:pt x="306" y="51"/>
                </a:lnTo>
                <a:lnTo>
                  <a:pt x="311" y="45"/>
                </a:lnTo>
                <a:lnTo>
                  <a:pt x="311" y="40"/>
                </a:lnTo>
                <a:lnTo>
                  <a:pt x="311" y="34"/>
                </a:lnTo>
                <a:lnTo>
                  <a:pt x="311" y="28"/>
                </a:lnTo>
                <a:lnTo>
                  <a:pt x="311" y="23"/>
                </a:lnTo>
                <a:lnTo>
                  <a:pt x="311" y="17"/>
                </a:lnTo>
                <a:lnTo>
                  <a:pt x="311" y="11"/>
                </a:lnTo>
                <a:lnTo>
                  <a:pt x="311" y="6"/>
                </a:lnTo>
                <a:lnTo>
                  <a:pt x="317" y="0"/>
                </a:lnTo>
                <a:lnTo>
                  <a:pt x="323" y="6"/>
                </a:lnTo>
                <a:lnTo>
                  <a:pt x="328" y="11"/>
                </a:lnTo>
                <a:lnTo>
                  <a:pt x="334" y="11"/>
                </a:lnTo>
                <a:lnTo>
                  <a:pt x="357" y="11"/>
                </a:lnTo>
                <a:lnTo>
                  <a:pt x="362" y="11"/>
                </a:lnTo>
                <a:lnTo>
                  <a:pt x="368" y="17"/>
                </a:lnTo>
                <a:lnTo>
                  <a:pt x="368" y="23"/>
                </a:lnTo>
                <a:lnTo>
                  <a:pt x="374" y="23"/>
                </a:lnTo>
                <a:lnTo>
                  <a:pt x="374" y="28"/>
                </a:lnTo>
                <a:lnTo>
                  <a:pt x="379" y="28"/>
                </a:lnTo>
                <a:lnTo>
                  <a:pt x="385" y="28"/>
                </a:lnTo>
                <a:lnTo>
                  <a:pt x="385" y="23"/>
                </a:lnTo>
                <a:lnTo>
                  <a:pt x="391" y="23"/>
                </a:lnTo>
                <a:lnTo>
                  <a:pt x="391" y="17"/>
                </a:lnTo>
                <a:lnTo>
                  <a:pt x="391" y="11"/>
                </a:lnTo>
                <a:lnTo>
                  <a:pt x="396" y="11"/>
                </a:lnTo>
                <a:lnTo>
                  <a:pt x="396" y="6"/>
                </a:lnTo>
                <a:lnTo>
                  <a:pt x="402" y="11"/>
                </a:lnTo>
                <a:lnTo>
                  <a:pt x="408" y="23"/>
                </a:lnTo>
                <a:lnTo>
                  <a:pt x="413" y="23"/>
                </a:lnTo>
                <a:lnTo>
                  <a:pt x="419" y="28"/>
                </a:lnTo>
                <a:lnTo>
                  <a:pt x="413" y="28"/>
                </a:lnTo>
                <a:lnTo>
                  <a:pt x="413" y="34"/>
                </a:lnTo>
                <a:lnTo>
                  <a:pt x="408" y="40"/>
                </a:lnTo>
                <a:lnTo>
                  <a:pt x="413" y="45"/>
                </a:lnTo>
                <a:lnTo>
                  <a:pt x="419" y="45"/>
                </a:lnTo>
                <a:lnTo>
                  <a:pt x="425" y="40"/>
                </a:lnTo>
                <a:lnTo>
                  <a:pt x="430" y="45"/>
                </a:lnTo>
                <a:lnTo>
                  <a:pt x="430" y="51"/>
                </a:lnTo>
                <a:lnTo>
                  <a:pt x="430" y="57"/>
                </a:lnTo>
                <a:lnTo>
                  <a:pt x="436" y="57"/>
                </a:lnTo>
                <a:lnTo>
                  <a:pt x="442" y="57"/>
                </a:lnTo>
                <a:lnTo>
                  <a:pt x="442" y="62"/>
                </a:lnTo>
                <a:lnTo>
                  <a:pt x="442" y="68"/>
                </a:lnTo>
                <a:lnTo>
                  <a:pt x="436" y="68"/>
                </a:lnTo>
                <a:lnTo>
                  <a:pt x="430" y="62"/>
                </a:lnTo>
                <a:lnTo>
                  <a:pt x="430" y="68"/>
                </a:lnTo>
                <a:lnTo>
                  <a:pt x="425" y="68"/>
                </a:lnTo>
                <a:lnTo>
                  <a:pt x="430" y="68"/>
                </a:lnTo>
                <a:lnTo>
                  <a:pt x="430" y="74"/>
                </a:lnTo>
                <a:lnTo>
                  <a:pt x="436" y="79"/>
                </a:lnTo>
                <a:lnTo>
                  <a:pt x="442" y="79"/>
                </a:lnTo>
                <a:lnTo>
                  <a:pt x="447" y="79"/>
                </a:lnTo>
                <a:lnTo>
                  <a:pt x="453" y="79"/>
                </a:lnTo>
                <a:lnTo>
                  <a:pt x="459" y="79"/>
                </a:lnTo>
                <a:lnTo>
                  <a:pt x="459" y="91"/>
                </a:lnTo>
                <a:lnTo>
                  <a:pt x="464" y="91"/>
                </a:lnTo>
                <a:lnTo>
                  <a:pt x="470" y="91"/>
                </a:lnTo>
                <a:lnTo>
                  <a:pt x="476" y="96"/>
                </a:lnTo>
                <a:lnTo>
                  <a:pt x="481" y="96"/>
                </a:lnTo>
                <a:lnTo>
                  <a:pt x="481" y="91"/>
                </a:lnTo>
                <a:lnTo>
                  <a:pt x="487" y="85"/>
                </a:lnTo>
                <a:lnTo>
                  <a:pt x="487" y="79"/>
                </a:lnTo>
                <a:lnTo>
                  <a:pt x="493" y="79"/>
                </a:lnTo>
                <a:lnTo>
                  <a:pt x="493" y="85"/>
                </a:lnTo>
                <a:lnTo>
                  <a:pt x="493" y="91"/>
                </a:lnTo>
                <a:lnTo>
                  <a:pt x="498" y="91"/>
                </a:lnTo>
                <a:lnTo>
                  <a:pt x="504" y="91"/>
                </a:lnTo>
                <a:lnTo>
                  <a:pt x="504" y="96"/>
                </a:lnTo>
                <a:lnTo>
                  <a:pt x="510" y="102"/>
                </a:lnTo>
                <a:lnTo>
                  <a:pt x="510" y="108"/>
                </a:lnTo>
                <a:lnTo>
                  <a:pt x="515" y="108"/>
                </a:lnTo>
                <a:lnTo>
                  <a:pt x="515" y="113"/>
                </a:lnTo>
                <a:lnTo>
                  <a:pt x="515" y="119"/>
                </a:lnTo>
                <a:lnTo>
                  <a:pt x="521" y="119"/>
                </a:lnTo>
                <a:lnTo>
                  <a:pt x="527" y="125"/>
                </a:lnTo>
                <a:lnTo>
                  <a:pt x="532" y="130"/>
                </a:lnTo>
                <a:lnTo>
                  <a:pt x="532" y="136"/>
                </a:lnTo>
                <a:lnTo>
                  <a:pt x="544" y="147"/>
                </a:lnTo>
                <a:lnTo>
                  <a:pt x="555" y="153"/>
                </a:lnTo>
                <a:lnTo>
                  <a:pt x="555" y="159"/>
                </a:lnTo>
                <a:lnTo>
                  <a:pt x="555" y="164"/>
                </a:lnTo>
                <a:lnTo>
                  <a:pt x="561" y="164"/>
                </a:lnTo>
                <a:lnTo>
                  <a:pt x="566" y="176"/>
                </a:lnTo>
                <a:lnTo>
                  <a:pt x="572" y="176"/>
                </a:lnTo>
                <a:lnTo>
                  <a:pt x="572" y="181"/>
                </a:lnTo>
                <a:lnTo>
                  <a:pt x="583" y="193"/>
                </a:lnTo>
                <a:lnTo>
                  <a:pt x="589" y="193"/>
                </a:lnTo>
                <a:lnTo>
                  <a:pt x="600" y="210"/>
                </a:lnTo>
                <a:lnTo>
                  <a:pt x="606" y="210"/>
                </a:lnTo>
                <a:lnTo>
                  <a:pt x="612" y="215"/>
                </a:lnTo>
                <a:lnTo>
                  <a:pt x="612" y="221"/>
                </a:lnTo>
                <a:lnTo>
                  <a:pt x="617" y="227"/>
                </a:lnTo>
                <a:lnTo>
                  <a:pt x="617" y="232"/>
                </a:lnTo>
                <a:lnTo>
                  <a:pt x="623" y="232"/>
                </a:lnTo>
                <a:lnTo>
                  <a:pt x="629" y="232"/>
                </a:lnTo>
                <a:lnTo>
                  <a:pt x="629" y="238"/>
                </a:lnTo>
                <a:lnTo>
                  <a:pt x="634" y="244"/>
                </a:lnTo>
                <a:lnTo>
                  <a:pt x="640" y="249"/>
                </a:lnTo>
                <a:lnTo>
                  <a:pt x="646" y="261"/>
                </a:lnTo>
                <a:lnTo>
                  <a:pt x="651" y="261"/>
                </a:lnTo>
                <a:lnTo>
                  <a:pt x="657" y="266"/>
                </a:lnTo>
                <a:lnTo>
                  <a:pt x="668" y="272"/>
                </a:lnTo>
                <a:lnTo>
                  <a:pt x="668" y="278"/>
                </a:lnTo>
                <a:lnTo>
                  <a:pt x="674" y="278"/>
                </a:lnTo>
                <a:lnTo>
                  <a:pt x="680" y="278"/>
                </a:lnTo>
                <a:lnTo>
                  <a:pt x="685" y="278"/>
                </a:lnTo>
                <a:lnTo>
                  <a:pt x="685" y="283"/>
                </a:lnTo>
                <a:lnTo>
                  <a:pt x="691" y="283"/>
                </a:lnTo>
                <a:lnTo>
                  <a:pt x="697" y="289"/>
                </a:lnTo>
                <a:lnTo>
                  <a:pt x="702" y="289"/>
                </a:lnTo>
                <a:lnTo>
                  <a:pt x="708" y="289"/>
                </a:lnTo>
                <a:lnTo>
                  <a:pt x="714" y="295"/>
                </a:lnTo>
                <a:lnTo>
                  <a:pt x="714" y="300"/>
                </a:lnTo>
                <a:lnTo>
                  <a:pt x="714" y="306"/>
                </a:lnTo>
                <a:lnTo>
                  <a:pt x="719" y="317"/>
                </a:lnTo>
                <a:lnTo>
                  <a:pt x="719" y="323"/>
                </a:lnTo>
                <a:lnTo>
                  <a:pt x="719" y="329"/>
                </a:lnTo>
                <a:lnTo>
                  <a:pt x="725" y="329"/>
                </a:lnTo>
                <a:lnTo>
                  <a:pt x="725" y="334"/>
                </a:lnTo>
                <a:lnTo>
                  <a:pt x="731" y="340"/>
                </a:lnTo>
                <a:lnTo>
                  <a:pt x="736" y="340"/>
                </a:lnTo>
                <a:lnTo>
                  <a:pt x="742" y="340"/>
                </a:lnTo>
                <a:lnTo>
                  <a:pt x="765" y="329"/>
                </a:lnTo>
                <a:lnTo>
                  <a:pt x="771" y="329"/>
                </a:lnTo>
                <a:lnTo>
                  <a:pt x="776" y="329"/>
                </a:lnTo>
                <a:lnTo>
                  <a:pt x="782" y="329"/>
                </a:lnTo>
                <a:lnTo>
                  <a:pt x="782" y="323"/>
                </a:lnTo>
                <a:lnTo>
                  <a:pt x="788" y="323"/>
                </a:lnTo>
                <a:lnTo>
                  <a:pt x="788" y="317"/>
                </a:lnTo>
                <a:lnTo>
                  <a:pt x="799" y="317"/>
                </a:lnTo>
                <a:lnTo>
                  <a:pt x="810" y="317"/>
                </a:lnTo>
                <a:lnTo>
                  <a:pt x="816" y="323"/>
                </a:lnTo>
                <a:lnTo>
                  <a:pt x="822" y="329"/>
                </a:lnTo>
                <a:lnTo>
                  <a:pt x="827" y="329"/>
                </a:lnTo>
                <a:lnTo>
                  <a:pt x="833" y="334"/>
                </a:lnTo>
                <a:lnTo>
                  <a:pt x="839" y="334"/>
                </a:lnTo>
                <a:lnTo>
                  <a:pt x="839" y="340"/>
                </a:lnTo>
                <a:lnTo>
                  <a:pt x="839" y="346"/>
                </a:lnTo>
                <a:lnTo>
                  <a:pt x="844" y="346"/>
                </a:lnTo>
                <a:lnTo>
                  <a:pt x="850" y="346"/>
                </a:lnTo>
                <a:lnTo>
                  <a:pt x="856" y="351"/>
                </a:lnTo>
                <a:lnTo>
                  <a:pt x="856" y="357"/>
                </a:lnTo>
                <a:lnTo>
                  <a:pt x="861" y="357"/>
                </a:lnTo>
                <a:lnTo>
                  <a:pt x="867" y="357"/>
                </a:lnTo>
                <a:lnTo>
                  <a:pt x="867" y="363"/>
                </a:lnTo>
                <a:lnTo>
                  <a:pt x="867" y="368"/>
                </a:lnTo>
                <a:lnTo>
                  <a:pt x="873" y="374"/>
                </a:lnTo>
                <a:lnTo>
                  <a:pt x="878" y="380"/>
                </a:lnTo>
                <a:lnTo>
                  <a:pt x="884" y="385"/>
                </a:lnTo>
                <a:lnTo>
                  <a:pt x="890" y="385"/>
                </a:lnTo>
                <a:lnTo>
                  <a:pt x="895" y="385"/>
                </a:lnTo>
                <a:lnTo>
                  <a:pt x="901" y="385"/>
                </a:lnTo>
                <a:lnTo>
                  <a:pt x="918" y="391"/>
                </a:lnTo>
                <a:lnTo>
                  <a:pt x="924" y="391"/>
                </a:lnTo>
                <a:lnTo>
                  <a:pt x="935" y="397"/>
                </a:lnTo>
                <a:lnTo>
                  <a:pt x="952" y="397"/>
                </a:lnTo>
                <a:lnTo>
                  <a:pt x="958" y="402"/>
                </a:lnTo>
                <a:lnTo>
                  <a:pt x="963" y="402"/>
                </a:lnTo>
                <a:lnTo>
                  <a:pt x="969" y="408"/>
                </a:lnTo>
                <a:lnTo>
                  <a:pt x="975" y="408"/>
                </a:lnTo>
                <a:lnTo>
                  <a:pt x="980" y="414"/>
                </a:lnTo>
                <a:lnTo>
                  <a:pt x="986" y="419"/>
                </a:lnTo>
                <a:lnTo>
                  <a:pt x="992" y="419"/>
                </a:lnTo>
                <a:lnTo>
                  <a:pt x="1009" y="431"/>
                </a:lnTo>
                <a:lnTo>
                  <a:pt x="1014" y="436"/>
                </a:lnTo>
                <a:lnTo>
                  <a:pt x="1020" y="442"/>
                </a:lnTo>
                <a:lnTo>
                  <a:pt x="1026" y="442"/>
                </a:lnTo>
                <a:lnTo>
                  <a:pt x="1026" y="448"/>
                </a:lnTo>
                <a:lnTo>
                  <a:pt x="1031" y="448"/>
                </a:lnTo>
                <a:lnTo>
                  <a:pt x="1037" y="453"/>
                </a:lnTo>
                <a:lnTo>
                  <a:pt x="1048" y="453"/>
                </a:lnTo>
                <a:lnTo>
                  <a:pt x="1054" y="453"/>
                </a:lnTo>
                <a:lnTo>
                  <a:pt x="1065" y="459"/>
                </a:lnTo>
                <a:lnTo>
                  <a:pt x="1065" y="465"/>
                </a:lnTo>
                <a:lnTo>
                  <a:pt x="1071" y="465"/>
                </a:lnTo>
                <a:lnTo>
                  <a:pt x="1071" y="470"/>
                </a:lnTo>
                <a:lnTo>
                  <a:pt x="1077" y="470"/>
                </a:lnTo>
                <a:lnTo>
                  <a:pt x="1077" y="476"/>
                </a:lnTo>
                <a:lnTo>
                  <a:pt x="1077" y="482"/>
                </a:lnTo>
                <a:lnTo>
                  <a:pt x="1082" y="482"/>
                </a:lnTo>
                <a:lnTo>
                  <a:pt x="1094" y="482"/>
                </a:lnTo>
                <a:lnTo>
                  <a:pt x="1099" y="487"/>
                </a:lnTo>
                <a:lnTo>
                  <a:pt x="1122" y="487"/>
                </a:lnTo>
                <a:lnTo>
                  <a:pt x="1122" y="482"/>
                </a:lnTo>
                <a:lnTo>
                  <a:pt x="1139" y="482"/>
                </a:lnTo>
                <a:lnTo>
                  <a:pt x="1145" y="487"/>
                </a:lnTo>
                <a:lnTo>
                  <a:pt x="1150" y="487"/>
                </a:lnTo>
                <a:lnTo>
                  <a:pt x="1162" y="482"/>
                </a:lnTo>
                <a:lnTo>
                  <a:pt x="1167" y="482"/>
                </a:lnTo>
                <a:lnTo>
                  <a:pt x="1179" y="482"/>
                </a:lnTo>
                <a:lnTo>
                  <a:pt x="1184" y="476"/>
                </a:lnTo>
                <a:lnTo>
                  <a:pt x="1190" y="476"/>
                </a:lnTo>
                <a:lnTo>
                  <a:pt x="1196" y="482"/>
                </a:lnTo>
                <a:lnTo>
                  <a:pt x="1201" y="482"/>
                </a:lnTo>
                <a:lnTo>
                  <a:pt x="1207" y="482"/>
                </a:lnTo>
                <a:lnTo>
                  <a:pt x="1207" y="487"/>
                </a:lnTo>
                <a:lnTo>
                  <a:pt x="1213" y="487"/>
                </a:lnTo>
                <a:lnTo>
                  <a:pt x="1218" y="487"/>
                </a:lnTo>
                <a:lnTo>
                  <a:pt x="1224" y="493"/>
                </a:lnTo>
                <a:lnTo>
                  <a:pt x="1230" y="493"/>
                </a:lnTo>
                <a:lnTo>
                  <a:pt x="1235" y="493"/>
                </a:lnTo>
                <a:lnTo>
                  <a:pt x="1235" y="487"/>
                </a:lnTo>
                <a:lnTo>
                  <a:pt x="1235" y="493"/>
                </a:lnTo>
                <a:lnTo>
                  <a:pt x="1235" y="499"/>
                </a:lnTo>
                <a:lnTo>
                  <a:pt x="1235" y="504"/>
                </a:lnTo>
                <a:lnTo>
                  <a:pt x="1230" y="510"/>
                </a:lnTo>
                <a:lnTo>
                  <a:pt x="1230" y="516"/>
                </a:lnTo>
                <a:lnTo>
                  <a:pt x="1224" y="516"/>
                </a:lnTo>
                <a:lnTo>
                  <a:pt x="1224" y="521"/>
                </a:lnTo>
                <a:lnTo>
                  <a:pt x="1224" y="527"/>
                </a:lnTo>
                <a:lnTo>
                  <a:pt x="1218" y="527"/>
                </a:lnTo>
                <a:lnTo>
                  <a:pt x="1218" y="533"/>
                </a:lnTo>
                <a:lnTo>
                  <a:pt x="1218" y="538"/>
                </a:lnTo>
                <a:lnTo>
                  <a:pt x="1213" y="538"/>
                </a:lnTo>
                <a:lnTo>
                  <a:pt x="1213" y="544"/>
                </a:lnTo>
                <a:lnTo>
                  <a:pt x="1213" y="550"/>
                </a:lnTo>
                <a:lnTo>
                  <a:pt x="1207" y="550"/>
                </a:lnTo>
                <a:lnTo>
                  <a:pt x="1207" y="555"/>
                </a:lnTo>
                <a:lnTo>
                  <a:pt x="1207" y="561"/>
                </a:lnTo>
                <a:lnTo>
                  <a:pt x="1207" y="567"/>
                </a:lnTo>
                <a:lnTo>
                  <a:pt x="1207" y="572"/>
                </a:lnTo>
                <a:lnTo>
                  <a:pt x="1207" y="578"/>
                </a:lnTo>
                <a:lnTo>
                  <a:pt x="1207" y="584"/>
                </a:lnTo>
                <a:lnTo>
                  <a:pt x="1207" y="589"/>
                </a:lnTo>
                <a:lnTo>
                  <a:pt x="1207" y="601"/>
                </a:lnTo>
                <a:lnTo>
                  <a:pt x="1201" y="601"/>
                </a:lnTo>
                <a:lnTo>
                  <a:pt x="1201" y="606"/>
                </a:lnTo>
                <a:lnTo>
                  <a:pt x="1196" y="606"/>
                </a:lnTo>
                <a:lnTo>
                  <a:pt x="1190" y="606"/>
                </a:lnTo>
                <a:lnTo>
                  <a:pt x="1179" y="606"/>
                </a:lnTo>
                <a:lnTo>
                  <a:pt x="1173" y="606"/>
                </a:lnTo>
                <a:lnTo>
                  <a:pt x="1167" y="606"/>
                </a:lnTo>
                <a:lnTo>
                  <a:pt x="1162" y="606"/>
                </a:lnTo>
                <a:lnTo>
                  <a:pt x="1150" y="601"/>
                </a:lnTo>
                <a:lnTo>
                  <a:pt x="1145" y="601"/>
                </a:lnTo>
                <a:lnTo>
                  <a:pt x="1139" y="601"/>
                </a:lnTo>
                <a:lnTo>
                  <a:pt x="1133" y="601"/>
                </a:lnTo>
                <a:lnTo>
                  <a:pt x="1122" y="606"/>
                </a:lnTo>
                <a:lnTo>
                  <a:pt x="1116" y="606"/>
                </a:lnTo>
                <a:lnTo>
                  <a:pt x="1111" y="606"/>
                </a:lnTo>
                <a:lnTo>
                  <a:pt x="1105" y="606"/>
                </a:lnTo>
                <a:lnTo>
                  <a:pt x="1099" y="606"/>
                </a:lnTo>
                <a:lnTo>
                  <a:pt x="1094" y="606"/>
                </a:lnTo>
                <a:lnTo>
                  <a:pt x="1082" y="606"/>
                </a:lnTo>
                <a:lnTo>
                  <a:pt x="1077" y="601"/>
                </a:lnTo>
                <a:lnTo>
                  <a:pt x="1065" y="601"/>
                </a:lnTo>
                <a:lnTo>
                  <a:pt x="1065" y="595"/>
                </a:lnTo>
                <a:lnTo>
                  <a:pt x="1060" y="595"/>
                </a:lnTo>
                <a:lnTo>
                  <a:pt x="1054" y="595"/>
                </a:lnTo>
                <a:lnTo>
                  <a:pt x="1043" y="589"/>
                </a:lnTo>
                <a:lnTo>
                  <a:pt x="1043" y="584"/>
                </a:lnTo>
                <a:lnTo>
                  <a:pt x="1037" y="584"/>
                </a:lnTo>
                <a:lnTo>
                  <a:pt x="1031" y="578"/>
                </a:lnTo>
                <a:lnTo>
                  <a:pt x="1026" y="578"/>
                </a:lnTo>
                <a:lnTo>
                  <a:pt x="1020" y="572"/>
                </a:lnTo>
                <a:lnTo>
                  <a:pt x="1014" y="567"/>
                </a:lnTo>
                <a:lnTo>
                  <a:pt x="1009" y="567"/>
                </a:lnTo>
                <a:lnTo>
                  <a:pt x="1009" y="561"/>
                </a:lnTo>
                <a:lnTo>
                  <a:pt x="1003" y="561"/>
                </a:lnTo>
                <a:lnTo>
                  <a:pt x="997" y="561"/>
                </a:lnTo>
                <a:lnTo>
                  <a:pt x="992" y="561"/>
                </a:lnTo>
                <a:lnTo>
                  <a:pt x="986" y="561"/>
                </a:lnTo>
                <a:lnTo>
                  <a:pt x="986" y="567"/>
                </a:lnTo>
                <a:lnTo>
                  <a:pt x="980" y="567"/>
                </a:lnTo>
                <a:lnTo>
                  <a:pt x="980" y="572"/>
                </a:lnTo>
                <a:lnTo>
                  <a:pt x="975" y="572"/>
                </a:lnTo>
                <a:lnTo>
                  <a:pt x="975" y="578"/>
                </a:lnTo>
                <a:lnTo>
                  <a:pt x="969" y="584"/>
                </a:lnTo>
                <a:lnTo>
                  <a:pt x="969" y="589"/>
                </a:lnTo>
                <a:lnTo>
                  <a:pt x="963" y="589"/>
                </a:lnTo>
                <a:lnTo>
                  <a:pt x="963" y="595"/>
                </a:lnTo>
                <a:lnTo>
                  <a:pt x="958" y="595"/>
                </a:lnTo>
                <a:lnTo>
                  <a:pt x="958" y="601"/>
                </a:lnTo>
                <a:lnTo>
                  <a:pt x="952" y="601"/>
                </a:lnTo>
                <a:lnTo>
                  <a:pt x="952" y="606"/>
                </a:lnTo>
                <a:lnTo>
                  <a:pt x="946" y="606"/>
                </a:lnTo>
                <a:lnTo>
                  <a:pt x="946" y="612"/>
                </a:lnTo>
                <a:lnTo>
                  <a:pt x="941" y="612"/>
                </a:lnTo>
                <a:lnTo>
                  <a:pt x="935" y="612"/>
                </a:lnTo>
                <a:lnTo>
                  <a:pt x="935" y="618"/>
                </a:lnTo>
                <a:lnTo>
                  <a:pt x="935" y="623"/>
                </a:lnTo>
                <a:lnTo>
                  <a:pt x="929" y="623"/>
                </a:lnTo>
                <a:lnTo>
                  <a:pt x="929" y="629"/>
                </a:lnTo>
                <a:lnTo>
                  <a:pt x="935" y="640"/>
                </a:lnTo>
                <a:lnTo>
                  <a:pt x="941" y="640"/>
                </a:lnTo>
                <a:lnTo>
                  <a:pt x="941" y="652"/>
                </a:lnTo>
                <a:lnTo>
                  <a:pt x="941" y="657"/>
                </a:lnTo>
                <a:lnTo>
                  <a:pt x="946" y="663"/>
                </a:lnTo>
                <a:lnTo>
                  <a:pt x="952" y="663"/>
                </a:lnTo>
                <a:lnTo>
                  <a:pt x="958" y="663"/>
                </a:lnTo>
                <a:lnTo>
                  <a:pt x="963" y="663"/>
                </a:lnTo>
                <a:lnTo>
                  <a:pt x="963" y="669"/>
                </a:lnTo>
                <a:lnTo>
                  <a:pt x="969" y="669"/>
                </a:lnTo>
                <a:lnTo>
                  <a:pt x="969" y="674"/>
                </a:lnTo>
                <a:lnTo>
                  <a:pt x="969" y="680"/>
                </a:lnTo>
                <a:lnTo>
                  <a:pt x="969" y="686"/>
                </a:lnTo>
                <a:lnTo>
                  <a:pt x="975" y="691"/>
                </a:lnTo>
                <a:lnTo>
                  <a:pt x="980" y="691"/>
                </a:lnTo>
                <a:lnTo>
                  <a:pt x="986" y="691"/>
                </a:lnTo>
                <a:lnTo>
                  <a:pt x="997" y="691"/>
                </a:lnTo>
                <a:lnTo>
                  <a:pt x="1003" y="691"/>
                </a:lnTo>
                <a:lnTo>
                  <a:pt x="1009" y="691"/>
                </a:lnTo>
                <a:lnTo>
                  <a:pt x="1009" y="697"/>
                </a:lnTo>
                <a:lnTo>
                  <a:pt x="1009" y="703"/>
                </a:lnTo>
                <a:lnTo>
                  <a:pt x="1009" y="708"/>
                </a:lnTo>
                <a:lnTo>
                  <a:pt x="1009" y="714"/>
                </a:lnTo>
                <a:lnTo>
                  <a:pt x="1003" y="720"/>
                </a:lnTo>
                <a:lnTo>
                  <a:pt x="1003" y="725"/>
                </a:lnTo>
                <a:lnTo>
                  <a:pt x="997" y="725"/>
                </a:lnTo>
                <a:lnTo>
                  <a:pt x="997" y="731"/>
                </a:lnTo>
                <a:lnTo>
                  <a:pt x="997" y="725"/>
                </a:lnTo>
                <a:lnTo>
                  <a:pt x="992" y="720"/>
                </a:lnTo>
                <a:lnTo>
                  <a:pt x="986" y="714"/>
                </a:lnTo>
                <a:lnTo>
                  <a:pt x="980" y="714"/>
                </a:lnTo>
                <a:lnTo>
                  <a:pt x="980" y="708"/>
                </a:lnTo>
                <a:lnTo>
                  <a:pt x="975" y="708"/>
                </a:lnTo>
                <a:lnTo>
                  <a:pt x="969" y="708"/>
                </a:lnTo>
                <a:lnTo>
                  <a:pt x="963" y="708"/>
                </a:lnTo>
                <a:lnTo>
                  <a:pt x="958" y="708"/>
                </a:lnTo>
                <a:lnTo>
                  <a:pt x="952" y="714"/>
                </a:lnTo>
                <a:lnTo>
                  <a:pt x="946" y="714"/>
                </a:lnTo>
                <a:lnTo>
                  <a:pt x="946" y="720"/>
                </a:lnTo>
                <a:lnTo>
                  <a:pt x="941" y="720"/>
                </a:lnTo>
                <a:lnTo>
                  <a:pt x="941" y="731"/>
                </a:lnTo>
                <a:lnTo>
                  <a:pt x="941" y="737"/>
                </a:lnTo>
                <a:lnTo>
                  <a:pt x="941" y="742"/>
                </a:lnTo>
                <a:lnTo>
                  <a:pt x="935" y="748"/>
                </a:lnTo>
                <a:lnTo>
                  <a:pt x="929" y="748"/>
                </a:lnTo>
                <a:lnTo>
                  <a:pt x="924" y="754"/>
                </a:lnTo>
                <a:lnTo>
                  <a:pt x="912" y="754"/>
                </a:lnTo>
                <a:lnTo>
                  <a:pt x="907" y="754"/>
                </a:lnTo>
                <a:lnTo>
                  <a:pt x="901" y="748"/>
                </a:lnTo>
                <a:lnTo>
                  <a:pt x="895" y="748"/>
                </a:lnTo>
                <a:lnTo>
                  <a:pt x="890" y="748"/>
                </a:lnTo>
                <a:lnTo>
                  <a:pt x="884" y="742"/>
                </a:lnTo>
                <a:lnTo>
                  <a:pt x="884" y="737"/>
                </a:lnTo>
                <a:lnTo>
                  <a:pt x="878" y="737"/>
                </a:lnTo>
                <a:lnTo>
                  <a:pt x="873" y="731"/>
                </a:lnTo>
                <a:lnTo>
                  <a:pt x="873" y="725"/>
                </a:lnTo>
                <a:lnTo>
                  <a:pt x="867" y="725"/>
                </a:lnTo>
                <a:lnTo>
                  <a:pt x="861" y="725"/>
                </a:lnTo>
                <a:lnTo>
                  <a:pt x="856" y="731"/>
                </a:lnTo>
                <a:lnTo>
                  <a:pt x="850" y="731"/>
                </a:lnTo>
                <a:lnTo>
                  <a:pt x="850" y="737"/>
                </a:lnTo>
                <a:lnTo>
                  <a:pt x="844" y="737"/>
                </a:lnTo>
                <a:lnTo>
                  <a:pt x="839" y="737"/>
                </a:lnTo>
                <a:lnTo>
                  <a:pt x="833" y="731"/>
                </a:lnTo>
                <a:lnTo>
                  <a:pt x="827" y="731"/>
                </a:lnTo>
                <a:lnTo>
                  <a:pt x="822" y="731"/>
                </a:lnTo>
                <a:lnTo>
                  <a:pt x="816" y="731"/>
                </a:lnTo>
                <a:lnTo>
                  <a:pt x="805" y="731"/>
                </a:lnTo>
                <a:lnTo>
                  <a:pt x="799" y="731"/>
                </a:lnTo>
                <a:lnTo>
                  <a:pt x="799" y="725"/>
                </a:lnTo>
                <a:lnTo>
                  <a:pt x="793" y="720"/>
                </a:lnTo>
                <a:lnTo>
                  <a:pt x="788" y="714"/>
                </a:lnTo>
                <a:lnTo>
                  <a:pt x="782" y="714"/>
                </a:lnTo>
                <a:lnTo>
                  <a:pt x="776" y="708"/>
                </a:lnTo>
                <a:lnTo>
                  <a:pt x="771" y="708"/>
                </a:lnTo>
                <a:lnTo>
                  <a:pt x="765" y="708"/>
                </a:lnTo>
                <a:lnTo>
                  <a:pt x="759" y="714"/>
                </a:lnTo>
                <a:lnTo>
                  <a:pt x="759" y="720"/>
                </a:lnTo>
                <a:lnTo>
                  <a:pt x="753" y="720"/>
                </a:lnTo>
                <a:lnTo>
                  <a:pt x="748" y="720"/>
                </a:lnTo>
                <a:lnTo>
                  <a:pt x="742" y="720"/>
                </a:lnTo>
                <a:lnTo>
                  <a:pt x="736" y="720"/>
                </a:lnTo>
                <a:lnTo>
                  <a:pt x="731" y="720"/>
                </a:lnTo>
                <a:lnTo>
                  <a:pt x="725" y="720"/>
                </a:lnTo>
                <a:lnTo>
                  <a:pt x="719" y="720"/>
                </a:lnTo>
                <a:lnTo>
                  <a:pt x="719" y="725"/>
                </a:lnTo>
                <a:lnTo>
                  <a:pt x="714" y="725"/>
                </a:lnTo>
                <a:lnTo>
                  <a:pt x="702" y="731"/>
                </a:lnTo>
                <a:lnTo>
                  <a:pt x="702" y="725"/>
                </a:lnTo>
                <a:lnTo>
                  <a:pt x="697" y="725"/>
                </a:lnTo>
                <a:lnTo>
                  <a:pt x="691" y="725"/>
                </a:lnTo>
                <a:lnTo>
                  <a:pt x="685" y="725"/>
                </a:lnTo>
                <a:lnTo>
                  <a:pt x="685" y="720"/>
                </a:lnTo>
                <a:lnTo>
                  <a:pt x="680" y="725"/>
                </a:lnTo>
                <a:lnTo>
                  <a:pt x="674" y="725"/>
                </a:lnTo>
                <a:lnTo>
                  <a:pt x="663" y="725"/>
                </a:lnTo>
                <a:lnTo>
                  <a:pt x="657" y="725"/>
                </a:lnTo>
                <a:lnTo>
                  <a:pt x="651" y="725"/>
                </a:lnTo>
                <a:lnTo>
                  <a:pt x="646" y="720"/>
                </a:lnTo>
                <a:lnTo>
                  <a:pt x="640" y="720"/>
                </a:lnTo>
                <a:lnTo>
                  <a:pt x="634" y="714"/>
                </a:lnTo>
                <a:lnTo>
                  <a:pt x="629" y="708"/>
                </a:lnTo>
                <a:lnTo>
                  <a:pt x="629" y="703"/>
                </a:lnTo>
                <a:lnTo>
                  <a:pt x="623" y="691"/>
                </a:lnTo>
                <a:lnTo>
                  <a:pt x="629" y="691"/>
                </a:lnTo>
                <a:lnTo>
                  <a:pt x="623" y="680"/>
                </a:lnTo>
                <a:lnTo>
                  <a:pt x="617" y="674"/>
                </a:lnTo>
                <a:lnTo>
                  <a:pt x="617" y="669"/>
                </a:lnTo>
                <a:lnTo>
                  <a:pt x="617" y="663"/>
                </a:lnTo>
                <a:lnTo>
                  <a:pt x="612" y="663"/>
                </a:lnTo>
                <a:lnTo>
                  <a:pt x="606" y="657"/>
                </a:lnTo>
                <a:lnTo>
                  <a:pt x="600" y="652"/>
                </a:lnTo>
                <a:lnTo>
                  <a:pt x="595" y="646"/>
                </a:lnTo>
                <a:lnTo>
                  <a:pt x="595" y="640"/>
                </a:lnTo>
                <a:lnTo>
                  <a:pt x="589" y="640"/>
                </a:lnTo>
                <a:lnTo>
                  <a:pt x="589" y="635"/>
                </a:lnTo>
                <a:lnTo>
                  <a:pt x="583" y="635"/>
                </a:lnTo>
                <a:lnTo>
                  <a:pt x="578" y="629"/>
                </a:lnTo>
                <a:lnTo>
                  <a:pt x="578" y="623"/>
                </a:lnTo>
                <a:lnTo>
                  <a:pt x="572" y="618"/>
                </a:lnTo>
                <a:lnTo>
                  <a:pt x="566" y="612"/>
                </a:lnTo>
                <a:lnTo>
                  <a:pt x="566" y="606"/>
                </a:lnTo>
                <a:lnTo>
                  <a:pt x="561" y="601"/>
                </a:lnTo>
                <a:lnTo>
                  <a:pt x="561" y="595"/>
                </a:lnTo>
                <a:lnTo>
                  <a:pt x="555" y="595"/>
                </a:lnTo>
                <a:lnTo>
                  <a:pt x="555" y="589"/>
                </a:lnTo>
                <a:lnTo>
                  <a:pt x="549" y="584"/>
                </a:lnTo>
                <a:lnTo>
                  <a:pt x="549" y="578"/>
                </a:lnTo>
                <a:lnTo>
                  <a:pt x="544" y="567"/>
                </a:lnTo>
                <a:lnTo>
                  <a:pt x="544" y="561"/>
                </a:lnTo>
                <a:lnTo>
                  <a:pt x="538" y="555"/>
                </a:lnTo>
                <a:lnTo>
                  <a:pt x="532" y="550"/>
                </a:lnTo>
                <a:lnTo>
                  <a:pt x="532" y="544"/>
                </a:lnTo>
                <a:lnTo>
                  <a:pt x="527" y="538"/>
                </a:lnTo>
                <a:lnTo>
                  <a:pt x="521" y="533"/>
                </a:lnTo>
                <a:lnTo>
                  <a:pt x="521" y="527"/>
                </a:lnTo>
                <a:lnTo>
                  <a:pt x="515" y="527"/>
                </a:lnTo>
                <a:lnTo>
                  <a:pt x="515" y="521"/>
                </a:lnTo>
                <a:lnTo>
                  <a:pt x="515" y="516"/>
                </a:lnTo>
                <a:lnTo>
                  <a:pt x="515" y="510"/>
                </a:lnTo>
                <a:lnTo>
                  <a:pt x="510" y="510"/>
                </a:lnTo>
                <a:lnTo>
                  <a:pt x="510" y="504"/>
                </a:lnTo>
                <a:lnTo>
                  <a:pt x="504" y="499"/>
                </a:lnTo>
                <a:lnTo>
                  <a:pt x="504" y="493"/>
                </a:lnTo>
                <a:lnTo>
                  <a:pt x="504" y="487"/>
                </a:lnTo>
                <a:lnTo>
                  <a:pt x="504" y="482"/>
                </a:lnTo>
                <a:lnTo>
                  <a:pt x="504" y="476"/>
                </a:lnTo>
                <a:lnTo>
                  <a:pt x="504" y="470"/>
                </a:lnTo>
                <a:lnTo>
                  <a:pt x="504" y="465"/>
                </a:lnTo>
                <a:lnTo>
                  <a:pt x="504" y="459"/>
                </a:lnTo>
                <a:lnTo>
                  <a:pt x="510" y="459"/>
                </a:lnTo>
                <a:lnTo>
                  <a:pt x="515" y="459"/>
                </a:lnTo>
                <a:lnTo>
                  <a:pt x="515" y="453"/>
                </a:lnTo>
                <a:lnTo>
                  <a:pt x="515" y="448"/>
                </a:lnTo>
                <a:lnTo>
                  <a:pt x="521" y="442"/>
                </a:lnTo>
                <a:lnTo>
                  <a:pt x="521" y="436"/>
                </a:lnTo>
                <a:lnTo>
                  <a:pt x="527" y="431"/>
                </a:lnTo>
                <a:lnTo>
                  <a:pt x="532" y="425"/>
                </a:lnTo>
                <a:lnTo>
                  <a:pt x="538" y="419"/>
                </a:lnTo>
                <a:lnTo>
                  <a:pt x="544" y="414"/>
                </a:lnTo>
                <a:lnTo>
                  <a:pt x="555" y="408"/>
                </a:lnTo>
                <a:lnTo>
                  <a:pt x="561" y="402"/>
                </a:lnTo>
                <a:lnTo>
                  <a:pt x="566" y="402"/>
                </a:lnTo>
                <a:lnTo>
                  <a:pt x="566" y="397"/>
                </a:lnTo>
                <a:lnTo>
                  <a:pt x="566" y="391"/>
                </a:lnTo>
                <a:lnTo>
                  <a:pt x="561" y="385"/>
                </a:lnTo>
                <a:lnTo>
                  <a:pt x="555" y="380"/>
                </a:lnTo>
                <a:lnTo>
                  <a:pt x="549" y="385"/>
                </a:lnTo>
                <a:lnTo>
                  <a:pt x="544" y="385"/>
                </a:lnTo>
                <a:lnTo>
                  <a:pt x="538" y="385"/>
                </a:lnTo>
                <a:lnTo>
                  <a:pt x="538" y="391"/>
                </a:lnTo>
                <a:lnTo>
                  <a:pt x="532" y="391"/>
                </a:lnTo>
                <a:lnTo>
                  <a:pt x="532" y="397"/>
                </a:lnTo>
                <a:lnTo>
                  <a:pt x="527" y="397"/>
                </a:lnTo>
                <a:lnTo>
                  <a:pt x="521" y="402"/>
                </a:lnTo>
                <a:lnTo>
                  <a:pt x="515" y="408"/>
                </a:lnTo>
                <a:lnTo>
                  <a:pt x="515" y="414"/>
                </a:lnTo>
                <a:lnTo>
                  <a:pt x="510" y="414"/>
                </a:lnTo>
                <a:lnTo>
                  <a:pt x="504" y="414"/>
                </a:lnTo>
                <a:lnTo>
                  <a:pt x="498" y="408"/>
                </a:lnTo>
                <a:lnTo>
                  <a:pt x="493" y="408"/>
                </a:lnTo>
                <a:lnTo>
                  <a:pt x="493" y="402"/>
                </a:lnTo>
                <a:lnTo>
                  <a:pt x="487" y="402"/>
                </a:lnTo>
                <a:lnTo>
                  <a:pt x="481" y="402"/>
                </a:lnTo>
                <a:lnTo>
                  <a:pt x="476" y="397"/>
                </a:lnTo>
                <a:lnTo>
                  <a:pt x="476" y="391"/>
                </a:lnTo>
                <a:lnTo>
                  <a:pt x="464" y="385"/>
                </a:lnTo>
                <a:lnTo>
                  <a:pt x="464" y="380"/>
                </a:lnTo>
                <a:lnTo>
                  <a:pt x="459" y="380"/>
                </a:lnTo>
                <a:lnTo>
                  <a:pt x="459" y="374"/>
                </a:lnTo>
                <a:lnTo>
                  <a:pt x="453" y="374"/>
                </a:lnTo>
                <a:lnTo>
                  <a:pt x="447" y="374"/>
                </a:lnTo>
                <a:lnTo>
                  <a:pt x="447" y="368"/>
                </a:lnTo>
                <a:lnTo>
                  <a:pt x="442" y="363"/>
                </a:lnTo>
                <a:lnTo>
                  <a:pt x="436" y="357"/>
                </a:lnTo>
                <a:lnTo>
                  <a:pt x="442" y="351"/>
                </a:lnTo>
                <a:lnTo>
                  <a:pt x="436" y="351"/>
                </a:lnTo>
                <a:lnTo>
                  <a:pt x="436" y="346"/>
                </a:lnTo>
                <a:lnTo>
                  <a:pt x="436" y="340"/>
                </a:lnTo>
                <a:lnTo>
                  <a:pt x="436" y="334"/>
                </a:lnTo>
                <a:lnTo>
                  <a:pt x="430" y="334"/>
                </a:lnTo>
                <a:lnTo>
                  <a:pt x="419" y="329"/>
                </a:lnTo>
                <a:lnTo>
                  <a:pt x="419" y="323"/>
                </a:lnTo>
                <a:lnTo>
                  <a:pt x="413" y="317"/>
                </a:lnTo>
                <a:lnTo>
                  <a:pt x="408" y="317"/>
                </a:lnTo>
                <a:lnTo>
                  <a:pt x="402" y="317"/>
                </a:lnTo>
                <a:lnTo>
                  <a:pt x="396" y="317"/>
                </a:lnTo>
                <a:lnTo>
                  <a:pt x="391" y="317"/>
                </a:lnTo>
                <a:lnTo>
                  <a:pt x="391" y="323"/>
                </a:lnTo>
                <a:lnTo>
                  <a:pt x="385" y="323"/>
                </a:lnTo>
                <a:lnTo>
                  <a:pt x="379" y="323"/>
                </a:lnTo>
                <a:lnTo>
                  <a:pt x="379" y="329"/>
                </a:lnTo>
                <a:lnTo>
                  <a:pt x="374" y="329"/>
                </a:lnTo>
                <a:lnTo>
                  <a:pt x="374" y="334"/>
                </a:lnTo>
                <a:lnTo>
                  <a:pt x="368" y="334"/>
                </a:lnTo>
                <a:lnTo>
                  <a:pt x="362" y="340"/>
                </a:lnTo>
                <a:lnTo>
                  <a:pt x="362" y="346"/>
                </a:lnTo>
                <a:lnTo>
                  <a:pt x="357" y="346"/>
                </a:lnTo>
                <a:lnTo>
                  <a:pt x="357" y="351"/>
                </a:lnTo>
                <a:lnTo>
                  <a:pt x="357" y="357"/>
                </a:lnTo>
                <a:lnTo>
                  <a:pt x="357" y="363"/>
                </a:lnTo>
                <a:lnTo>
                  <a:pt x="357" y="368"/>
                </a:lnTo>
                <a:lnTo>
                  <a:pt x="351" y="374"/>
                </a:lnTo>
                <a:lnTo>
                  <a:pt x="351" y="380"/>
                </a:lnTo>
                <a:lnTo>
                  <a:pt x="345" y="385"/>
                </a:lnTo>
                <a:lnTo>
                  <a:pt x="340" y="385"/>
                </a:lnTo>
                <a:lnTo>
                  <a:pt x="340" y="391"/>
                </a:lnTo>
                <a:lnTo>
                  <a:pt x="334" y="391"/>
                </a:lnTo>
                <a:lnTo>
                  <a:pt x="334" y="397"/>
                </a:lnTo>
                <a:lnTo>
                  <a:pt x="328" y="397"/>
                </a:lnTo>
                <a:lnTo>
                  <a:pt x="323" y="397"/>
                </a:lnTo>
                <a:lnTo>
                  <a:pt x="323" y="402"/>
                </a:lnTo>
                <a:lnTo>
                  <a:pt x="317" y="402"/>
                </a:lnTo>
                <a:lnTo>
                  <a:pt x="306" y="408"/>
                </a:lnTo>
                <a:lnTo>
                  <a:pt x="294" y="414"/>
                </a:lnTo>
                <a:lnTo>
                  <a:pt x="283" y="414"/>
                </a:lnTo>
                <a:lnTo>
                  <a:pt x="277" y="419"/>
                </a:lnTo>
                <a:lnTo>
                  <a:pt x="266" y="419"/>
                </a:lnTo>
                <a:lnTo>
                  <a:pt x="266" y="425"/>
                </a:lnTo>
                <a:lnTo>
                  <a:pt x="255" y="425"/>
                </a:lnTo>
                <a:lnTo>
                  <a:pt x="249" y="431"/>
                </a:lnTo>
                <a:lnTo>
                  <a:pt x="243" y="431"/>
                </a:lnTo>
                <a:lnTo>
                  <a:pt x="238" y="431"/>
                </a:lnTo>
                <a:lnTo>
                  <a:pt x="238" y="436"/>
                </a:lnTo>
                <a:lnTo>
                  <a:pt x="238" y="442"/>
                </a:lnTo>
                <a:lnTo>
                  <a:pt x="232" y="442"/>
                </a:lnTo>
                <a:lnTo>
                  <a:pt x="226" y="442"/>
                </a:lnTo>
                <a:lnTo>
                  <a:pt x="221" y="448"/>
                </a:lnTo>
                <a:lnTo>
                  <a:pt x="215" y="448"/>
                </a:lnTo>
                <a:lnTo>
                  <a:pt x="209" y="448"/>
                </a:lnTo>
                <a:lnTo>
                  <a:pt x="204" y="448"/>
                </a:lnTo>
                <a:lnTo>
                  <a:pt x="198" y="453"/>
                </a:lnTo>
                <a:lnTo>
                  <a:pt x="192" y="459"/>
                </a:lnTo>
                <a:lnTo>
                  <a:pt x="187" y="459"/>
                </a:lnTo>
                <a:lnTo>
                  <a:pt x="181" y="459"/>
                </a:lnTo>
                <a:lnTo>
                  <a:pt x="175" y="459"/>
                </a:lnTo>
                <a:lnTo>
                  <a:pt x="170" y="459"/>
                </a:lnTo>
                <a:lnTo>
                  <a:pt x="164" y="459"/>
                </a:lnTo>
                <a:lnTo>
                  <a:pt x="158" y="459"/>
                </a:lnTo>
                <a:lnTo>
                  <a:pt x="153" y="459"/>
                </a:lnTo>
                <a:lnTo>
                  <a:pt x="147" y="459"/>
                </a:lnTo>
                <a:lnTo>
                  <a:pt x="141" y="459"/>
                </a:lnTo>
                <a:lnTo>
                  <a:pt x="136" y="459"/>
                </a:lnTo>
                <a:lnTo>
                  <a:pt x="130" y="459"/>
                </a:lnTo>
                <a:lnTo>
                  <a:pt x="124" y="465"/>
                </a:lnTo>
                <a:lnTo>
                  <a:pt x="124" y="470"/>
                </a:lnTo>
                <a:lnTo>
                  <a:pt x="119" y="470"/>
                </a:lnTo>
                <a:lnTo>
                  <a:pt x="113" y="470"/>
                </a:lnTo>
                <a:lnTo>
                  <a:pt x="107" y="476"/>
                </a:lnTo>
                <a:lnTo>
                  <a:pt x="107" y="482"/>
                </a:lnTo>
                <a:lnTo>
                  <a:pt x="102" y="482"/>
                </a:lnTo>
                <a:lnTo>
                  <a:pt x="96" y="482"/>
                </a:lnTo>
                <a:lnTo>
                  <a:pt x="96" y="487"/>
                </a:lnTo>
                <a:lnTo>
                  <a:pt x="90" y="493"/>
                </a:lnTo>
                <a:lnTo>
                  <a:pt x="85" y="493"/>
                </a:lnTo>
                <a:lnTo>
                  <a:pt x="85" y="499"/>
                </a:lnTo>
                <a:lnTo>
                  <a:pt x="73" y="504"/>
                </a:lnTo>
                <a:lnTo>
                  <a:pt x="68" y="510"/>
                </a:lnTo>
                <a:lnTo>
                  <a:pt x="68" y="516"/>
                </a:lnTo>
                <a:lnTo>
                  <a:pt x="62" y="516"/>
                </a:lnTo>
                <a:lnTo>
                  <a:pt x="56" y="516"/>
                </a:lnTo>
                <a:lnTo>
                  <a:pt x="56" y="521"/>
                </a:lnTo>
                <a:lnTo>
                  <a:pt x="51" y="527"/>
                </a:lnTo>
                <a:lnTo>
                  <a:pt x="45" y="521"/>
                </a:lnTo>
                <a:lnTo>
                  <a:pt x="39" y="521"/>
                </a:lnTo>
                <a:lnTo>
                  <a:pt x="28" y="516"/>
                </a:lnTo>
                <a:lnTo>
                  <a:pt x="22" y="521"/>
                </a:lnTo>
                <a:lnTo>
                  <a:pt x="17" y="521"/>
                </a:lnTo>
                <a:lnTo>
                  <a:pt x="17" y="527"/>
                </a:lnTo>
                <a:lnTo>
                  <a:pt x="11" y="533"/>
                </a:lnTo>
                <a:lnTo>
                  <a:pt x="11" y="538"/>
                </a:lnTo>
                <a:lnTo>
                  <a:pt x="5" y="538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1" name="Freeform 12"/>
          <p:cNvSpPr>
            <a:spLocks/>
          </p:cNvSpPr>
          <p:nvPr/>
        </p:nvSpPr>
        <p:spPr bwMode="gray">
          <a:xfrm>
            <a:off x="1372005" y="2259545"/>
            <a:ext cx="2313132" cy="1891862"/>
          </a:xfrm>
          <a:custGeom>
            <a:avLst/>
            <a:gdLst>
              <a:gd name="T0" fmla="*/ 2147483647 w 1366"/>
              <a:gd name="T1" fmla="*/ 2147483647 h 1117"/>
              <a:gd name="T2" fmla="*/ 2147483647 w 1366"/>
              <a:gd name="T3" fmla="*/ 2147483647 h 1117"/>
              <a:gd name="T4" fmla="*/ 2147483647 w 1366"/>
              <a:gd name="T5" fmla="*/ 2147483647 h 1117"/>
              <a:gd name="T6" fmla="*/ 2147483647 w 1366"/>
              <a:gd name="T7" fmla="*/ 2147483647 h 1117"/>
              <a:gd name="T8" fmla="*/ 2147483647 w 1366"/>
              <a:gd name="T9" fmla="*/ 2147483647 h 1117"/>
              <a:gd name="T10" fmla="*/ 2147483647 w 1366"/>
              <a:gd name="T11" fmla="*/ 2147483647 h 1117"/>
              <a:gd name="T12" fmla="*/ 2147483647 w 1366"/>
              <a:gd name="T13" fmla="*/ 2147483647 h 1117"/>
              <a:gd name="T14" fmla="*/ 2147483647 w 1366"/>
              <a:gd name="T15" fmla="*/ 2147483647 h 1117"/>
              <a:gd name="T16" fmla="*/ 2147483647 w 1366"/>
              <a:gd name="T17" fmla="*/ 2147483647 h 1117"/>
              <a:gd name="T18" fmla="*/ 2147483647 w 1366"/>
              <a:gd name="T19" fmla="*/ 2147483647 h 1117"/>
              <a:gd name="T20" fmla="*/ 2147483647 w 1366"/>
              <a:gd name="T21" fmla="*/ 2147483647 h 1117"/>
              <a:gd name="T22" fmla="*/ 2147483647 w 1366"/>
              <a:gd name="T23" fmla="*/ 2147483647 h 1117"/>
              <a:gd name="T24" fmla="*/ 2147483647 w 1366"/>
              <a:gd name="T25" fmla="*/ 2147483647 h 1117"/>
              <a:gd name="T26" fmla="*/ 2147483647 w 1366"/>
              <a:gd name="T27" fmla="*/ 2147483647 h 1117"/>
              <a:gd name="T28" fmla="*/ 2147483647 w 1366"/>
              <a:gd name="T29" fmla="*/ 2147483647 h 1117"/>
              <a:gd name="T30" fmla="*/ 2147483647 w 1366"/>
              <a:gd name="T31" fmla="*/ 2147483647 h 1117"/>
              <a:gd name="T32" fmla="*/ 2147483647 w 1366"/>
              <a:gd name="T33" fmla="*/ 2147483647 h 1117"/>
              <a:gd name="T34" fmla="*/ 2147483647 w 1366"/>
              <a:gd name="T35" fmla="*/ 2147483647 h 1117"/>
              <a:gd name="T36" fmla="*/ 2147483647 w 1366"/>
              <a:gd name="T37" fmla="*/ 2147483647 h 1117"/>
              <a:gd name="T38" fmla="*/ 2147483647 w 1366"/>
              <a:gd name="T39" fmla="*/ 2147483647 h 1117"/>
              <a:gd name="T40" fmla="*/ 2147483647 w 1366"/>
              <a:gd name="T41" fmla="*/ 2147483647 h 1117"/>
              <a:gd name="T42" fmla="*/ 2147483647 w 1366"/>
              <a:gd name="T43" fmla="*/ 0 h 1117"/>
              <a:gd name="T44" fmla="*/ 2147483647 w 1366"/>
              <a:gd name="T45" fmla="*/ 2147483647 h 1117"/>
              <a:gd name="T46" fmla="*/ 2147483647 w 1366"/>
              <a:gd name="T47" fmla="*/ 2147483647 h 1117"/>
              <a:gd name="T48" fmla="*/ 2147483647 w 1366"/>
              <a:gd name="T49" fmla="*/ 2147483647 h 1117"/>
              <a:gd name="T50" fmla="*/ 2147483647 w 1366"/>
              <a:gd name="T51" fmla="*/ 2147483647 h 1117"/>
              <a:gd name="T52" fmla="*/ 2147483647 w 1366"/>
              <a:gd name="T53" fmla="*/ 2147483647 h 1117"/>
              <a:gd name="T54" fmla="*/ 2147483647 w 1366"/>
              <a:gd name="T55" fmla="*/ 2147483647 h 1117"/>
              <a:gd name="T56" fmla="*/ 2147483647 w 1366"/>
              <a:gd name="T57" fmla="*/ 2147483647 h 1117"/>
              <a:gd name="T58" fmla="*/ 2147483647 w 1366"/>
              <a:gd name="T59" fmla="*/ 2147483647 h 1117"/>
              <a:gd name="T60" fmla="*/ 2147483647 w 1366"/>
              <a:gd name="T61" fmla="*/ 2147483647 h 1117"/>
              <a:gd name="T62" fmla="*/ 2147483647 w 1366"/>
              <a:gd name="T63" fmla="*/ 2147483647 h 1117"/>
              <a:gd name="T64" fmla="*/ 2147483647 w 1366"/>
              <a:gd name="T65" fmla="*/ 2147483647 h 1117"/>
              <a:gd name="T66" fmla="*/ 2147483647 w 1366"/>
              <a:gd name="T67" fmla="*/ 2147483647 h 1117"/>
              <a:gd name="T68" fmla="*/ 2147483647 w 1366"/>
              <a:gd name="T69" fmla="*/ 2147483647 h 1117"/>
              <a:gd name="T70" fmla="*/ 2147483647 w 1366"/>
              <a:gd name="T71" fmla="*/ 2147483647 h 1117"/>
              <a:gd name="T72" fmla="*/ 2147483647 w 1366"/>
              <a:gd name="T73" fmla="*/ 2147483647 h 1117"/>
              <a:gd name="T74" fmla="*/ 2147483647 w 1366"/>
              <a:gd name="T75" fmla="*/ 2147483647 h 1117"/>
              <a:gd name="T76" fmla="*/ 2147483647 w 1366"/>
              <a:gd name="T77" fmla="*/ 2147483647 h 1117"/>
              <a:gd name="T78" fmla="*/ 2147483647 w 1366"/>
              <a:gd name="T79" fmla="*/ 2147483647 h 1117"/>
              <a:gd name="T80" fmla="*/ 2147483647 w 1366"/>
              <a:gd name="T81" fmla="*/ 2147483647 h 1117"/>
              <a:gd name="T82" fmla="*/ 2147483647 w 1366"/>
              <a:gd name="T83" fmla="*/ 2147483647 h 1117"/>
              <a:gd name="T84" fmla="*/ 2147483647 w 1366"/>
              <a:gd name="T85" fmla="*/ 2147483647 h 1117"/>
              <a:gd name="T86" fmla="*/ 2147483647 w 1366"/>
              <a:gd name="T87" fmla="*/ 2147483647 h 1117"/>
              <a:gd name="T88" fmla="*/ 2147483647 w 1366"/>
              <a:gd name="T89" fmla="*/ 2147483647 h 1117"/>
              <a:gd name="T90" fmla="*/ 2147483647 w 1366"/>
              <a:gd name="T91" fmla="*/ 2147483647 h 1117"/>
              <a:gd name="T92" fmla="*/ 2147483647 w 1366"/>
              <a:gd name="T93" fmla="*/ 2147483647 h 1117"/>
              <a:gd name="T94" fmla="*/ 2147483647 w 1366"/>
              <a:gd name="T95" fmla="*/ 2147483647 h 1117"/>
              <a:gd name="T96" fmla="*/ 2147483647 w 1366"/>
              <a:gd name="T97" fmla="*/ 2147483647 h 1117"/>
              <a:gd name="T98" fmla="*/ 2147483647 w 1366"/>
              <a:gd name="T99" fmla="*/ 2147483647 h 1117"/>
              <a:gd name="T100" fmla="*/ 2147483647 w 1366"/>
              <a:gd name="T101" fmla="*/ 2147483647 h 1117"/>
              <a:gd name="T102" fmla="*/ 2147483647 w 1366"/>
              <a:gd name="T103" fmla="*/ 2147483647 h 1117"/>
              <a:gd name="T104" fmla="*/ 2147483647 w 1366"/>
              <a:gd name="T105" fmla="*/ 2147483647 h 1117"/>
              <a:gd name="T106" fmla="*/ 2147483647 w 1366"/>
              <a:gd name="T107" fmla="*/ 2147483647 h 1117"/>
              <a:gd name="T108" fmla="*/ 2147483647 w 1366"/>
              <a:gd name="T109" fmla="*/ 2147483647 h 1117"/>
              <a:gd name="T110" fmla="*/ 2147483647 w 1366"/>
              <a:gd name="T111" fmla="*/ 2147483647 h 1117"/>
              <a:gd name="T112" fmla="*/ 2147483647 w 1366"/>
              <a:gd name="T113" fmla="*/ 2147483647 h 1117"/>
              <a:gd name="T114" fmla="*/ 2147483647 w 1366"/>
              <a:gd name="T115" fmla="*/ 2147483647 h 1117"/>
              <a:gd name="T116" fmla="*/ 2147483647 w 1366"/>
              <a:gd name="T117" fmla="*/ 2147483647 h 1117"/>
              <a:gd name="T118" fmla="*/ 2147483647 w 1366"/>
              <a:gd name="T119" fmla="*/ 2147483647 h 111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366"/>
              <a:gd name="T181" fmla="*/ 0 h 1117"/>
              <a:gd name="T182" fmla="*/ 1366 w 1366"/>
              <a:gd name="T183" fmla="*/ 1117 h 111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366" h="1117">
                <a:moveTo>
                  <a:pt x="17" y="448"/>
                </a:moveTo>
                <a:lnTo>
                  <a:pt x="23" y="442"/>
                </a:lnTo>
                <a:lnTo>
                  <a:pt x="28" y="442"/>
                </a:lnTo>
                <a:lnTo>
                  <a:pt x="34" y="437"/>
                </a:lnTo>
                <a:lnTo>
                  <a:pt x="34" y="431"/>
                </a:lnTo>
                <a:lnTo>
                  <a:pt x="34" y="425"/>
                </a:lnTo>
                <a:lnTo>
                  <a:pt x="34" y="420"/>
                </a:lnTo>
                <a:lnTo>
                  <a:pt x="34" y="414"/>
                </a:lnTo>
                <a:lnTo>
                  <a:pt x="28" y="414"/>
                </a:lnTo>
                <a:lnTo>
                  <a:pt x="23" y="414"/>
                </a:lnTo>
                <a:lnTo>
                  <a:pt x="17" y="403"/>
                </a:lnTo>
                <a:lnTo>
                  <a:pt x="11" y="403"/>
                </a:lnTo>
                <a:lnTo>
                  <a:pt x="6" y="391"/>
                </a:lnTo>
                <a:lnTo>
                  <a:pt x="0" y="380"/>
                </a:lnTo>
                <a:lnTo>
                  <a:pt x="11" y="363"/>
                </a:lnTo>
                <a:lnTo>
                  <a:pt x="11" y="352"/>
                </a:lnTo>
                <a:lnTo>
                  <a:pt x="17" y="346"/>
                </a:lnTo>
                <a:lnTo>
                  <a:pt x="17" y="340"/>
                </a:lnTo>
                <a:lnTo>
                  <a:pt x="23" y="340"/>
                </a:lnTo>
                <a:lnTo>
                  <a:pt x="23" y="329"/>
                </a:lnTo>
                <a:lnTo>
                  <a:pt x="17" y="329"/>
                </a:lnTo>
                <a:lnTo>
                  <a:pt x="23" y="329"/>
                </a:lnTo>
                <a:lnTo>
                  <a:pt x="23" y="323"/>
                </a:lnTo>
                <a:lnTo>
                  <a:pt x="34" y="323"/>
                </a:lnTo>
                <a:lnTo>
                  <a:pt x="40" y="317"/>
                </a:lnTo>
                <a:lnTo>
                  <a:pt x="51" y="323"/>
                </a:lnTo>
                <a:lnTo>
                  <a:pt x="57" y="323"/>
                </a:lnTo>
                <a:lnTo>
                  <a:pt x="62" y="329"/>
                </a:lnTo>
                <a:lnTo>
                  <a:pt x="68" y="329"/>
                </a:lnTo>
                <a:lnTo>
                  <a:pt x="68" y="334"/>
                </a:lnTo>
                <a:lnTo>
                  <a:pt x="74" y="334"/>
                </a:lnTo>
                <a:lnTo>
                  <a:pt x="79" y="323"/>
                </a:lnTo>
                <a:lnTo>
                  <a:pt x="79" y="317"/>
                </a:lnTo>
                <a:lnTo>
                  <a:pt x="79" y="312"/>
                </a:lnTo>
                <a:lnTo>
                  <a:pt x="79" y="306"/>
                </a:lnTo>
                <a:lnTo>
                  <a:pt x="79" y="300"/>
                </a:lnTo>
                <a:lnTo>
                  <a:pt x="85" y="289"/>
                </a:lnTo>
                <a:lnTo>
                  <a:pt x="91" y="278"/>
                </a:lnTo>
                <a:lnTo>
                  <a:pt x="96" y="272"/>
                </a:lnTo>
                <a:lnTo>
                  <a:pt x="96" y="266"/>
                </a:lnTo>
                <a:lnTo>
                  <a:pt x="96" y="261"/>
                </a:lnTo>
                <a:lnTo>
                  <a:pt x="96" y="249"/>
                </a:lnTo>
                <a:lnTo>
                  <a:pt x="96" y="244"/>
                </a:lnTo>
                <a:lnTo>
                  <a:pt x="96" y="238"/>
                </a:lnTo>
                <a:lnTo>
                  <a:pt x="96" y="232"/>
                </a:lnTo>
                <a:lnTo>
                  <a:pt x="96" y="227"/>
                </a:lnTo>
                <a:lnTo>
                  <a:pt x="91" y="227"/>
                </a:lnTo>
                <a:lnTo>
                  <a:pt x="85" y="221"/>
                </a:lnTo>
                <a:lnTo>
                  <a:pt x="79" y="215"/>
                </a:lnTo>
                <a:lnTo>
                  <a:pt x="74" y="210"/>
                </a:lnTo>
                <a:lnTo>
                  <a:pt x="74" y="204"/>
                </a:lnTo>
                <a:lnTo>
                  <a:pt x="68" y="198"/>
                </a:lnTo>
                <a:lnTo>
                  <a:pt x="68" y="193"/>
                </a:lnTo>
                <a:lnTo>
                  <a:pt x="62" y="193"/>
                </a:lnTo>
                <a:lnTo>
                  <a:pt x="62" y="187"/>
                </a:lnTo>
                <a:lnTo>
                  <a:pt x="62" y="181"/>
                </a:lnTo>
                <a:lnTo>
                  <a:pt x="62" y="176"/>
                </a:lnTo>
                <a:lnTo>
                  <a:pt x="68" y="164"/>
                </a:lnTo>
                <a:lnTo>
                  <a:pt x="68" y="159"/>
                </a:lnTo>
                <a:lnTo>
                  <a:pt x="68" y="153"/>
                </a:lnTo>
                <a:lnTo>
                  <a:pt x="68" y="147"/>
                </a:lnTo>
                <a:lnTo>
                  <a:pt x="68" y="142"/>
                </a:lnTo>
                <a:lnTo>
                  <a:pt x="68" y="136"/>
                </a:lnTo>
                <a:lnTo>
                  <a:pt x="62" y="125"/>
                </a:lnTo>
                <a:lnTo>
                  <a:pt x="62" y="119"/>
                </a:lnTo>
                <a:lnTo>
                  <a:pt x="57" y="113"/>
                </a:lnTo>
                <a:lnTo>
                  <a:pt x="51" y="113"/>
                </a:lnTo>
                <a:lnTo>
                  <a:pt x="51" y="108"/>
                </a:lnTo>
                <a:lnTo>
                  <a:pt x="51" y="102"/>
                </a:lnTo>
                <a:lnTo>
                  <a:pt x="51" y="96"/>
                </a:lnTo>
                <a:lnTo>
                  <a:pt x="51" y="91"/>
                </a:lnTo>
                <a:lnTo>
                  <a:pt x="62" y="85"/>
                </a:lnTo>
                <a:lnTo>
                  <a:pt x="68" y="91"/>
                </a:lnTo>
                <a:lnTo>
                  <a:pt x="68" y="96"/>
                </a:lnTo>
                <a:lnTo>
                  <a:pt x="74" y="96"/>
                </a:lnTo>
                <a:lnTo>
                  <a:pt x="79" y="96"/>
                </a:lnTo>
                <a:lnTo>
                  <a:pt x="79" y="102"/>
                </a:lnTo>
                <a:lnTo>
                  <a:pt x="85" y="102"/>
                </a:lnTo>
                <a:lnTo>
                  <a:pt x="85" y="108"/>
                </a:lnTo>
                <a:lnTo>
                  <a:pt x="91" y="108"/>
                </a:lnTo>
                <a:lnTo>
                  <a:pt x="96" y="108"/>
                </a:lnTo>
                <a:lnTo>
                  <a:pt x="102" y="108"/>
                </a:lnTo>
                <a:lnTo>
                  <a:pt x="102" y="113"/>
                </a:lnTo>
                <a:lnTo>
                  <a:pt x="108" y="113"/>
                </a:lnTo>
                <a:lnTo>
                  <a:pt x="113" y="113"/>
                </a:lnTo>
                <a:lnTo>
                  <a:pt x="113" y="119"/>
                </a:lnTo>
                <a:lnTo>
                  <a:pt x="125" y="125"/>
                </a:lnTo>
                <a:lnTo>
                  <a:pt x="136" y="130"/>
                </a:lnTo>
                <a:lnTo>
                  <a:pt x="153" y="130"/>
                </a:lnTo>
                <a:lnTo>
                  <a:pt x="159" y="130"/>
                </a:lnTo>
                <a:lnTo>
                  <a:pt x="164" y="130"/>
                </a:lnTo>
                <a:lnTo>
                  <a:pt x="170" y="130"/>
                </a:lnTo>
                <a:lnTo>
                  <a:pt x="181" y="130"/>
                </a:lnTo>
                <a:lnTo>
                  <a:pt x="187" y="130"/>
                </a:lnTo>
                <a:lnTo>
                  <a:pt x="193" y="125"/>
                </a:lnTo>
                <a:lnTo>
                  <a:pt x="198" y="125"/>
                </a:lnTo>
                <a:lnTo>
                  <a:pt x="204" y="119"/>
                </a:lnTo>
                <a:lnTo>
                  <a:pt x="210" y="119"/>
                </a:lnTo>
                <a:lnTo>
                  <a:pt x="215" y="119"/>
                </a:lnTo>
                <a:lnTo>
                  <a:pt x="221" y="119"/>
                </a:lnTo>
                <a:lnTo>
                  <a:pt x="221" y="125"/>
                </a:lnTo>
                <a:lnTo>
                  <a:pt x="227" y="125"/>
                </a:lnTo>
                <a:lnTo>
                  <a:pt x="232" y="125"/>
                </a:lnTo>
                <a:lnTo>
                  <a:pt x="238" y="125"/>
                </a:lnTo>
                <a:lnTo>
                  <a:pt x="244" y="125"/>
                </a:lnTo>
                <a:lnTo>
                  <a:pt x="244" y="130"/>
                </a:lnTo>
                <a:lnTo>
                  <a:pt x="249" y="130"/>
                </a:lnTo>
                <a:lnTo>
                  <a:pt x="255" y="136"/>
                </a:lnTo>
                <a:lnTo>
                  <a:pt x="255" y="142"/>
                </a:lnTo>
                <a:lnTo>
                  <a:pt x="261" y="142"/>
                </a:lnTo>
                <a:lnTo>
                  <a:pt x="266" y="142"/>
                </a:lnTo>
                <a:lnTo>
                  <a:pt x="266" y="147"/>
                </a:lnTo>
                <a:lnTo>
                  <a:pt x="266" y="153"/>
                </a:lnTo>
                <a:lnTo>
                  <a:pt x="272" y="153"/>
                </a:lnTo>
                <a:lnTo>
                  <a:pt x="272" y="159"/>
                </a:lnTo>
                <a:lnTo>
                  <a:pt x="278" y="159"/>
                </a:lnTo>
                <a:lnTo>
                  <a:pt x="283" y="164"/>
                </a:lnTo>
                <a:lnTo>
                  <a:pt x="289" y="164"/>
                </a:lnTo>
                <a:lnTo>
                  <a:pt x="295" y="170"/>
                </a:lnTo>
                <a:lnTo>
                  <a:pt x="300" y="170"/>
                </a:lnTo>
                <a:lnTo>
                  <a:pt x="300" y="176"/>
                </a:lnTo>
                <a:lnTo>
                  <a:pt x="312" y="176"/>
                </a:lnTo>
                <a:lnTo>
                  <a:pt x="317" y="176"/>
                </a:lnTo>
                <a:lnTo>
                  <a:pt x="323" y="176"/>
                </a:lnTo>
                <a:lnTo>
                  <a:pt x="323" y="181"/>
                </a:lnTo>
                <a:lnTo>
                  <a:pt x="329" y="181"/>
                </a:lnTo>
                <a:lnTo>
                  <a:pt x="334" y="181"/>
                </a:lnTo>
                <a:lnTo>
                  <a:pt x="340" y="181"/>
                </a:lnTo>
                <a:lnTo>
                  <a:pt x="346" y="181"/>
                </a:lnTo>
                <a:lnTo>
                  <a:pt x="351" y="181"/>
                </a:lnTo>
                <a:lnTo>
                  <a:pt x="357" y="181"/>
                </a:lnTo>
                <a:lnTo>
                  <a:pt x="363" y="181"/>
                </a:lnTo>
                <a:lnTo>
                  <a:pt x="368" y="176"/>
                </a:lnTo>
                <a:lnTo>
                  <a:pt x="368" y="170"/>
                </a:lnTo>
                <a:lnTo>
                  <a:pt x="374" y="170"/>
                </a:lnTo>
                <a:lnTo>
                  <a:pt x="380" y="170"/>
                </a:lnTo>
                <a:lnTo>
                  <a:pt x="380" y="164"/>
                </a:lnTo>
                <a:lnTo>
                  <a:pt x="385" y="164"/>
                </a:lnTo>
                <a:lnTo>
                  <a:pt x="397" y="164"/>
                </a:lnTo>
                <a:lnTo>
                  <a:pt x="402" y="164"/>
                </a:lnTo>
                <a:lnTo>
                  <a:pt x="408" y="164"/>
                </a:lnTo>
                <a:lnTo>
                  <a:pt x="408" y="170"/>
                </a:lnTo>
                <a:lnTo>
                  <a:pt x="408" y="176"/>
                </a:lnTo>
                <a:lnTo>
                  <a:pt x="408" y="181"/>
                </a:lnTo>
                <a:lnTo>
                  <a:pt x="408" y="187"/>
                </a:lnTo>
                <a:lnTo>
                  <a:pt x="408" y="204"/>
                </a:lnTo>
                <a:lnTo>
                  <a:pt x="408" y="221"/>
                </a:lnTo>
                <a:lnTo>
                  <a:pt x="408" y="232"/>
                </a:lnTo>
                <a:lnTo>
                  <a:pt x="402" y="232"/>
                </a:lnTo>
                <a:lnTo>
                  <a:pt x="402" y="238"/>
                </a:lnTo>
                <a:lnTo>
                  <a:pt x="397" y="238"/>
                </a:lnTo>
                <a:lnTo>
                  <a:pt x="397" y="244"/>
                </a:lnTo>
                <a:lnTo>
                  <a:pt x="397" y="249"/>
                </a:lnTo>
                <a:lnTo>
                  <a:pt x="391" y="249"/>
                </a:lnTo>
                <a:lnTo>
                  <a:pt x="385" y="255"/>
                </a:lnTo>
                <a:lnTo>
                  <a:pt x="385" y="261"/>
                </a:lnTo>
                <a:lnTo>
                  <a:pt x="380" y="261"/>
                </a:lnTo>
                <a:lnTo>
                  <a:pt x="374" y="261"/>
                </a:lnTo>
                <a:lnTo>
                  <a:pt x="368" y="266"/>
                </a:lnTo>
                <a:lnTo>
                  <a:pt x="363" y="266"/>
                </a:lnTo>
                <a:lnTo>
                  <a:pt x="357" y="272"/>
                </a:lnTo>
                <a:lnTo>
                  <a:pt x="351" y="278"/>
                </a:lnTo>
                <a:lnTo>
                  <a:pt x="346" y="278"/>
                </a:lnTo>
                <a:lnTo>
                  <a:pt x="346" y="283"/>
                </a:lnTo>
                <a:lnTo>
                  <a:pt x="340" y="283"/>
                </a:lnTo>
                <a:lnTo>
                  <a:pt x="340" y="289"/>
                </a:lnTo>
                <a:lnTo>
                  <a:pt x="334" y="295"/>
                </a:lnTo>
                <a:lnTo>
                  <a:pt x="329" y="295"/>
                </a:lnTo>
                <a:lnTo>
                  <a:pt x="329" y="300"/>
                </a:lnTo>
                <a:lnTo>
                  <a:pt x="329" y="306"/>
                </a:lnTo>
                <a:lnTo>
                  <a:pt x="329" y="312"/>
                </a:lnTo>
                <a:lnTo>
                  <a:pt x="323" y="323"/>
                </a:lnTo>
                <a:lnTo>
                  <a:pt x="323" y="329"/>
                </a:lnTo>
                <a:lnTo>
                  <a:pt x="323" y="340"/>
                </a:lnTo>
                <a:lnTo>
                  <a:pt x="323" y="346"/>
                </a:lnTo>
                <a:lnTo>
                  <a:pt x="323" y="352"/>
                </a:lnTo>
                <a:lnTo>
                  <a:pt x="329" y="357"/>
                </a:lnTo>
                <a:lnTo>
                  <a:pt x="329" y="363"/>
                </a:lnTo>
                <a:lnTo>
                  <a:pt x="329" y="369"/>
                </a:lnTo>
                <a:lnTo>
                  <a:pt x="329" y="374"/>
                </a:lnTo>
                <a:lnTo>
                  <a:pt x="334" y="374"/>
                </a:lnTo>
                <a:lnTo>
                  <a:pt x="340" y="380"/>
                </a:lnTo>
                <a:lnTo>
                  <a:pt x="340" y="386"/>
                </a:lnTo>
                <a:lnTo>
                  <a:pt x="346" y="386"/>
                </a:lnTo>
                <a:lnTo>
                  <a:pt x="351" y="391"/>
                </a:lnTo>
                <a:lnTo>
                  <a:pt x="351" y="397"/>
                </a:lnTo>
                <a:lnTo>
                  <a:pt x="351" y="403"/>
                </a:lnTo>
                <a:lnTo>
                  <a:pt x="351" y="408"/>
                </a:lnTo>
                <a:lnTo>
                  <a:pt x="351" y="414"/>
                </a:lnTo>
                <a:lnTo>
                  <a:pt x="351" y="420"/>
                </a:lnTo>
                <a:lnTo>
                  <a:pt x="351" y="425"/>
                </a:lnTo>
                <a:lnTo>
                  <a:pt x="357" y="431"/>
                </a:lnTo>
                <a:lnTo>
                  <a:pt x="368" y="431"/>
                </a:lnTo>
                <a:lnTo>
                  <a:pt x="374" y="431"/>
                </a:lnTo>
                <a:lnTo>
                  <a:pt x="380" y="431"/>
                </a:lnTo>
                <a:lnTo>
                  <a:pt x="385" y="431"/>
                </a:lnTo>
                <a:lnTo>
                  <a:pt x="391" y="425"/>
                </a:lnTo>
                <a:lnTo>
                  <a:pt x="397" y="425"/>
                </a:lnTo>
                <a:lnTo>
                  <a:pt x="397" y="420"/>
                </a:lnTo>
                <a:lnTo>
                  <a:pt x="397" y="414"/>
                </a:lnTo>
                <a:lnTo>
                  <a:pt x="397" y="403"/>
                </a:lnTo>
                <a:lnTo>
                  <a:pt x="397" y="397"/>
                </a:lnTo>
                <a:lnTo>
                  <a:pt x="397" y="391"/>
                </a:lnTo>
                <a:lnTo>
                  <a:pt x="397" y="386"/>
                </a:lnTo>
                <a:lnTo>
                  <a:pt x="402" y="386"/>
                </a:lnTo>
                <a:lnTo>
                  <a:pt x="402" y="380"/>
                </a:lnTo>
                <a:lnTo>
                  <a:pt x="408" y="380"/>
                </a:lnTo>
                <a:lnTo>
                  <a:pt x="414" y="380"/>
                </a:lnTo>
                <a:lnTo>
                  <a:pt x="431" y="386"/>
                </a:lnTo>
                <a:lnTo>
                  <a:pt x="436" y="386"/>
                </a:lnTo>
                <a:lnTo>
                  <a:pt x="442" y="386"/>
                </a:lnTo>
                <a:lnTo>
                  <a:pt x="448" y="386"/>
                </a:lnTo>
                <a:lnTo>
                  <a:pt x="453" y="386"/>
                </a:lnTo>
                <a:lnTo>
                  <a:pt x="459" y="386"/>
                </a:lnTo>
                <a:lnTo>
                  <a:pt x="465" y="386"/>
                </a:lnTo>
                <a:lnTo>
                  <a:pt x="471" y="386"/>
                </a:lnTo>
                <a:lnTo>
                  <a:pt x="471" y="380"/>
                </a:lnTo>
                <a:lnTo>
                  <a:pt x="476" y="380"/>
                </a:lnTo>
                <a:lnTo>
                  <a:pt x="482" y="374"/>
                </a:lnTo>
                <a:lnTo>
                  <a:pt x="482" y="369"/>
                </a:lnTo>
                <a:lnTo>
                  <a:pt x="482" y="363"/>
                </a:lnTo>
                <a:lnTo>
                  <a:pt x="482" y="357"/>
                </a:lnTo>
                <a:lnTo>
                  <a:pt x="482" y="352"/>
                </a:lnTo>
                <a:lnTo>
                  <a:pt x="482" y="346"/>
                </a:lnTo>
                <a:lnTo>
                  <a:pt x="476" y="346"/>
                </a:lnTo>
                <a:lnTo>
                  <a:pt x="471" y="340"/>
                </a:lnTo>
                <a:lnTo>
                  <a:pt x="471" y="329"/>
                </a:lnTo>
                <a:lnTo>
                  <a:pt x="471" y="323"/>
                </a:lnTo>
                <a:lnTo>
                  <a:pt x="465" y="323"/>
                </a:lnTo>
                <a:lnTo>
                  <a:pt x="465" y="317"/>
                </a:lnTo>
                <a:lnTo>
                  <a:pt x="459" y="317"/>
                </a:lnTo>
                <a:lnTo>
                  <a:pt x="453" y="317"/>
                </a:lnTo>
                <a:lnTo>
                  <a:pt x="453" y="312"/>
                </a:lnTo>
                <a:lnTo>
                  <a:pt x="453" y="306"/>
                </a:lnTo>
                <a:lnTo>
                  <a:pt x="453" y="300"/>
                </a:lnTo>
                <a:lnTo>
                  <a:pt x="453" y="289"/>
                </a:lnTo>
                <a:lnTo>
                  <a:pt x="453" y="278"/>
                </a:lnTo>
                <a:lnTo>
                  <a:pt x="453" y="266"/>
                </a:lnTo>
                <a:lnTo>
                  <a:pt x="453" y="261"/>
                </a:lnTo>
                <a:lnTo>
                  <a:pt x="448" y="255"/>
                </a:lnTo>
                <a:lnTo>
                  <a:pt x="442" y="244"/>
                </a:lnTo>
                <a:lnTo>
                  <a:pt x="442" y="232"/>
                </a:lnTo>
                <a:lnTo>
                  <a:pt x="442" y="221"/>
                </a:lnTo>
                <a:lnTo>
                  <a:pt x="442" y="215"/>
                </a:lnTo>
                <a:lnTo>
                  <a:pt x="448" y="215"/>
                </a:lnTo>
                <a:lnTo>
                  <a:pt x="453" y="221"/>
                </a:lnTo>
                <a:lnTo>
                  <a:pt x="459" y="221"/>
                </a:lnTo>
                <a:lnTo>
                  <a:pt x="465" y="221"/>
                </a:lnTo>
                <a:lnTo>
                  <a:pt x="471" y="227"/>
                </a:lnTo>
                <a:lnTo>
                  <a:pt x="482" y="227"/>
                </a:lnTo>
                <a:lnTo>
                  <a:pt x="493" y="221"/>
                </a:lnTo>
                <a:lnTo>
                  <a:pt x="505" y="221"/>
                </a:lnTo>
                <a:lnTo>
                  <a:pt x="510" y="221"/>
                </a:lnTo>
                <a:lnTo>
                  <a:pt x="510" y="215"/>
                </a:lnTo>
                <a:lnTo>
                  <a:pt x="516" y="215"/>
                </a:lnTo>
                <a:lnTo>
                  <a:pt x="522" y="210"/>
                </a:lnTo>
                <a:lnTo>
                  <a:pt x="527" y="210"/>
                </a:lnTo>
                <a:lnTo>
                  <a:pt x="539" y="210"/>
                </a:lnTo>
                <a:lnTo>
                  <a:pt x="550" y="204"/>
                </a:lnTo>
                <a:lnTo>
                  <a:pt x="550" y="198"/>
                </a:lnTo>
                <a:lnTo>
                  <a:pt x="556" y="198"/>
                </a:lnTo>
                <a:lnTo>
                  <a:pt x="556" y="193"/>
                </a:lnTo>
                <a:lnTo>
                  <a:pt x="556" y="187"/>
                </a:lnTo>
                <a:lnTo>
                  <a:pt x="550" y="181"/>
                </a:lnTo>
                <a:lnTo>
                  <a:pt x="544" y="181"/>
                </a:lnTo>
                <a:lnTo>
                  <a:pt x="539" y="181"/>
                </a:lnTo>
                <a:lnTo>
                  <a:pt x="539" y="176"/>
                </a:lnTo>
                <a:lnTo>
                  <a:pt x="533" y="176"/>
                </a:lnTo>
                <a:lnTo>
                  <a:pt x="527" y="176"/>
                </a:lnTo>
                <a:lnTo>
                  <a:pt x="527" y="170"/>
                </a:lnTo>
                <a:lnTo>
                  <a:pt x="522" y="170"/>
                </a:lnTo>
                <a:lnTo>
                  <a:pt x="522" y="164"/>
                </a:lnTo>
                <a:lnTo>
                  <a:pt x="527" y="164"/>
                </a:lnTo>
                <a:lnTo>
                  <a:pt x="533" y="164"/>
                </a:lnTo>
                <a:lnTo>
                  <a:pt x="533" y="153"/>
                </a:lnTo>
                <a:lnTo>
                  <a:pt x="539" y="147"/>
                </a:lnTo>
                <a:lnTo>
                  <a:pt x="539" y="142"/>
                </a:lnTo>
                <a:lnTo>
                  <a:pt x="539" y="136"/>
                </a:lnTo>
                <a:lnTo>
                  <a:pt x="533" y="125"/>
                </a:lnTo>
                <a:lnTo>
                  <a:pt x="533" y="113"/>
                </a:lnTo>
                <a:lnTo>
                  <a:pt x="533" y="108"/>
                </a:lnTo>
                <a:lnTo>
                  <a:pt x="527" y="108"/>
                </a:lnTo>
                <a:lnTo>
                  <a:pt x="527" y="102"/>
                </a:lnTo>
                <a:lnTo>
                  <a:pt x="522" y="102"/>
                </a:lnTo>
                <a:lnTo>
                  <a:pt x="522" y="96"/>
                </a:lnTo>
                <a:lnTo>
                  <a:pt x="516" y="96"/>
                </a:lnTo>
                <a:lnTo>
                  <a:pt x="505" y="96"/>
                </a:lnTo>
                <a:lnTo>
                  <a:pt x="493" y="96"/>
                </a:lnTo>
                <a:lnTo>
                  <a:pt x="488" y="96"/>
                </a:lnTo>
                <a:lnTo>
                  <a:pt x="482" y="96"/>
                </a:lnTo>
                <a:lnTo>
                  <a:pt x="482" y="91"/>
                </a:lnTo>
                <a:lnTo>
                  <a:pt x="476" y="85"/>
                </a:lnTo>
                <a:lnTo>
                  <a:pt x="471" y="79"/>
                </a:lnTo>
                <a:lnTo>
                  <a:pt x="465" y="79"/>
                </a:lnTo>
                <a:lnTo>
                  <a:pt x="459" y="79"/>
                </a:lnTo>
                <a:lnTo>
                  <a:pt x="453" y="74"/>
                </a:lnTo>
                <a:lnTo>
                  <a:pt x="448" y="68"/>
                </a:lnTo>
                <a:lnTo>
                  <a:pt x="442" y="68"/>
                </a:lnTo>
                <a:lnTo>
                  <a:pt x="436" y="62"/>
                </a:lnTo>
                <a:lnTo>
                  <a:pt x="436" y="57"/>
                </a:lnTo>
                <a:lnTo>
                  <a:pt x="425" y="57"/>
                </a:lnTo>
                <a:lnTo>
                  <a:pt x="425" y="51"/>
                </a:lnTo>
                <a:lnTo>
                  <a:pt x="419" y="51"/>
                </a:lnTo>
                <a:lnTo>
                  <a:pt x="419" y="45"/>
                </a:lnTo>
                <a:lnTo>
                  <a:pt x="419" y="40"/>
                </a:lnTo>
                <a:lnTo>
                  <a:pt x="419" y="34"/>
                </a:lnTo>
                <a:lnTo>
                  <a:pt x="425" y="34"/>
                </a:lnTo>
                <a:lnTo>
                  <a:pt x="431" y="28"/>
                </a:lnTo>
                <a:lnTo>
                  <a:pt x="436" y="28"/>
                </a:lnTo>
                <a:lnTo>
                  <a:pt x="442" y="28"/>
                </a:lnTo>
                <a:lnTo>
                  <a:pt x="442" y="23"/>
                </a:lnTo>
                <a:lnTo>
                  <a:pt x="448" y="23"/>
                </a:lnTo>
                <a:lnTo>
                  <a:pt x="448" y="17"/>
                </a:lnTo>
                <a:lnTo>
                  <a:pt x="453" y="17"/>
                </a:lnTo>
                <a:lnTo>
                  <a:pt x="459" y="17"/>
                </a:lnTo>
                <a:lnTo>
                  <a:pt x="465" y="17"/>
                </a:lnTo>
                <a:lnTo>
                  <a:pt x="465" y="11"/>
                </a:lnTo>
                <a:lnTo>
                  <a:pt x="476" y="11"/>
                </a:lnTo>
                <a:lnTo>
                  <a:pt x="505" y="11"/>
                </a:lnTo>
                <a:lnTo>
                  <a:pt x="510" y="6"/>
                </a:lnTo>
                <a:lnTo>
                  <a:pt x="522" y="6"/>
                </a:lnTo>
                <a:lnTo>
                  <a:pt x="533" y="0"/>
                </a:lnTo>
                <a:lnTo>
                  <a:pt x="539" y="0"/>
                </a:lnTo>
                <a:lnTo>
                  <a:pt x="561" y="0"/>
                </a:lnTo>
                <a:lnTo>
                  <a:pt x="573" y="0"/>
                </a:lnTo>
                <a:lnTo>
                  <a:pt x="578" y="0"/>
                </a:lnTo>
                <a:lnTo>
                  <a:pt x="584" y="0"/>
                </a:lnTo>
                <a:lnTo>
                  <a:pt x="590" y="0"/>
                </a:lnTo>
                <a:lnTo>
                  <a:pt x="601" y="0"/>
                </a:lnTo>
                <a:lnTo>
                  <a:pt x="607" y="0"/>
                </a:lnTo>
                <a:lnTo>
                  <a:pt x="612" y="6"/>
                </a:lnTo>
                <a:lnTo>
                  <a:pt x="618" y="6"/>
                </a:lnTo>
                <a:lnTo>
                  <a:pt x="624" y="11"/>
                </a:lnTo>
                <a:lnTo>
                  <a:pt x="624" y="17"/>
                </a:lnTo>
                <a:lnTo>
                  <a:pt x="629" y="17"/>
                </a:lnTo>
                <a:lnTo>
                  <a:pt x="635" y="28"/>
                </a:lnTo>
                <a:lnTo>
                  <a:pt x="635" y="34"/>
                </a:lnTo>
                <a:lnTo>
                  <a:pt x="635" y="40"/>
                </a:lnTo>
                <a:lnTo>
                  <a:pt x="635" y="45"/>
                </a:lnTo>
                <a:lnTo>
                  <a:pt x="641" y="51"/>
                </a:lnTo>
                <a:lnTo>
                  <a:pt x="641" y="57"/>
                </a:lnTo>
                <a:lnTo>
                  <a:pt x="646" y="68"/>
                </a:lnTo>
                <a:lnTo>
                  <a:pt x="646" y="79"/>
                </a:lnTo>
                <a:lnTo>
                  <a:pt x="646" y="91"/>
                </a:lnTo>
                <a:lnTo>
                  <a:pt x="652" y="96"/>
                </a:lnTo>
                <a:lnTo>
                  <a:pt x="652" y="108"/>
                </a:lnTo>
                <a:lnTo>
                  <a:pt x="663" y="113"/>
                </a:lnTo>
                <a:lnTo>
                  <a:pt x="663" y="119"/>
                </a:lnTo>
                <a:lnTo>
                  <a:pt x="669" y="119"/>
                </a:lnTo>
                <a:lnTo>
                  <a:pt x="675" y="125"/>
                </a:lnTo>
                <a:lnTo>
                  <a:pt x="680" y="125"/>
                </a:lnTo>
                <a:lnTo>
                  <a:pt x="686" y="125"/>
                </a:lnTo>
                <a:lnTo>
                  <a:pt x="686" y="130"/>
                </a:lnTo>
                <a:lnTo>
                  <a:pt x="692" y="130"/>
                </a:lnTo>
                <a:lnTo>
                  <a:pt x="703" y="136"/>
                </a:lnTo>
                <a:lnTo>
                  <a:pt x="714" y="136"/>
                </a:lnTo>
                <a:lnTo>
                  <a:pt x="726" y="136"/>
                </a:lnTo>
                <a:lnTo>
                  <a:pt x="743" y="136"/>
                </a:lnTo>
                <a:lnTo>
                  <a:pt x="760" y="136"/>
                </a:lnTo>
                <a:lnTo>
                  <a:pt x="765" y="136"/>
                </a:lnTo>
                <a:lnTo>
                  <a:pt x="777" y="136"/>
                </a:lnTo>
                <a:lnTo>
                  <a:pt x="782" y="136"/>
                </a:lnTo>
                <a:lnTo>
                  <a:pt x="799" y="130"/>
                </a:lnTo>
                <a:lnTo>
                  <a:pt x="816" y="125"/>
                </a:lnTo>
                <a:lnTo>
                  <a:pt x="822" y="125"/>
                </a:lnTo>
                <a:lnTo>
                  <a:pt x="828" y="119"/>
                </a:lnTo>
                <a:lnTo>
                  <a:pt x="833" y="119"/>
                </a:lnTo>
                <a:lnTo>
                  <a:pt x="833" y="113"/>
                </a:lnTo>
                <a:lnTo>
                  <a:pt x="839" y="113"/>
                </a:lnTo>
                <a:lnTo>
                  <a:pt x="845" y="113"/>
                </a:lnTo>
                <a:lnTo>
                  <a:pt x="845" y="108"/>
                </a:lnTo>
                <a:lnTo>
                  <a:pt x="850" y="108"/>
                </a:lnTo>
                <a:lnTo>
                  <a:pt x="856" y="102"/>
                </a:lnTo>
                <a:lnTo>
                  <a:pt x="862" y="96"/>
                </a:lnTo>
                <a:lnTo>
                  <a:pt x="867" y="96"/>
                </a:lnTo>
                <a:lnTo>
                  <a:pt x="867" y="91"/>
                </a:lnTo>
                <a:lnTo>
                  <a:pt x="873" y="91"/>
                </a:lnTo>
                <a:lnTo>
                  <a:pt x="879" y="91"/>
                </a:lnTo>
                <a:lnTo>
                  <a:pt x="879" y="96"/>
                </a:lnTo>
                <a:lnTo>
                  <a:pt x="890" y="108"/>
                </a:lnTo>
                <a:lnTo>
                  <a:pt x="890" y="113"/>
                </a:lnTo>
                <a:lnTo>
                  <a:pt x="896" y="113"/>
                </a:lnTo>
                <a:lnTo>
                  <a:pt x="896" y="119"/>
                </a:lnTo>
                <a:lnTo>
                  <a:pt x="901" y="125"/>
                </a:lnTo>
                <a:lnTo>
                  <a:pt x="901" y="130"/>
                </a:lnTo>
                <a:lnTo>
                  <a:pt x="901" y="136"/>
                </a:lnTo>
                <a:lnTo>
                  <a:pt x="907" y="136"/>
                </a:lnTo>
                <a:lnTo>
                  <a:pt x="907" y="142"/>
                </a:lnTo>
                <a:lnTo>
                  <a:pt x="913" y="142"/>
                </a:lnTo>
                <a:lnTo>
                  <a:pt x="918" y="147"/>
                </a:lnTo>
                <a:lnTo>
                  <a:pt x="918" y="153"/>
                </a:lnTo>
                <a:lnTo>
                  <a:pt x="918" y="159"/>
                </a:lnTo>
                <a:lnTo>
                  <a:pt x="924" y="164"/>
                </a:lnTo>
                <a:lnTo>
                  <a:pt x="924" y="170"/>
                </a:lnTo>
                <a:lnTo>
                  <a:pt x="930" y="176"/>
                </a:lnTo>
                <a:lnTo>
                  <a:pt x="924" y="176"/>
                </a:lnTo>
                <a:lnTo>
                  <a:pt x="918" y="181"/>
                </a:lnTo>
                <a:lnTo>
                  <a:pt x="918" y="187"/>
                </a:lnTo>
                <a:lnTo>
                  <a:pt x="913" y="193"/>
                </a:lnTo>
                <a:lnTo>
                  <a:pt x="907" y="198"/>
                </a:lnTo>
                <a:lnTo>
                  <a:pt x="907" y="204"/>
                </a:lnTo>
                <a:lnTo>
                  <a:pt x="907" y="210"/>
                </a:lnTo>
                <a:lnTo>
                  <a:pt x="907" y="215"/>
                </a:lnTo>
                <a:lnTo>
                  <a:pt x="907" y="221"/>
                </a:lnTo>
                <a:lnTo>
                  <a:pt x="901" y="227"/>
                </a:lnTo>
                <a:lnTo>
                  <a:pt x="901" y="232"/>
                </a:lnTo>
                <a:lnTo>
                  <a:pt x="901" y="238"/>
                </a:lnTo>
                <a:lnTo>
                  <a:pt x="907" y="238"/>
                </a:lnTo>
                <a:lnTo>
                  <a:pt x="907" y="244"/>
                </a:lnTo>
                <a:lnTo>
                  <a:pt x="907" y="249"/>
                </a:lnTo>
                <a:lnTo>
                  <a:pt x="913" y="249"/>
                </a:lnTo>
                <a:lnTo>
                  <a:pt x="913" y="261"/>
                </a:lnTo>
                <a:lnTo>
                  <a:pt x="907" y="261"/>
                </a:lnTo>
                <a:lnTo>
                  <a:pt x="907" y="266"/>
                </a:lnTo>
                <a:lnTo>
                  <a:pt x="913" y="278"/>
                </a:lnTo>
                <a:lnTo>
                  <a:pt x="913" y="283"/>
                </a:lnTo>
                <a:lnTo>
                  <a:pt x="907" y="283"/>
                </a:lnTo>
                <a:lnTo>
                  <a:pt x="907" y="289"/>
                </a:lnTo>
                <a:lnTo>
                  <a:pt x="901" y="295"/>
                </a:lnTo>
                <a:lnTo>
                  <a:pt x="901" y="300"/>
                </a:lnTo>
                <a:lnTo>
                  <a:pt x="901" y="306"/>
                </a:lnTo>
                <a:lnTo>
                  <a:pt x="901" y="312"/>
                </a:lnTo>
                <a:lnTo>
                  <a:pt x="901" y="317"/>
                </a:lnTo>
                <a:lnTo>
                  <a:pt x="901" y="323"/>
                </a:lnTo>
                <a:lnTo>
                  <a:pt x="907" y="323"/>
                </a:lnTo>
                <a:lnTo>
                  <a:pt x="913" y="323"/>
                </a:lnTo>
                <a:lnTo>
                  <a:pt x="913" y="329"/>
                </a:lnTo>
                <a:lnTo>
                  <a:pt x="918" y="329"/>
                </a:lnTo>
                <a:lnTo>
                  <a:pt x="918" y="334"/>
                </a:lnTo>
                <a:lnTo>
                  <a:pt x="918" y="340"/>
                </a:lnTo>
                <a:lnTo>
                  <a:pt x="918" y="346"/>
                </a:lnTo>
                <a:lnTo>
                  <a:pt x="918" y="352"/>
                </a:lnTo>
                <a:lnTo>
                  <a:pt x="924" y="352"/>
                </a:lnTo>
                <a:lnTo>
                  <a:pt x="930" y="352"/>
                </a:lnTo>
                <a:lnTo>
                  <a:pt x="935" y="352"/>
                </a:lnTo>
                <a:lnTo>
                  <a:pt x="941" y="352"/>
                </a:lnTo>
                <a:lnTo>
                  <a:pt x="947" y="352"/>
                </a:lnTo>
                <a:lnTo>
                  <a:pt x="947" y="346"/>
                </a:lnTo>
                <a:lnTo>
                  <a:pt x="952" y="346"/>
                </a:lnTo>
                <a:lnTo>
                  <a:pt x="958" y="334"/>
                </a:lnTo>
                <a:lnTo>
                  <a:pt x="958" y="329"/>
                </a:lnTo>
                <a:lnTo>
                  <a:pt x="964" y="329"/>
                </a:lnTo>
                <a:lnTo>
                  <a:pt x="964" y="323"/>
                </a:lnTo>
                <a:lnTo>
                  <a:pt x="964" y="317"/>
                </a:lnTo>
                <a:lnTo>
                  <a:pt x="969" y="317"/>
                </a:lnTo>
                <a:lnTo>
                  <a:pt x="975" y="317"/>
                </a:lnTo>
                <a:lnTo>
                  <a:pt x="975" y="312"/>
                </a:lnTo>
                <a:lnTo>
                  <a:pt x="981" y="312"/>
                </a:lnTo>
                <a:lnTo>
                  <a:pt x="981" y="306"/>
                </a:lnTo>
                <a:lnTo>
                  <a:pt x="986" y="306"/>
                </a:lnTo>
                <a:lnTo>
                  <a:pt x="992" y="306"/>
                </a:lnTo>
                <a:lnTo>
                  <a:pt x="992" y="300"/>
                </a:lnTo>
                <a:lnTo>
                  <a:pt x="992" y="295"/>
                </a:lnTo>
                <a:lnTo>
                  <a:pt x="998" y="295"/>
                </a:lnTo>
                <a:lnTo>
                  <a:pt x="1009" y="289"/>
                </a:lnTo>
                <a:lnTo>
                  <a:pt x="1009" y="283"/>
                </a:lnTo>
                <a:lnTo>
                  <a:pt x="1015" y="283"/>
                </a:lnTo>
                <a:lnTo>
                  <a:pt x="1015" y="278"/>
                </a:lnTo>
                <a:lnTo>
                  <a:pt x="1020" y="278"/>
                </a:lnTo>
                <a:lnTo>
                  <a:pt x="1026" y="278"/>
                </a:lnTo>
                <a:lnTo>
                  <a:pt x="1026" y="272"/>
                </a:lnTo>
                <a:lnTo>
                  <a:pt x="1032" y="272"/>
                </a:lnTo>
                <a:lnTo>
                  <a:pt x="1032" y="266"/>
                </a:lnTo>
                <a:lnTo>
                  <a:pt x="1037" y="266"/>
                </a:lnTo>
                <a:lnTo>
                  <a:pt x="1043" y="266"/>
                </a:lnTo>
                <a:lnTo>
                  <a:pt x="1043" y="272"/>
                </a:lnTo>
                <a:lnTo>
                  <a:pt x="1049" y="272"/>
                </a:lnTo>
                <a:lnTo>
                  <a:pt x="1049" y="278"/>
                </a:lnTo>
                <a:lnTo>
                  <a:pt x="1049" y="283"/>
                </a:lnTo>
                <a:lnTo>
                  <a:pt x="1054" y="289"/>
                </a:lnTo>
                <a:lnTo>
                  <a:pt x="1060" y="295"/>
                </a:lnTo>
                <a:lnTo>
                  <a:pt x="1066" y="289"/>
                </a:lnTo>
                <a:lnTo>
                  <a:pt x="1071" y="289"/>
                </a:lnTo>
                <a:lnTo>
                  <a:pt x="1077" y="289"/>
                </a:lnTo>
                <a:lnTo>
                  <a:pt x="1083" y="289"/>
                </a:lnTo>
                <a:lnTo>
                  <a:pt x="1083" y="283"/>
                </a:lnTo>
                <a:lnTo>
                  <a:pt x="1088" y="283"/>
                </a:lnTo>
                <a:lnTo>
                  <a:pt x="1100" y="283"/>
                </a:lnTo>
                <a:lnTo>
                  <a:pt x="1100" y="278"/>
                </a:lnTo>
                <a:lnTo>
                  <a:pt x="1111" y="278"/>
                </a:lnTo>
                <a:lnTo>
                  <a:pt x="1128" y="278"/>
                </a:lnTo>
                <a:lnTo>
                  <a:pt x="1128" y="272"/>
                </a:lnTo>
                <a:lnTo>
                  <a:pt x="1122" y="266"/>
                </a:lnTo>
                <a:lnTo>
                  <a:pt x="1117" y="266"/>
                </a:lnTo>
                <a:lnTo>
                  <a:pt x="1117" y="261"/>
                </a:lnTo>
                <a:lnTo>
                  <a:pt x="1122" y="261"/>
                </a:lnTo>
                <a:lnTo>
                  <a:pt x="1128" y="261"/>
                </a:lnTo>
                <a:lnTo>
                  <a:pt x="1128" y="255"/>
                </a:lnTo>
                <a:lnTo>
                  <a:pt x="1134" y="255"/>
                </a:lnTo>
                <a:lnTo>
                  <a:pt x="1145" y="255"/>
                </a:lnTo>
                <a:lnTo>
                  <a:pt x="1151" y="261"/>
                </a:lnTo>
                <a:lnTo>
                  <a:pt x="1156" y="261"/>
                </a:lnTo>
                <a:lnTo>
                  <a:pt x="1162" y="261"/>
                </a:lnTo>
                <a:lnTo>
                  <a:pt x="1162" y="266"/>
                </a:lnTo>
                <a:lnTo>
                  <a:pt x="1168" y="272"/>
                </a:lnTo>
                <a:lnTo>
                  <a:pt x="1168" y="278"/>
                </a:lnTo>
                <a:lnTo>
                  <a:pt x="1162" y="278"/>
                </a:lnTo>
                <a:lnTo>
                  <a:pt x="1162" y="283"/>
                </a:lnTo>
                <a:lnTo>
                  <a:pt x="1162" y="289"/>
                </a:lnTo>
                <a:lnTo>
                  <a:pt x="1162" y="295"/>
                </a:lnTo>
                <a:lnTo>
                  <a:pt x="1168" y="295"/>
                </a:lnTo>
                <a:lnTo>
                  <a:pt x="1173" y="295"/>
                </a:lnTo>
                <a:lnTo>
                  <a:pt x="1185" y="295"/>
                </a:lnTo>
                <a:lnTo>
                  <a:pt x="1190" y="295"/>
                </a:lnTo>
                <a:lnTo>
                  <a:pt x="1190" y="300"/>
                </a:lnTo>
                <a:lnTo>
                  <a:pt x="1196" y="306"/>
                </a:lnTo>
                <a:lnTo>
                  <a:pt x="1202" y="306"/>
                </a:lnTo>
                <a:lnTo>
                  <a:pt x="1202" y="317"/>
                </a:lnTo>
                <a:lnTo>
                  <a:pt x="1202" y="323"/>
                </a:lnTo>
                <a:lnTo>
                  <a:pt x="1202" y="329"/>
                </a:lnTo>
                <a:lnTo>
                  <a:pt x="1196" y="334"/>
                </a:lnTo>
                <a:lnTo>
                  <a:pt x="1196" y="340"/>
                </a:lnTo>
                <a:lnTo>
                  <a:pt x="1190" y="346"/>
                </a:lnTo>
                <a:lnTo>
                  <a:pt x="1190" y="352"/>
                </a:lnTo>
                <a:lnTo>
                  <a:pt x="1196" y="352"/>
                </a:lnTo>
                <a:lnTo>
                  <a:pt x="1202" y="357"/>
                </a:lnTo>
                <a:lnTo>
                  <a:pt x="1207" y="357"/>
                </a:lnTo>
                <a:lnTo>
                  <a:pt x="1213" y="357"/>
                </a:lnTo>
                <a:lnTo>
                  <a:pt x="1219" y="357"/>
                </a:lnTo>
                <a:lnTo>
                  <a:pt x="1224" y="357"/>
                </a:lnTo>
                <a:lnTo>
                  <a:pt x="1230" y="363"/>
                </a:lnTo>
                <a:lnTo>
                  <a:pt x="1236" y="369"/>
                </a:lnTo>
                <a:lnTo>
                  <a:pt x="1236" y="374"/>
                </a:lnTo>
                <a:lnTo>
                  <a:pt x="1241" y="374"/>
                </a:lnTo>
                <a:lnTo>
                  <a:pt x="1241" y="380"/>
                </a:lnTo>
                <a:lnTo>
                  <a:pt x="1236" y="386"/>
                </a:lnTo>
                <a:lnTo>
                  <a:pt x="1236" y="391"/>
                </a:lnTo>
                <a:lnTo>
                  <a:pt x="1230" y="391"/>
                </a:lnTo>
                <a:lnTo>
                  <a:pt x="1230" y="397"/>
                </a:lnTo>
                <a:lnTo>
                  <a:pt x="1224" y="397"/>
                </a:lnTo>
                <a:lnTo>
                  <a:pt x="1219" y="403"/>
                </a:lnTo>
                <a:lnTo>
                  <a:pt x="1213" y="408"/>
                </a:lnTo>
                <a:lnTo>
                  <a:pt x="1213" y="414"/>
                </a:lnTo>
                <a:lnTo>
                  <a:pt x="1207" y="414"/>
                </a:lnTo>
                <a:lnTo>
                  <a:pt x="1202" y="414"/>
                </a:lnTo>
                <a:lnTo>
                  <a:pt x="1202" y="420"/>
                </a:lnTo>
                <a:lnTo>
                  <a:pt x="1196" y="420"/>
                </a:lnTo>
                <a:lnTo>
                  <a:pt x="1196" y="425"/>
                </a:lnTo>
                <a:lnTo>
                  <a:pt x="1190" y="431"/>
                </a:lnTo>
                <a:lnTo>
                  <a:pt x="1185" y="431"/>
                </a:lnTo>
                <a:lnTo>
                  <a:pt x="1185" y="437"/>
                </a:lnTo>
                <a:lnTo>
                  <a:pt x="1185" y="442"/>
                </a:lnTo>
                <a:lnTo>
                  <a:pt x="1185" y="448"/>
                </a:lnTo>
                <a:lnTo>
                  <a:pt x="1190" y="448"/>
                </a:lnTo>
                <a:lnTo>
                  <a:pt x="1190" y="454"/>
                </a:lnTo>
                <a:lnTo>
                  <a:pt x="1202" y="459"/>
                </a:lnTo>
                <a:lnTo>
                  <a:pt x="1207" y="465"/>
                </a:lnTo>
                <a:lnTo>
                  <a:pt x="1213" y="471"/>
                </a:lnTo>
                <a:lnTo>
                  <a:pt x="1219" y="471"/>
                </a:lnTo>
                <a:lnTo>
                  <a:pt x="1224" y="471"/>
                </a:lnTo>
                <a:lnTo>
                  <a:pt x="1230" y="471"/>
                </a:lnTo>
                <a:lnTo>
                  <a:pt x="1241" y="471"/>
                </a:lnTo>
                <a:lnTo>
                  <a:pt x="1247" y="471"/>
                </a:lnTo>
                <a:lnTo>
                  <a:pt x="1258" y="476"/>
                </a:lnTo>
                <a:lnTo>
                  <a:pt x="1270" y="476"/>
                </a:lnTo>
                <a:lnTo>
                  <a:pt x="1275" y="476"/>
                </a:lnTo>
                <a:lnTo>
                  <a:pt x="1281" y="476"/>
                </a:lnTo>
                <a:lnTo>
                  <a:pt x="1287" y="476"/>
                </a:lnTo>
                <a:lnTo>
                  <a:pt x="1298" y="471"/>
                </a:lnTo>
                <a:lnTo>
                  <a:pt x="1304" y="471"/>
                </a:lnTo>
                <a:lnTo>
                  <a:pt x="1309" y="471"/>
                </a:lnTo>
                <a:lnTo>
                  <a:pt x="1315" y="476"/>
                </a:lnTo>
                <a:lnTo>
                  <a:pt x="1321" y="476"/>
                </a:lnTo>
                <a:lnTo>
                  <a:pt x="1321" y="482"/>
                </a:lnTo>
                <a:lnTo>
                  <a:pt x="1326" y="482"/>
                </a:lnTo>
                <a:lnTo>
                  <a:pt x="1326" y="488"/>
                </a:lnTo>
                <a:lnTo>
                  <a:pt x="1326" y="493"/>
                </a:lnTo>
                <a:lnTo>
                  <a:pt x="1321" y="505"/>
                </a:lnTo>
                <a:lnTo>
                  <a:pt x="1321" y="510"/>
                </a:lnTo>
                <a:lnTo>
                  <a:pt x="1326" y="516"/>
                </a:lnTo>
                <a:lnTo>
                  <a:pt x="1326" y="527"/>
                </a:lnTo>
                <a:lnTo>
                  <a:pt x="1326" y="539"/>
                </a:lnTo>
                <a:lnTo>
                  <a:pt x="1326" y="544"/>
                </a:lnTo>
                <a:lnTo>
                  <a:pt x="1326" y="550"/>
                </a:lnTo>
                <a:lnTo>
                  <a:pt x="1326" y="556"/>
                </a:lnTo>
                <a:lnTo>
                  <a:pt x="1321" y="556"/>
                </a:lnTo>
                <a:lnTo>
                  <a:pt x="1315" y="561"/>
                </a:lnTo>
                <a:lnTo>
                  <a:pt x="1309" y="567"/>
                </a:lnTo>
                <a:lnTo>
                  <a:pt x="1304" y="567"/>
                </a:lnTo>
                <a:lnTo>
                  <a:pt x="1298" y="567"/>
                </a:lnTo>
                <a:lnTo>
                  <a:pt x="1298" y="573"/>
                </a:lnTo>
                <a:lnTo>
                  <a:pt x="1298" y="578"/>
                </a:lnTo>
                <a:lnTo>
                  <a:pt x="1304" y="584"/>
                </a:lnTo>
                <a:lnTo>
                  <a:pt x="1309" y="584"/>
                </a:lnTo>
                <a:lnTo>
                  <a:pt x="1315" y="584"/>
                </a:lnTo>
                <a:lnTo>
                  <a:pt x="1321" y="584"/>
                </a:lnTo>
                <a:lnTo>
                  <a:pt x="1326" y="584"/>
                </a:lnTo>
                <a:lnTo>
                  <a:pt x="1326" y="590"/>
                </a:lnTo>
                <a:lnTo>
                  <a:pt x="1321" y="590"/>
                </a:lnTo>
                <a:lnTo>
                  <a:pt x="1321" y="595"/>
                </a:lnTo>
                <a:lnTo>
                  <a:pt x="1315" y="595"/>
                </a:lnTo>
                <a:lnTo>
                  <a:pt x="1315" y="601"/>
                </a:lnTo>
                <a:lnTo>
                  <a:pt x="1321" y="607"/>
                </a:lnTo>
                <a:lnTo>
                  <a:pt x="1326" y="607"/>
                </a:lnTo>
                <a:lnTo>
                  <a:pt x="1326" y="612"/>
                </a:lnTo>
                <a:lnTo>
                  <a:pt x="1332" y="612"/>
                </a:lnTo>
                <a:lnTo>
                  <a:pt x="1338" y="612"/>
                </a:lnTo>
                <a:lnTo>
                  <a:pt x="1338" y="618"/>
                </a:lnTo>
                <a:lnTo>
                  <a:pt x="1343" y="618"/>
                </a:lnTo>
                <a:lnTo>
                  <a:pt x="1343" y="624"/>
                </a:lnTo>
                <a:lnTo>
                  <a:pt x="1338" y="624"/>
                </a:lnTo>
                <a:lnTo>
                  <a:pt x="1332" y="624"/>
                </a:lnTo>
                <a:lnTo>
                  <a:pt x="1332" y="629"/>
                </a:lnTo>
                <a:lnTo>
                  <a:pt x="1326" y="635"/>
                </a:lnTo>
                <a:lnTo>
                  <a:pt x="1326" y="641"/>
                </a:lnTo>
                <a:lnTo>
                  <a:pt x="1326" y="646"/>
                </a:lnTo>
                <a:lnTo>
                  <a:pt x="1321" y="652"/>
                </a:lnTo>
                <a:lnTo>
                  <a:pt x="1315" y="652"/>
                </a:lnTo>
                <a:lnTo>
                  <a:pt x="1315" y="658"/>
                </a:lnTo>
                <a:lnTo>
                  <a:pt x="1309" y="658"/>
                </a:lnTo>
                <a:lnTo>
                  <a:pt x="1304" y="663"/>
                </a:lnTo>
                <a:lnTo>
                  <a:pt x="1304" y="669"/>
                </a:lnTo>
                <a:lnTo>
                  <a:pt x="1298" y="669"/>
                </a:lnTo>
                <a:lnTo>
                  <a:pt x="1298" y="675"/>
                </a:lnTo>
                <a:lnTo>
                  <a:pt x="1298" y="680"/>
                </a:lnTo>
                <a:lnTo>
                  <a:pt x="1298" y="686"/>
                </a:lnTo>
                <a:lnTo>
                  <a:pt x="1298" y="692"/>
                </a:lnTo>
                <a:lnTo>
                  <a:pt x="1298" y="697"/>
                </a:lnTo>
                <a:lnTo>
                  <a:pt x="1304" y="697"/>
                </a:lnTo>
                <a:lnTo>
                  <a:pt x="1315" y="697"/>
                </a:lnTo>
                <a:lnTo>
                  <a:pt x="1321" y="697"/>
                </a:lnTo>
                <a:lnTo>
                  <a:pt x="1321" y="703"/>
                </a:lnTo>
                <a:lnTo>
                  <a:pt x="1321" y="709"/>
                </a:lnTo>
                <a:lnTo>
                  <a:pt x="1315" y="714"/>
                </a:lnTo>
                <a:lnTo>
                  <a:pt x="1315" y="720"/>
                </a:lnTo>
                <a:lnTo>
                  <a:pt x="1309" y="720"/>
                </a:lnTo>
                <a:lnTo>
                  <a:pt x="1315" y="726"/>
                </a:lnTo>
                <a:lnTo>
                  <a:pt x="1321" y="726"/>
                </a:lnTo>
                <a:lnTo>
                  <a:pt x="1326" y="726"/>
                </a:lnTo>
                <a:lnTo>
                  <a:pt x="1332" y="726"/>
                </a:lnTo>
                <a:lnTo>
                  <a:pt x="1338" y="720"/>
                </a:lnTo>
                <a:lnTo>
                  <a:pt x="1343" y="720"/>
                </a:lnTo>
                <a:lnTo>
                  <a:pt x="1349" y="720"/>
                </a:lnTo>
                <a:lnTo>
                  <a:pt x="1355" y="720"/>
                </a:lnTo>
                <a:lnTo>
                  <a:pt x="1366" y="720"/>
                </a:lnTo>
                <a:lnTo>
                  <a:pt x="1361" y="726"/>
                </a:lnTo>
                <a:lnTo>
                  <a:pt x="1355" y="731"/>
                </a:lnTo>
                <a:lnTo>
                  <a:pt x="1292" y="811"/>
                </a:lnTo>
                <a:lnTo>
                  <a:pt x="1287" y="805"/>
                </a:lnTo>
                <a:lnTo>
                  <a:pt x="1270" y="794"/>
                </a:lnTo>
                <a:lnTo>
                  <a:pt x="1230" y="760"/>
                </a:lnTo>
                <a:lnTo>
                  <a:pt x="1224" y="760"/>
                </a:lnTo>
                <a:lnTo>
                  <a:pt x="1207" y="760"/>
                </a:lnTo>
                <a:lnTo>
                  <a:pt x="1173" y="754"/>
                </a:lnTo>
                <a:lnTo>
                  <a:pt x="1151" y="760"/>
                </a:lnTo>
                <a:lnTo>
                  <a:pt x="1151" y="782"/>
                </a:lnTo>
                <a:lnTo>
                  <a:pt x="1145" y="879"/>
                </a:lnTo>
                <a:lnTo>
                  <a:pt x="1139" y="1043"/>
                </a:lnTo>
                <a:lnTo>
                  <a:pt x="1162" y="1043"/>
                </a:lnTo>
                <a:lnTo>
                  <a:pt x="1162" y="1049"/>
                </a:lnTo>
                <a:lnTo>
                  <a:pt x="1162" y="1054"/>
                </a:lnTo>
                <a:lnTo>
                  <a:pt x="1162" y="1060"/>
                </a:lnTo>
                <a:lnTo>
                  <a:pt x="1156" y="1060"/>
                </a:lnTo>
                <a:lnTo>
                  <a:pt x="1156" y="1066"/>
                </a:lnTo>
                <a:lnTo>
                  <a:pt x="1156" y="1071"/>
                </a:lnTo>
                <a:lnTo>
                  <a:pt x="1151" y="1071"/>
                </a:lnTo>
                <a:lnTo>
                  <a:pt x="1145" y="1071"/>
                </a:lnTo>
                <a:lnTo>
                  <a:pt x="1145" y="1077"/>
                </a:lnTo>
                <a:lnTo>
                  <a:pt x="1145" y="1083"/>
                </a:lnTo>
                <a:lnTo>
                  <a:pt x="1139" y="1088"/>
                </a:lnTo>
                <a:lnTo>
                  <a:pt x="1134" y="1100"/>
                </a:lnTo>
                <a:lnTo>
                  <a:pt x="1128" y="1105"/>
                </a:lnTo>
                <a:lnTo>
                  <a:pt x="1128" y="1111"/>
                </a:lnTo>
                <a:lnTo>
                  <a:pt x="1122" y="1117"/>
                </a:lnTo>
                <a:lnTo>
                  <a:pt x="1117" y="1117"/>
                </a:lnTo>
                <a:lnTo>
                  <a:pt x="1111" y="1117"/>
                </a:lnTo>
                <a:lnTo>
                  <a:pt x="1105" y="1111"/>
                </a:lnTo>
                <a:lnTo>
                  <a:pt x="1100" y="1111"/>
                </a:lnTo>
                <a:lnTo>
                  <a:pt x="1100" y="1105"/>
                </a:lnTo>
                <a:lnTo>
                  <a:pt x="1100" y="1100"/>
                </a:lnTo>
                <a:lnTo>
                  <a:pt x="1094" y="1094"/>
                </a:lnTo>
                <a:lnTo>
                  <a:pt x="1088" y="1088"/>
                </a:lnTo>
                <a:lnTo>
                  <a:pt x="1083" y="1083"/>
                </a:lnTo>
                <a:lnTo>
                  <a:pt x="1077" y="1083"/>
                </a:lnTo>
                <a:lnTo>
                  <a:pt x="1077" y="1077"/>
                </a:lnTo>
                <a:lnTo>
                  <a:pt x="1071" y="1077"/>
                </a:lnTo>
                <a:lnTo>
                  <a:pt x="1071" y="1071"/>
                </a:lnTo>
                <a:lnTo>
                  <a:pt x="1066" y="1071"/>
                </a:lnTo>
                <a:lnTo>
                  <a:pt x="1060" y="1066"/>
                </a:lnTo>
                <a:lnTo>
                  <a:pt x="1054" y="1066"/>
                </a:lnTo>
                <a:lnTo>
                  <a:pt x="1054" y="1060"/>
                </a:lnTo>
                <a:lnTo>
                  <a:pt x="1049" y="1060"/>
                </a:lnTo>
                <a:lnTo>
                  <a:pt x="1043" y="1054"/>
                </a:lnTo>
                <a:lnTo>
                  <a:pt x="1037" y="1054"/>
                </a:lnTo>
                <a:lnTo>
                  <a:pt x="1037" y="1049"/>
                </a:lnTo>
                <a:lnTo>
                  <a:pt x="1032" y="1043"/>
                </a:lnTo>
                <a:lnTo>
                  <a:pt x="1026" y="1043"/>
                </a:lnTo>
                <a:lnTo>
                  <a:pt x="1026" y="1037"/>
                </a:lnTo>
                <a:lnTo>
                  <a:pt x="1020" y="1032"/>
                </a:lnTo>
                <a:lnTo>
                  <a:pt x="1020" y="1020"/>
                </a:lnTo>
                <a:lnTo>
                  <a:pt x="1020" y="1015"/>
                </a:lnTo>
                <a:lnTo>
                  <a:pt x="1015" y="1009"/>
                </a:lnTo>
                <a:lnTo>
                  <a:pt x="1015" y="1003"/>
                </a:lnTo>
                <a:lnTo>
                  <a:pt x="1009" y="1003"/>
                </a:lnTo>
                <a:lnTo>
                  <a:pt x="1009" y="998"/>
                </a:lnTo>
                <a:lnTo>
                  <a:pt x="1009" y="992"/>
                </a:lnTo>
                <a:lnTo>
                  <a:pt x="1009" y="986"/>
                </a:lnTo>
                <a:lnTo>
                  <a:pt x="1003" y="981"/>
                </a:lnTo>
                <a:lnTo>
                  <a:pt x="1003" y="975"/>
                </a:lnTo>
                <a:lnTo>
                  <a:pt x="1003" y="969"/>
                </a:lnTo>
                <a:lnTo>
                  <a:pt x="1003" y="964"/>
                </a:lnTo>
                <a:lnTo>
                  <a:pt x="998" y="964"/>
                </a:lnTo>
                <a:lnTo>
                  <a:pt x="998" y="958"/>
                </a:lnTo>
                <a:lnTo>
                  <a:pt x="992" y="958"/>
                </a:lnTo>
                <a:lnTo>
                  <a:pt x="992" y="952"/>
                </a:lnTo>
                <a:lnTo>
                  <a:pt x="986" y="952"/>
                </a:lnTo>
                <a:lnTo>
                  <a:pt x="981" y="947"/>
                </a:lnTo>
                <a:lnTo>
                  <a:pt x="975" y="941"/>
                </a:lnTo>
                <a:lnTo>
                  <a:pt x="964" y="935"/>
                </a:lnTo>
                <a:lnTo>
                  <a:pt x="958" y="935"/>
                </a:lnTo>
                <a:lnTo>
                  <a:pt x="952" y="935"/>
                </a:lnTo>
                <a:lnTo>
                  <a:pt x="947" y="935"/>
                </a:lnTo>
                <a:lnTo>
                  <a:pt x="935" y="941"/>
                </a:lnTo>
                <a:lnTo>
                  <a:pt x="935" y="935"/>
                </a:lnTo>
                <a:lnTo>
                  <a:pt x="935" y="941"/>
                </a:lnTo>
                <a:lnTo>
                  <a:pt x="930" y="941"/>
                </a:lnTo>
                <a:lnTo>
                  <a:pt x="924" y="941"/>
                </a:lnTo>
                <a:lnTo>
                  <a:pt x="918" y="935"/>
                </a:lnTo>
                <a:lnTo>
                  <a:pt x="913" y="935"/>
                </a:lnTo>
                <a:lnTo>
                  <a:pt x="907" y="935"/>
                </a:lnTo>
                <a:lnTo>
                  <a:pt x="907" y="930"/>
                </a:lnTo>
                <a:lnTo>
                  <a:pt x="901" y="930"/>
                </a:lnTo>
                <a:lnTo>
                  <a:pt x="896" y="930"/>
                </a:lnTo>
                <a:lnTo>
                  <a:pt x="890" y="924"/>
                </a:lnTo>
                <a:lnTo>
                  <a:pt x="884" y="924"/>
                </a:lnTo>
                <a:lnTo>
                  <a:pt x="879" y="930"/>
                </a:lnTo>
                <a:lnTo>
                  <a:pt x="867" y="930"/>
                </a:lnTo>
                <a:lnTo>
                  <a:pt x="862" y="930"/>
                </a:lnTo>
                <a:lnTo>
                  <a:pt x="850" y="935"/>
                </a:lnTo>
                <a:lnTo>
                  <a:pt x="845" y="935"/>
                </a:lnTo>
                <a:lnTo>
                  <a:pt x="839" y="930"/>
                </a:lnTo>
                <a:lnTo>
                  <a:pt x="822" y="930"/>
                </a:lnTo>
                <a:lnTo>
                  <a:pt x="822" y="935"/>
                </a:lnTo>
                <a:lnTo>
                  <a:pt x="799" y="935"/>
                </a:lnTo>
                <a:lnTo>
                  <a:pt x="794" y="930"/>
                </a:lnTo>
                <a:lnTo>
                  <a:pt x="782" y="930"/>
                </a:lnTo>
                <a:lnTo>
                  <a:pt x="777" y="930"/>
                </a:lnTo>
                <a:lnTo>
                  <a:pt x="777" y="924"/>
                </a:lnTo>
                <a:lnTo>
                  <a:pt x="777" y="918"/>
                </a:lnTo>
                <a:lnTo>
                  <a:pt x="771" y="918"/>
                </a:lnTo>
                <a:lnTo>
                  <a:pt x="771" y="913"/>
                </a:lnTo>
                <a:lnTo>
                  <a:pt x="765" y="913"/>
                </a:lnTo>
                <a:lnTo>
                  <a:pt x="765" y="907"/>
                </a:lnTo>
                <a:lnTo>
                  <a:pt x="754" y="901"/>
                </a:lnTo>
                <a:lnTo>
                  <a:pt x="748" y="901"/>
                </a:lnTo>
                <a:lnTo>
                  <a:pt x="737" y="901"/>
                </a:lnTo>
                <a:lnTo>
                  <a:pt x="731" y="896"/>
                </a:lnTo>
                <a:lnTo>
                  <a:pt x="726" y="896"/>
                </a:lnTo>
                <a:lnTo>
                  <a:pt x="726" y="890"/>
                </a:lnTo>
                <a:lnTo>
                  <a:pt x="720" y="890"/>
                </a:lnTo>
                <a:lnTo>
                  <a:pt x="714" y="884"/>
                </a:lnTo>
                <a:lnTo>
                  <a:pt x="709" y="879"/>
                </a:lnTo>
                <a:lnTo>
                  <a:pt x="692" y="867"/>
                </a:lnTo>
                <a:lnTo>
                  <a:pt x="686" y="867"/>
                </a:lnTo>
                <a:lnTo>
                  <a:pt x="680" y="862"/>
                </a:lnTo>
                <a:lnTo>
                  <a:pt x="675" y="856"/>
                </a:lnTo>
                <a:lnTo>
                  <a:pt x="669" y="856"/>
                </a:lnTo>
                <a:lnTo>
                  <a:pt x="663" y="850"/>
                </a:lnTo>
                <a:lnTo>
                  <a:pt x="658" y="850"/>
                </a:lnTo>
                <a:lnTo>
                  <a:pt x="652" y="845"/>
                </a:lnTo>
                <a:lnTo>
                  <a:pt x="635" y="845"/>
                </a:lnTo>
                <a:lnTo>
                  <a:pt x="624" y="839"/>
                </a:lnTo>
                <a:lnTo>
                  <a:pt x="618" y="839"/>
                </a:lnTo>
                <a:lnTo>
                  <a:pt x="601" y="833"/>
                </a:lnTo>
                <a:lnTo>
                  <a:pt x="595" y="833"/>
                </a:lnTo>
                <a:lnTo>
                  <a:pt x="590" y="833"/>
                </a:lnTo>
                <a:lnTo>
                  <a:pt x="584" y="833"/>
                </a:lnTo>
                <a:lnTo>
                  <a:pt x="578" y="828"/>
                </a:lnTo>
                <a:lnTo>
                  <a:pt x="573" y="822"/>
                </a:lnTo>
                <a:lnTo>
                  <a:pt x="567" y="816"/>
                </a:lnTo>
                <a:lnTo>
                  <a:pt x="567" y="811"/>
                </a:lnTo>
                <a:lnTo>
                  <a:pt x="567" y="805"/>
                </a:lnTo>
                <a:lnTo>
                  <a:pt x="561" y="805"/>
                </a:lnTo>
                <a:lnTo>
                  <a:pt x="556" y="805"/>
                </a:lnTo>
                <a:lnTo>
                  <a:pt x="556" y="799"/>
                </a:lnTo>
                <a:lnTo>
                  <a:pt x="550" y="794"/>
                </a:lnTo>
                <a:lnTo>
                  <a:pt x="544" y="794"/>
                </a:lnTo>
                <a:lnTo>
                  <a:pt x="539" y="794"/>
                </a:lnTo>
                <a:lnTo>
                  <a:pt x="539" y="788"/>
                </a:lnTo>
                <a:lnTo>
                  <a:pt x="539" y="782"/>
                </a:lnTo>
                <a:lnTo>
                  <a:pt x="533" y="782"/>
                </a:lnTo>
                <a:lnTo>
                  <a:pt x="527" y="777"/>
                </a:lnTo>
                <a:lnTo>
                  <a:pt x="522" y="777"/>
                </a:lnTo>
                <a:lnTo>
                  <a:pt x="516" y="771"/>
                </a:lnTo>
                <a:lnTo>
                  <a:pt x="510" y="765"/>
                </a:lnTo>
                <a:lnTo>
                  <a:pt x="499" y="765"/>
                </a:lnTo>
                <a:lnTo>
                  <a:pt x="488" y="765"/>
                </a:lnTo>
                <a:lnTo>
                  <a:pt x="488" y="771"/>
                </a:lnTo>
                <a:lnTo>
                  <a:pt x="482" y="771"/>
                </a:lnTo>
                <a:lnTo>
                  <a:pt x="482" y="777"/>
                </a:lnTo>
                <a:lnTo>
                  <a:pt x="476" y="777"/>
                </a:lnTo>
                <a:lnTo>
                  <a:pt x="471" y="777"/>
                </a:lnTo>
                <a:lnTo>
                  <a:pt x="465" y="777"/>
                </a:lnTo>
                <a:lnTo>
                  <a:pt x="442" y="788"/>
                </a:lnTo>
                <a:lnTo>
                  <a:pt x="436" y="788"/>
                </a:lnTo>
                <a:lnTo>
                  <a:pt x="431" y="788"/>
                </a:lnTo>
                <a:lnTo>
                  <a:pt x="425" y="782"/>
                </a:lnTo>
                <a:lnTo>
                  <a:pt x="425" y="777"/>
                </a:lnTo>
                <a:lnTo>
                  <a:pt x="419" y="777"/>
                </a:lnTo>
                <a:lnTo>
                  <a:pt x="419" y="771"/>
                </a:lnTo>
                <a:lnTo>
                  <a:pt x="419" y="765"/>
                </a:lnTo>
                <a:lnTo>
                  <a:pt x="414" y="754"/>
                </a:lnTo>
                <a:lnTo>
                  <a:pt x="414" y="748"/>
                </a:lnTo>
                <a:lnTo>
                  <a:pt x="414" y="743"/>
                </a:lnTo>
                <a:lnTo>
                  <a:pt x="408" y="737"/>
                </a:lnTo>
                <a:lnTo>
                  <a:pt x="402" y="737"/>
                </a:lnTo>
                <a:lnTo>
                  <a:pt x="397" y="737"/>
                </a:lnTo>
                <a:lnTo>
                  <a:pt x="391" y="731"/>
                </a:lnTo>
                <a:lnTo>
                  <a:pt x="385" y="731"/>
                </a:lnTo>
                <a:lnTo>
                  <a:pt x="385" y="726"/>
                </a:lnTo>
                <a:lnTo>
                  <a:pt x="380" y="726"/>
                </a:lnTo>
                <a:lnTo>
                  <a:pt x="374" y="726"/>
                </a:lnTo>
                <a:lnTo>
                  <a:pt x="368" y="726"/>
                </a:lnTo>
                <a:lnTo>
                  <a:pt x="368" y="720"/>
                </a:lnTo>
                <a:lnTo>
                  <a:pt x="357" y="714"/>
                </a:lnTo>
                <a:lnTo>
                  <a:pt x="351" y="709"/>
                </a:lnTo>
                <a:lnTo>
                  <a:pt x="346" y="709"/>
                </a:lnTo>
                <a:lnTo>
                  <a:pt x="340" y="697"/>
                </a:lnTo>
                <a:lnTo>
                  <a:pt x="334" y="692"/>
                </a:lnTo>
                <a:lnTo>
                  <a:pt x="329" y="686"/>
                </a:lnTo>
                <a:lnTo>
                  <a:pt x="329" y="680"/>
                </a:lnTo>
                <a:lnTo>
                  <a:pt x="323" y="680"/>
                </a:lnTo>
                <a:lnTo>
                  <a:pt x="317" y="680"/>
                </a:lnTo>
                <a:lnTo>
                  <a:pt x="317" y="675"/>
                </a:lnTo>
                <a:lnTo>
                  <a:pt x="312" y="669"/>
                </a:lnTo>
                <a:lnTo>
                  <a:pt x="312" y="663"/>
                </a:lnTo>
                <a:lnTo>
                  <a:pt x="306" y="658"/>
                </a:lnTo>
                <a:lnTo>
                  <a:pt x="300" y="658"/>
                </a:lnTo>
                <a:lnTo>
                  <a:pt x="289" y="641"/>
                </a:lnTo>
                <a:lnTo>
                  <a:pt x="283" y="641"/>
                </a:lnTo>
                <a:lnTo>
                  <a:pt x="272" y="629"/>
                </a:lnTo>
                <a:lnTo>
                  <a:pt x="272" y="624"/>
                </a:lnTo>
                <a:lnTo>
                  <a:pt x="266" y="624"/>
                </a:lnTo>
                <a:lnTo>
                  <a:pt x="261" y="612"/>
                </a:lnTo>
                <a:lnTo>
                  <a:pt x="255" y="612"/>
                </a:lnTo>
                <a:lnTo>
                  <a:pt x="255" y="607"/>
                </a:lnTo>
                <a:lnTo>
                  <a:pt x="255" y="601"/>
                </a:lnTo>
                <a:lnTo>
                  <a:pt x="244" y="595"/>
                </a:lnTo>
                <a:lnTo>
                  <a:pt x="232" y="584"/>
                </a:lnTo>
                <a:lnTo>
                  <a:pt x="232" y="578"/>
                </a:lnTo>
                <a:lnTo>
                  <a:pt x="227" y="573"/>
                </a:lnTo>
                <a:lnTo>
                  <a:pt x="221" y="567"/>
                </a:lnTo>
                <a:lnTo>
                  <a:pt x="215" y="567"/>
                </a:lnTo>
                <a:lnTo>
                  <a:pt x="215" y="561"/>
                </a:lnTo>
                <a:lnTo>
                  <a:pt x="215" y="556"/>
                </a:lnTo>
                <a:lnTo>
                  <a:pt x="210" y="556"/>
                </a:lnTo>
                <a:lnTo>
                  <a:pt x="210" y="550"/>
                </a:lnTo>
                <a:lnTo>
                  <a:pt x="204" y="544"/>
                </a:lnTo>
                <a:lnTo>
                  <a:pt x="204" y="539"/>
                </a:lnTo>
                <a:lnTo>
                  <a:pt x="198" y="539"/>
                </a:lnTo>
                <a:lnTo>
                  <a:pt x="193" y="539"/>
                </a:lnTo>
                <a:lnTo>
                  <a:pt x="193" y="533"/>
                </a:lnTo>
                <a:lnTo>
                  <a:pt x="193" y="527"/>
                </a:lnTo>
                <a:lnTo>
                  <a:pt x="187" y="527"/>
                </a:lnTo>
                <a:lnTo>
                  <a:pt x="187" y="533"/>
                </a:lnTo>
                <a:lnTo>
                  <a:pt x="181" y="539"/>
                </a:lnTo>
                <a:lnTo>
                  <a:pt x="181" y="544"/>
                </a:lnTo>
                <a:lnTo>
                  <a:pt x="176" y="544"/>
                </a:lnTo>
                <a:lnTo>
                  <a:pt x="170" y="539"/>
                </a:lnTo>
                <a:lnTo>
                  <a:pt x="164" y="539"/>
                </a:lnTo>
                <a:lnTo>
                  <a:pt x="159" y="539"/>
                </a:lnTo>
                <a:lnTo>
                  <a:pt x="159" y="527"/>
                </a:lnTo>
                <a:lnTo>
                  <a:pt x="153" y="527"/>
                </a:lnTo>
                <a:lnTo>
                  <a:pt x="147" y="527"/>
                </a:lnTo>
                <a:lnTo>
                  <a:pt x="142" y="527"/>
                </a:lnTo>
                <a:lnTo>
                  <a:pt x="136" y="527"/>
                </a:lnTo>
                <a:lnTo>
                  <a:pt x="130" y="522"/>
                </a:lnTo>
                <a:lnTo>
                  <a:pt x="130" y="516"/>
                </a:lnTo>
                <a:lnTo>
                  <a:pt x="125" y="516"/>
                </a:lnTo>
                <a:lnTo>
                  <a:pt x="130" y="516"/>
                </a:lnTo>
                <a:lnTo>
                  <a:pt x="130" y="510"/>
                </a:lnTo>
                <a:lnTo>
                  <a:pt x="136" y="516"/>
                </a:lnTo>
                <a:lnTo>
                  <a:pt x="142" y="516"/>
                </a:lnTo>
                <a:lnTo>
                  <a:pt x="142" y="510"/>
                </a:lnTo>
                <a:lnTo>
                  <a:pt x="142" y="505"/>
                </a:lnTo>
                <a:lnTo>
                  <a:pt x="136" y="505"/>
                </a:lnTo>
                <a:lnTo>
                  <a:pt x="130" y="505"/>
                </a:lnTo>
                <a:lnTo>
                  <a:pt x="130" y="499"/>
                </a:lnTo>
                <a:lnTo>
                  <a:pt x="130" y="493"/>
                </a:lnTo>
                <a:lnTo>
                  <a:pt x="125" y="488"/>
                </a:lnTo>
                <a:lnTo>
                  <a:pt x="119" y="493"/>
                </a:lnTo>
                <a:lnTo>
                  <a:pt x="113" y="493"/>
                </a:lnTo>
                <a:lnTo>
                  <a:pt x="108" y="488"/>
                </a:lnTo>
                <a:lnTo>
                  <a:pt x="113" y="482"/>
                </a:lnTo>
                <a:lnTo>
                  <a:pt x="113" y="476"/>
                </a:lnTo>
                <a:lnTo>
                  <a:pt x="119" y="476"/>
                </a:lnTo>
                <a:lnTo>
                  <a:pt x="113" y="471"/>
                </a:lnTo>
                <a:lnTo>
                  <a:pt x="108" y="471"/>
                </a:lnTo>
                <a:lnTo>
                  <a:pt x="102" y="459"/>
                </a:lnTo>
                <a:lnTo>
                  <a:pt x="96" y="454"/>
                </a:lnTo>
                <a:lnTo>
                  <a:pt x="96" y="459"/>
                </a:lnTo>
                <a:lnTo>
                  <a:pt x="91" y="459"/>
                </a:lnTo>
                <a:lnTo>
                  <a:pt x="91" y="465"/>
                </a:lnTo>
                <a:lnTo>
                  <a:pt x="91" y="471"/>
                </a:lnTo>
                <a:lnTo>
                  <a:pt x="85" y="471"/>
                </a:lnTo>
                <a:lnTo>
                  <a:pt x="85" y="476"/>
                </a:lnTo>
                <a:lnTo>
                  <a:pt x="79" y="476"/>
                </a:lnTo>
                <a:lnTo>
                  <a:pt x="74" y="476"/>
                </a:lnTo>
                <a:lnTo>
                  <a:pt x="74" y="471"/>
                </a:lnTo>
                <a:lnTo>
                  <a:pt x="68" y="471"/>
                </a:lnTo>
                <a:lnTo>
                  <a:pt x="68" y="465"/>
                </a:lnTo>
                <a:lnTo>
                  <a:pt x="62" y="459"/>
                </a:lnTo>
                <a:lnTo>
                  <a:pt x="57" y="459"/>
                </a:lnTo>
                <a:lnTo>
                  <a:pt x="34" y="459"/>
                </a:lnTo>
                <a:lnTo>
                  <a:pt x="28" y="459"/>
                </a:lnTo>
                <a:lnTo>
                  <a:pt x="23" y="454"/>
                </a:lnTo>
                <a:lnTo>
                  <a:pt x="17" y="448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2" name="Freeform 13"/>
          <p:cNvSpPr>
            <a:spLocks/>
          </p:cNvSpPr>
          <p:nvPr/>
        </p:nvSpPr>
        <p:spPr bwMode="gray">
          <a:xfrm>
            <a:off x="824500" y="4284226"/>
            <a:ext cx="1141987" cy="1017200"/>
          </a:xfrm>
          <a:custGeom>
            <a:avLst/>
            <a:gdLst>
              <a:gd name="T0" fmla="*/ 2147483647 w 674"/>
              <a:gd name="T1" fmla="*/ 2147483647 h 601"/>
              <a:gd name="T2" fmla="*/ 2147483647 w 674"/>
              <a:gd name="T3" fmla="*/ 2147483647 h 601"/>
              <a:gd name="T4" fmla="*/ 2147483647 w 674"/>
              <a:gd name="T5" fmla="*/ 2147483647 h 601"/>
              <a:gd name="T6" fmla="*/ 2147483647 w 674"/>
              <a:gd name="T7" fmla="*/ 2147483647 h 601"/>
              <a:gd name="T8" fmla="*/ 2147483647 w 674"/>
              <a:gd name="T9" fmla="*/ 2147483647 h 601"/>
              <a:gd name="T10" fmla="*/ 2147483647 w 674"/>
              <a:gd name="T11" fmla="*/ 2147483647 h 601"/>
              <a:gd name="T12" fmla="*/ 2147483647 w 674"/>
              <a:gd name="T13" fmla="*/ 2147483647 h 601"/>
              <a:gd name="T14" fmla="*/ 2147483647 w 674"/>
              <a:gd name="T15" fmla="*/ 2147483647 h 601"/>
              <a:gd name="T16" fmla="*/ 2147483647 w 674"/>
              <a:gd name="T17" fmla="*/ 2147483647 h 601"/>
              <a:gd name="T18" fmla="*/ 2147483647 w 674"/>
              <a:gd name="T19" fmla="*/ 2147483647 h 601"/>
              <a:gd name="T20" fmla="*/ 2147483647 w 674"/>
              <a:gd name="T21" fmla="*/ 2147483647 h 601"/>
              <a:gd name="T22" fmla="*/ 2147483647 w 674"/>
              <a:gd name="T23" fmla="*/ 2147483647 h 601"/>
              <a:gd name="T24" fmla="*/ 2147483647 w 674"/>
              <a:gd name="T25" fmla="*/ 0 h 601"/>
              <a:gd name="T26" fmla="*/ 2147483647 w 674"/>
              <a:gd name="T27" fmla="*/ 2147483647 h 601"/>
              <a:gd name="T28" fmla="*/ 2147483647 w 674"/>
              <a:gd name="T29" fmla="*/ 2147483647 h 601"/>
              <a:gd name="T30" fmla="*/ 2147483647 w 674"/>
              <a:gd name="T31" fmla="*/ 2147483647 h 601"/>
              <a:gd name="T32" fmla="*/ 2147483647 w 674"/>
              <a:gd name="T33" fmla="*/ 2147483647 h 601"/>
              <a:gd name="T34" fmla="*/ 2147483647 w 674"/>
              <a:gd name="T35" fmla="*/ 2147483647 h 601"/>
              <a:gd name="T36" fmla="*/ 2147483647 w 674"/>
              <a:gd name="T37" fmla="*/ 2147483647 h 601"/>
              <a:gd name="T38" fmla="*/ 2147483647 w 674"/>
              <a:gd name="T39" fmla="*/ 2147483647 h 601"/>
              <a:gd name="T40" fmla="*/ 2147483647 w 674"/>
              <a:gd name="T41" fmla="*/ 2147483647 h 601"/>
              <a:gd name="T42" fmla="*/ 2147483647 w 674"/>
              <a:gd name="T43" fmla="*/ 2147483647 h 601"/>
              <a:gd name="T44" fmla="*/ 2147483647 w 674"/>
              <a:gd name="T45" fmla="*/ 2147483647 h 601"/>
              <a:gd name="T46" fmla="*/ 2147483647 w 674"/>
              <a:gd name="T47" fmla="*/ 2147483647 h 601"/>
              <a:gd name="T48" fmla="*/ 2147483647 w 674"/>
              <a:gd name="T49" fmla="*/ 2147483647 h 601"/>
              <a:gd name="T50" fmla="*/ 2147483647 w 674"/>
              <a:gd name="T51" fmla="*/ 2147483647 h 601"/>
              <a:gd name="T52" fmla="*/ 2147483647 w 674"/>
              <a:gd name="T53" fmla="*/ 2147483647 h 601"/>
              <a:gd name="T54" fmla="*/ 2147483647 w 674"/>
              <a:gd name="T55" fmla="*/ 2147483647 h 601"/>
              <a:gd name="T56" fmla="*/ 2147483647 w 674"/>
              <a:gd name="T57" fmla="*/ 2147483647 h 601"/>
              <a:gd name="T58" fmla="*/ 2147483647 w 674"/>
              <a:gd name="T59" fmla="*/ 2147483647 h 601"/>
              <a:gd name="T60" fmla="*/ 2147483647 w 674"/>
              <a:gd name="T61" fmla="*/ 2147483647 h 601"/>
              <a:gd name="T62" fmla="*/ 2147483647 w 674"/>
              <a:gd name="T63" fmla="*/ 2147483647 h 601"/>
              <a:gd name="T64" fmla="*/ 2147483647 w 674"/>
              <a:gd name="T65" fmla="*/ 2147483647 h 601"/>
              <a:gd name="T66" fmla="*/ 2147483647 w 674"/>
              <a:gd name="T67" fmla="*/ 2147483647 h 601"/>
              <a:gd name="T68" fmla="*/ 2147483647 w 674"/>
              <a:gd name="T69" fmla="*/ 2147483647 h 601"/>
              <a:gd name="T70" fmla="*/ 2147483647 w 674"/>
              <a:gd name="T71" fmla="*/ 2147483647 h 601"/>
              <a:gd name="T72" fmla="*/ 2147483647 w 674"/>
              <a:gd name="T73" fmla="*/ 2147483647 h 601"/>
              <a:gd name="T74" fmla="*/ 2147483647 w 674"/>
              <a:gd name="T75" fmla="*/ 2147483647 h 601"/>
              <a:gd name="T76" fmla="*/ 2147483647 w 674"/>
              <a:gd name="T77" fmla="*/ 2147483647 h 601"/>
              <a:gd name="T78" fmla="*/ 2147483647 w 674"/>
              <a:gd name="T79" fmla="*/ 2147483647 h 601"/>
              <a:gd name="T80" fmla="*/ 2147483647 w 674"/>
              <a:gd name="T81" fmla="*/ 2147483647 h 601"/>
              <a:gd name="T82" fmla="*/ 2147483647 w 674"/>
              <a:gd name="T83" fmla="*/ 2147483647 h 601"/>
              <a:gd name="T84" fmla="*/ 2147483647 w 674"/>
              <a:gd name="T85" fmla="*/ 2147483647 h 601"/>
              <a:gd name="T86" fmla="*/ 2147483647 w 674"/>
              <a:gd name="T87" fmla="*/ 2147483647 h 601"/>
              <a:gd name="T88" fmla="*/ 2147483647 w 674"/>
              <a:gd name="T89" fmla="*/ 2147483647 h 601"/>
              <a:gd name="T90" fmla="*/ 2147483647 w 674"/>
              <a:gd name="T91" fmla="*/ 2147483647 h 601"/>
              <a:gd name="T92" fmla="*/ 2147483647 w 674"/>
              <a:gd name="T93" fmla="*/ 2147483647 h 601"/>
              <a:gd name="T94" fmla="*/ 2147483647 w 674"/>
              <a:gd name="T95" fmla="*/ 2147483647 h 601"/>
              <a:gd name="T96" fmla="*/ 2147483647 w 674"/>
              <a:gd name="T97" fmla="*/ 2147483647 h 601"/>
              <a:gd name="T98" fmla="*/ 2147483647 w 674"/>
              <a:gd name="T99" fmla="*/ 2147483647 h 601"/>
              <a:gd name="T100" fmla="*/ 2147483647 w 674"/>
              <a:gd name="T101" fmla="*/ 2147483647 h 601"/>
              <a:gd name="T102" fmla="*/ 2147483647 w 674"/>
              <a:gd name="T103" fmla="*/ 2147483647 h 601"/>
              <a:gd name="T104" fmla="*/ 2147483647 w 674"/>
              <a:gd name="T105" fmla="*/ 2147483647 h 601"/>
              <a:gd name="T106" fmla="*/ 2147483647 w 674"/>
              <a:gd name="T107" fmla="*/ 2147483647 h 601"/>
              <a:gd name="T108" fmla="*/ 2147483647 w 674"/>
              <a:gd name="T109" fmla="*/ 2147483647 h 601"/>
              <a:gd name="T110" fmla="*/ 2147483647 w 674"/>
              <a:gd name="T111" fmla="*/ 2147483647 h 601"/>
              <a:gd name="T112" fmla="*/ 2147483647 w 674"/>
              <a:gd name="T113" fmla="*/ 2147483647 h 601"/>
              <a:gd name="T114" fmla="*/ 2147483647 w 674"/>
              <a:gd name="T115" fmla="*/ 2147483647 h 601"/>
              <a:gd name="T116" fmla="*/ 2147483647 w 674"/>
              <a:gd name="T117" fmla="*/ 2147483647 h 601"/>
              <a:gd name="T118" fmla="*/ 2147483647 w 674"/>
              <a:gd name="T119" fmla="*/ 2147483647 h 601"/>
              <a:gd name="T120" fmla="*/ 2147483647 w 674"/>
              <a:gd name="T121" fmla="*/ 2147483647 h 601"/>
              <a:gd name="T122" fmla="*/ 2147483647 w 674"/>
              <a:gd name="T123" fmla="*/ 2147483647 h 601"/>
              <a:gd name="T124" fmla="*/ 2147483647 w 674"/>
              <a:gd name="T125" fmla="*/ 2147483647 h 60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74"/>
              <a:gd name="T190" fmla="*/ 0 h 601"/>
              <a:gd name="T191" fmla="*/ 674 w 674"/>
              <a:gd name="T192" fmla="*/ 601 h 60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74" h="601">
                <a:moveTo>
                  <a:pt x="17" y="533"/>
                </a:moveTo>
                <a:lnTo>
                  <a:pt x="17" y="527"/>
                </a:lnTo>
                <a:lnTo>
                  <a:pt x="17" y="522"/>
                </a:lnTo>
                <a:lnTo>
                  <a:pt x="17" y="516"/>
                </a:lnTo>
                <a:lnTo>
                  <a:pt x="23" y="510"/>
                </a:lnTo>
                <a:lnTo>
                  <a:pt x="28" y="510"/>
                </a:lnTo>
                <a:lnTo>
                  <a:pt x="28" y="505"/>
                </a:lnTo>
                <a:lnTo>
                  <a:pt x="23" y="499"/>
                </a:lnTo>
                <a:lnTo>
                  <a:pt x="23" y="488"/>
                </a:lnTo>
                <a:lnTo>
                  <a:pt x="23" y="482"/>
                </a:lnTo>
                <a:lnTo>
                  <a:pt x="28" y="471"/>
                </a:lnTo>
                <a:lnTo>
                  <a:pt x="28" y="465"/>
                </a:lnTo>
                <a:lnTo>
                  <a:pt x="34" y="465"/>
                </a:lnTo>
                <a:lnTo>
                  <a:pt x="40" y="459"/>
                </a:lnTo>
                <a:lnTo>
                  <a:pt x="40" y="448"/>
                </a:lnTo>
                <a:lnTo>
                  <a:pt x="40" y="442"/>
                </a:lnTo>
                <a:lnTo>
                  <a:pt x="40" y="437"/>
                </a:lnTo>
                <a:lnTo>
                  <a:pt x="34" y="437"/>
                </a:lnTo>
                <a:lnTo>
                  <a:pt x="28" y="437"/>
                </a:lnTo>
                <a:lnTo>
                  <a:pt x="23" y="437"/>
                </a:lnTo>
                <a:lnTo>
                  <a:pt x="23" y="431"/>
                </a:lnTo>
                <a:lnTo>
                  <a:pt x="17" y="425"/>
                </a:lnTo>
                <a:lnTo>
                  <a:pt x="17" y="420"/>
                </a:lnTo>
                <a:lnTo>
                  <a:pt x="28" y="408"/>
                </a:lnTo>
                <a:lnTo>
                  <a:pt x="23" y="403"/>
                </a:lnTo>
                <a:lnTo>
                  <a:pt x="28" y="391"/>
                </a:lnTo>
                <a:lnTo>
                  <a:pt x="28" y="386"/>
                </a:lnTo>
                <a:lnTo>
                  <a:pt x="28" y="380"/>
                </a:lnTo>
                <a:lnTo>
                  <a:pt x="28" y="374"/>
                </a:lnTo>
                <a:lnTo>
                  <a:pt x="17" y="374"/>
                </a:lnTo>
                <a:lnTo>
                  <a:pt x="17" y="357"/>
                </a:lnTo>
                <a:lnTo>
                  <a:pt x="17" y="352"/>
                </a:lnTo>
                <a:lnTo>
                  <a:pt x="23" y="346"/>
                </a:lnTo>
                <a:lnTo>
                  <a:pt x="28" y="346"/>
                </a:lnTo>
                <a:lnTo>
                  <a:pt x="34" y="340"/>
                </a:lnTo>
                <a:lnTo>
                  <a:pt x="40" y="340"/>
                </a:lnTo>
                <a:lnTo>
                  <a:pt x="40" y="335"/>
                </a:lnTo>
                <a:lnTo>
                  <a:pt x="40" y="329"/>
                </a:lnTo>
                <a:lnTo>
                  <a:pt x="34" y="329"/>
                </a:lnTo>
                <a:lnTo>
                  <a:pt x="28" y="323"/>
                </a:lnTo>
                <a:lnTo>
                  <a:pt x="23" y="318"/>
                </a:lnTo>
                <a:lnTo>
                  <a:pt x="28" y="312"/>
                </a:lnTo>
                <a:lnTo>
                  <a:pt x="34" y="306"/>
                </a:lnTo>
                <a:lnTo>
                  <a:pt x="40" y="295"/>
                </a:lnTo>
                <a:lnTo>
                  <a:pt x="40" y="289"/>
                </a:lnTo>
                <a:lnTo>
                  <a:pt x="40" y="284"/>
                </a:lnTo>
                <a:lnTo>
                  <a:pt x="40" y="278"/>
                </a:lnTo>
                <a:lnTo>
                  <a:pt x="34" y="267"/>
                </a:lnTo>
                <a:lnTo>
                  <a:pt x="34" y="261"/>
                </a:lnTo>
                <a:lnTo>
                  <a:pt x="28" y="261"/>
                </a:lnTo>
                <a:lnTo>
                  <a:pt x="28" y="255"/>
                </a:lnTo>
                <a:lnTo>
                  <a:pt x="28" y="244"/>
                </a:lnTo>
                <a:lnTo>
                  <a:pt x="28" y="238"/>
                </a:lnTo>
                <a:lnTo>
                  <a:pt x="28" y="221"/>
                </a:lnTo>
                <a:lnTo>
                  <a:pt x="28" y="204"/>
                </a:lnTo>
                <a:lnTo>
                  <a:pt x="34" y="204"/>
                </a:lnTo>
                <a:lnTo>
                  <a:pt x="40" y="204"/>
                </a:lnTo>
                <a:lnTo>
                  <a:pt x="45" y="199"/>
                </a:lnTo>
                <a:lnTo>
                  <a:pt x="45" y="193"/>
                </a:lnTo>
                <a:lnTo>
                  <a:pt x="45" y="182"/>
                </a:lnTo>
                <a:lnTo>
                  <a:pt x="40" y="176"/>
                </a:lnTo>
                <a:lnTo>
                  <a:pt x="34" y="170"/>
                </a:lnTo>
                <a:lnTo>
                  <a:pt x="34" y="165"/>
                </a:lnTo>
                <a:lnTo>
                  <a:pt x="28" y="165"/>
                </a:lnTo>
                <a:lnTo>
                  <a:pt x="28" y="159"/>
                </a:lnTo>
                <a:lnTo>
                  <a:pt x="28" y="153"/>
                </a:lnTo>
                <a:lnTo>
                  <a:pt x="23" y="148"/>
                </a:lnTo>
                <a:lnTo>
                  <a:pt x="23" y="142"/>
                </a:lnTo>
                <a:lnTo>
                  <a:pt x="17" y="136"/>
                </a:lnTo>
                <a:lnTo>
                  <a:pt x="17" y="131"/>
                </a:lnTo>
                <a:lnTo>
                  <a:pt x="17" y="119"/>
                </a:lnTo>
                <a:lnTo>
                  <a:pt x="23" y="102"/>
                </a:lnTo>
                <a:lnTo>
                  <a:pt x="23" y="91"/>
                </a:lnTo>
                <a:lnTo>
                  <a:pt x="17" y="85"/>
                </a:lnTo>
                <a:lnTo>
                  <a:pt x="23" y="74"/>
                </a:lnTo>
                <a:lnTo>
                  <a:pt x="23" y="68"/>
                </a:lnTo>
                <a:lnTo>
                  <a:pt x="17" y="62"/>
                </a:lnTo>
                <a:lnTo>
                  <a:pt x="11" y="62"/>
                </a:lnTo>
                <a:lnTo>
                  <a:pt x="11" y="57"/>
                </a:lnTo>
                <a:lnTo>
                  <a:pt x="11" y="51"/>
                </a:lnTo>
                <a:lnTo>
                  <a:pt x="6" y="45"/>
                </a:lnTo>
                <a:lnTo>
                  <a:pt x="0" y="34"/>
                </a:lnTo>
                <a:lnTo>
                  <a:pt x="6" y="23"/>
                </a:lnTo>
                <a:lnTo>
                  <a:pt x="6" y="17"/>
                </a:lnTo>
                <a:lnTo>
                  <a:pt x="11" y="17"/>
                </a:lnTo>
                <a:lnTo>
                  <a:pt x="11" y="11"/>
                </a:lnTo>
                <a:lnTo>
                  <a:pt x="11" y="6"/>
                </a:lnTo>
                <a:lnTo>
                  <a:pt x="11" y="0"/>
                </a:lnTo>
                <a:lnTo>
                  <a:pt x="17" y="0"/>
                </a:lnTo>
                <a:lnTo>
                  <a:pt x="23" y="0"/>
                </a:lnTo>
                <a:lnTo>
                  <a:pt x="28" y="0"/>
                </a:lnTo>
                <a:lnTo>
                  <a:pt x="34" y="0"/>
                </a:lnTo>
                <a:lnTo>
                  <a:pt x="40" y="0"/>
                </a:lnTo>
                <a:lnTo>
                  <a:pt x="45" y="0"/>
                </a:lnTo>
                <a:lnTo>
                  <a:pt x="51" y="0"/>
                </a:lnTo>
                <a:lnTo>
                  <a:pt x="62" y="6"/>
                </a:lnTo>
                <a:lnTo>
                  <a:pt x="57" y="11"/>
                </a:lnTo>
                <a:lnTo>
                  <a:pt x="62" y="11"/>
                </a:lnTo>
                <a:lnTo>
                  <a:pt x="62" y="17"/>
                </a:lnTo>
                <a:lnTo>
                  <a:pt x="68" y="23"/>
                </a:lnTo>
                <a:lnTo>
                  <a:pt x="68" y="28"/>
                </a:lnTo>
                <a:lnTo>
                  <a:pt x="68" y="34"/>
                </a:lnTo>
                <a:lnTo>
                  <a:pt x="68" y="45"/>
                </a:lnTo>
                <a:lnTo>
                  <a:pt x="68" y="51"/>
                </a:lnTo>
                <a:lnTo>
                  <a:pt x="68" y="57"/>
                </a:lnTo>
                <a:lnTo>
                  <a:pt x="68" y="62"/>
                </a:lnTo>
                <a:lnTo>
                  <a:pt x="68" y="68"/>
                </a:lnTo>
                <a:lnTo>
                  <a:pt x="68" y="74"/>
                </a:lnTo>
                <a:lnTo>
                  <a:pt x="74" y="74"/>
                </a:lnTo>
                <a:lnTo>
                  <a:pt x="79" y="74"/>
                </a:lnTo>
                <a:lnTo>
                  <a:pt x="79" y="68"/>
                </a:lnTo>
                <a:lnTo>
                  <a:pt x="79" y="62"/>
                </a:lnTo>
                <a:lnTo>
                  <a:pt x="85" y="57"/>
                </a:lnTo>
                <a:lnTo>
                  <a:pt x="85" y="45"/>
                </a:lnTo>
                <a:lnTo>
                  <a:pt x="91" y="40"/>
                </a:lnTo>
                <a:lnTo>
                  <a:pt x="96" y="40"/>
                </a:lnTo>
                <a:lnTo>
                  <a:pt x="102" y="45"/>
                </a:lnTo>
                <a:lnTo>
                  <a:pt x="108" y="51"/>
                </a:lnTo>
                <a:lnTo>
                  <a:pt x="108" y="57"/>
                </a:lnTo>
                <a:lnTo>
                  <a:pt x="108" y="62"/>
                </a:lnTo>
                <a:lnTo>
                  <a:pt x="108" y="68"/>
                </a:lnTo>
                <a:lnTo>
                  <a:pt x="108" y="74"/>
                </a:lnTo>
                <a:lnTo>
                  <a:pt x="102" y="74"/>
                </a:lnTo>
                <a:lnTo>
                  <a:pt x="102" y="80"/>
                </a:lnTo>
                <a:lnTo>
                  <a:pt x="102" y="85"/>
                </a:lnTo>
                <a:lnTo>
                  <a:pt x="102" y="91"/>
                </a:lnTo>
                <a:lnTo>
                  <a:pt x="96" y="97"/>
                </a:lnTo>
                <a:lnTo>
                  <a:pt x="96" y="108"/>
                </a:lnTo>
                <a:lnTo>
                  <a:pt x="96" y="114"/>
                </a:lnTo>
                <a:lnTo>
                  <a:pt x="102" y="119"/>
                </a:lnTo>
                <a:lnTo>
                  <a:pt x="102" y="125"/>
                </a:lnTo>
                <a:lnTo>
                  <a:pt x="102" y="131"/>
                </a:lnTo>
                <a:lnTo>
                  <a:pt x="108" y="131"/>
                </a:lnTo>
                <a:lnTo>
                  <a:pt x="108" y="136"/>
                </a:lnTo>
                <a:lnTo>
                  <a:pt x="108" y="142"/>
                </a:lnTo>
                <a:lnTo>
                  <a:pt x="113" y="142"/>
                </a:lnTo>
                <a:lnTo>
                  <a:pt x="113" y="148"/>
                </a:lnTo>
                <a:lnTo>
                  <a:pt x="113" y="153"/>
                </a:lnTo>
                <a:lnTo>
                  <a:pt x="119" y="153"/>
                </a:lnTo>
                <a:lnTo>
                  <a:pt x="125" y="153"/>
                </a:lnTo>
                <a:lnTo>
                  <a:pt x="125" y="159"/>
                </a:lnTo>
                <a:lnTo>
                  <a:pt x="125" y="165"/>
                </a:lnTo>
                <a:lnTo>
                  <a:pt x="130" y="165"/>
                </a:lnTo>
                <a:lnTo>
                  <a:pt x="130" y="170"/>
                </a:lnTo>
                <a:lnTo>
                  <a:pt x="136" y="170"/>
                </a:lnTo>
                <a:lnTo>
                  <a:pt x="136" y="182"/>
                </a:lnTo>
                <a:lnTo>
                  <a:pt x="142" y="182"/>
                </a:lnTo>
                <a:lnTo>
                  <a:pt x="142" y="187"/>
                </a:lnTo>
                <a:lnTo>
                  <a:pt x="142" y="193"/>
                </a:lnTo>
                <a:lnTo>
                  <a:pt x="147" y="193"/>
                </a:lnTo>
                <a:lnTo>
                  <a:pt x="153" y="199"/>
                </a:lnTo>
                <a:lnTo>
                  <a:pt x="159" y="210"/>
                </a:lnTo>
                <a:lnTo>
                  <a:pt x="164" y="210"/>
                </a:lnTo>
                <a:lnTo>
                  <a:pt x="164" y="216"/>
                </a:lnTo>
                <a:lnTo>
                  <a:pt x="170" y="216"/>
                </a:lnTo>
                <a:lnTo>
                  <a:pt x="170" y="221"/>
                </a:lnTo>
                <a:lnTo>
                  <a:pt x="181" y="227"/>
                </a:lnTo>
                <a:lnTo>
                  <a:pt x="187" y="227"/>
                </a:lnTo>
                <a:lnTo>
                  <a:pt x="193" y="227"/>
                </a:lnTo>
                <a:lnTo>
                  <a:pt x="198" y="227"/>
                </a:lnTo>
                <a:lnTo>
                  <a:pt x="204" y="227"/>
                </a:lnTo>
                <a:lnTo>
                  <a:pt x="210" y="227"/>
                </a:lnTo>
                <a:lnTo>
                  <a:pt x="215" y="227"/>
                </a:lnTo>
                <a:lnTo>
                  <a:pt x="221" y="221"/>
                </a:lnTo>
                <a:lnTo>
                  <a:pt x="227" y="216"/>
                </a:lnTo>
                <a:lnTo>
                  <a:pt x="232" y="210"/>
                </a:lnTo>
                <a:lnTo>
                  <a:pt x="232" y="204"/>
                </a:lnTo>
                <a:lnTo>
                  <a:pt x="238" y="199"/>
                </a:lnTo>
                <a:lnTo>
                  <a:pt x="238" y="193"/>
                </a:lnTo>
                <a:lnTo>
                  <a:pt x="238" y="182"/>
                </a:lnTo>
                <a:lnTo>
                  <a:pt x="244" y="182"/>
                </a:lnTo>
                <a:lnTo>
                  <a:pt x="244" y="176"/>
                </a:lnTo>
                <a:lnTo>
                  <a:pt x="249" y="176"/>
                </a:lnTo>
                <a:lnTo>
                  <a:pt x="255" y="176"/>
                </a:lnTo>
                <a:lnTo>
                  <a:pt x="255" y="182"/>
                </a:lnTo>
                <a:lnTo>
                  <a:pt x="261" y="182"/>
                </a:lnTo>
                <a:lnTo>
                  <a:pt x="261" y="187"/>
                </a:lnTo>
                <a:lnTo>
                  <a:pt x="261" y="193"/>
                </a:lnTo>
                <a:lnTo>
                  <a:pt x="266" y="193"/>
                </a:lnTo>
                <a:lnTo>
                  <a:pt x="266" y="199"/>
                </a:lnTo>
                <a:lnTo>
                  <a:pt x="272" y="199"/>
                </a:lnTo>
                <a:lnTo>
                  <a:pt x="278" y="199"/>
                </a:lnTo>
                <a:lnTo>
                  <a:pt x="283" y="199"/>
                </a:lnTo>
                <a:lnTo>
                  <a:pt x="295" y="193"/>
                </a:lnTo>
                <a:lnTo>
                  <a:pt x="306" y="193"/>
                </a:lnTo>
                <a:lnTo>
                  <a:pt x="312" y="193"/>
                </a:lnTo>
                <a:lnTo>
                  <a:pt x="317" y="193"/>
                </a:lnTo>
                <a:lnTo>
                  <a:pt x="323" y="199"/>
                </a:lnTo>
                <a:lnTo>
                  <a:pt x="329" y="199"/>
                </a:lnTo>
                <a:lnTo>
                  <a:pt x="334" y="199"/>
                </a:lnTo>
                <a:lnTo>
                  <a:pt x="340" y="199"/>
                </a:lnTo>
                <a:lnTo>
                  <a:pt x="340" y="204"/>
                </a:lnTo>
                <a:lnTo>
                  <a:pt x="346" y="204"/>
                </a:lnTo>
                <a:lnTo>
                  <a:pt x="346" y="210"/>
                </a:lnTo>
                <a:lnTo>
                  <a:pt x="346" y="216"/>
                </a:lnTo>
                <a:lnTo>
                  <a:pt x="351" y="216"/>
                </a:lnTo>
                <a:lnTo>
                  <a:pt x="351" y="221"/>
                </a:lnTo>
                <a:lnTo>
                  <a:pt x="351" y="227"/>
                </a:lnTo>
                <a:lnTo>
                  <a:pt x="351" y="233"/>
                </a:lnTo>
                <a:lnTo>
                  <a:pt x="357" y="238"/>
                </a:lnTo>
                <a:lnTo>
                  <a:pt x="363" y="238"/>
                </a:lnTo>
                <a:lnTo>
                  <a:pt x="363" y="244"/>
                </a:lnTo>
                <a:lnTo>
                  <a:pt x="363" y="250"/>
                </a:lnTo>
                <a:lnTo>
                  <a:pt x="368" y="250"/>
                </a:lnTo>
                <a:lnTo>
                  <a:pt x="374" y="250"/>
                </a:lnTo>
                <a:lnTo>
                  <a:pt x="374" y="261"/>
                </a:lnTo>
                <a:lnTo>
                  <a:pt x="374" y="267"/>
                </a:lnTo>
                <a:lnTo>
                  <a:pt x="374" y="272"/>
                </a:lnTo>
                <a:lnTo>
                  <a:pt x="374" y="278"/>
                </a:lnTo>
                <a:lnTo>
                  <a:pt x="374" y="284"/>
                </a:lnTo>
                <a:lnTo>
                  <a:pt x="374" y="289"/>
                </a:lnTo>
                <a:lnTo>
                  <a:pt x="374" y="295"/>
                </a:lnTo>
                <a:lnTo>
                  <a:pt x="374" y="301"/>
                </a:lnTo>
                <a:lnTo>
                  <a:pt x="374" y="306"/>
                </a:lnTo>
                <a:lnTo>
                  <a:pt x="368" y="312"/>
                </a:lnTo>
                <a:lnTo>
                  <a:pt x="363" y="312"/>
                </a:lnTo>
                <a:lnTo>
                  <a:pt x="363" y="318"/>
                </a:lnTo>
                <a:lnTo>
                  <a:pt x="363" y="323"/>
                </a:lnTo>
                <a:lnTo>
                  <a:pt x="368" y="323"/>
                </a:lnTo>
                <a:lnTo>
                  <a:pt x="374" y="323"/>
                </a:lnTo>
                <a:lnTo>
                  <a:pt x="385" y="329"/>
                </a:lnTo>
                <a:lnTo>
                  <a:pt x="391" y="329"/>
                </a:lnTo>
                <a:lnTo>
                  <a:pt x="397" y="329"/>
                </a:lnTo>
                <a:lnTo>
                  <a:pt x="402" y="329"/>
                </a:lnTo>
                <a:lnTo>
                  <a:pt x="408" y="329"/>
                </a:lnTo>
                <a:lnTo>
                  <a:pt x="419" y="329"/>
                </a:lnTo>
                <a:lnTo>
                  <a:pt x="431" y="323"/>
                </a:lnTo>
                <a:lnTo>
                  <a:pt x="436" y="323"/>
                </a:lnTo>
                <a:lnTo>
                  <a:pt x="442" y="318"/>
                </a:lnTo>
                <a:lnTo>
                  <a:pt x="448" y="318"/>
                </a:lnTo>
                <a:lnTo>
                  <a:pt x="448" y="323"/>
                </a:lnTo>
                <a:lnTo>
                  <a:pt x="453" y="323"/>
                </a:lnTo>
                <a:lnTo>
                  <a:pt x="459" y="318"/>
                </a:lnTo>
                <a:lnTo>
                  <a:pt x="465" y="318"/>
                </a:lnTo>
                <a:lnTo>
                  <a:pt x="465" y="312"/>
                </a:lnTo>
                <a:lnTo>
                  <a:pt x="470" y="306"/>
                </a:lnTo>
                <a:lnTo>
                  <a:pt x="476" y="306"/>
                </a:lnTo>
                <a:lnTo>
                  <a:pt x="482" y="301"/>
                </a:lnTo>
                <a:lnTo>
                  <a:pt x="487" y="301"/>
                </a:lnTo>
                <a:lnTo>
                  <a:pt x="487" y="295"/>
                </a:lnTo>
                <a:lnTo>
                  <a:pt x="493" y="295"/>
                </a:lnTo>
                <a:lnTo>
                  <a:pt x="499" y="289"/>
                </a:lnTo>
                <a:lnTo>
                  <a:pt x="504" y="289"/>
                </a:lnTo>
                <a:lnTo>
                  <a:pt x="510" y="295"/>
                </a:lnTo>
                <a:lnTo>
                  <a:pt x="516" y="295"/>
                </a:lnTo>
                <a:lnTo>
                  <a:pt x="516" y="306"/>
                </a:lnTo>
                <a:lnTo>
                  <a:pt x="521" y="312"/>
                </a:lnTo>
                <a:lnTo>
                  <a:pt x="527" y="318"/>
                </a:lnTo>
                <a:lnTo>
                  <a:pt x="527" y="323"/>
                </a:lnTo>
                <a:lnTo>
                  <a:pt x="527" y="329"/>
                </a:lnTo>
                <a:lnTo>
                  <a:pt x="533" y="335"/>
                </a:lnTo>
                <a:lnTo>
                  <a:pt x="538" y="340"/>
                </a:lnTo>
                <a:lnTo>
                  <a:pt x="544" y="340"/>
                </a:lnTo>
                <a:lnTo>
                  <a:pt x="550" y="335"/>
                </a:lnTo>
                <a:lnTo>
                  <a:pt x="555" y="335"/>
                </a:lnTo>
                <a:lnTo>
                  <a:pt x="561" y="335"/>
                </a:lnTo>
                <a:lnTo>
                  <a:pt x="561" y="329"/>
                </a:lnTo>
                <a:lnTo>
                  <a:pt x="567" y="323"/>
                </a:lnTo>
                <a:lnTo>
                  <a:pt x="572" y="323"/>
                </a:lnTo>
                <a:lnTo>
                  <a:pt x="578" y="329"/>
                </a:lnTo>
                <a:lnTo>
                  <a:pt x="584" y="329"/>
                </a:lnTo>
                <a:lnTo>
                  <a:pt x="584" y="335"/>
                </a:lnTo>
                <a:lnTo>
                  <a:pt x="584" y="340"/>
                </a:lnTo>
                <a:lnTo>
                  <a:pt x="589" y="346"/>
                </a:lnTo>
                <a:lnTo>
                  <a:pt x="589" y="352"/>
                </a:lnTo>
                <a:lnTo>
                  <a:pt x="601" y="357"/>
                </a:lnTo>
                <a:lnTo>
                  <a:pt x="601" y="363"/>
                </a:lnTo>
                <a:lnTo>
                  <a:pt x="606" y="363"/>
                </a:lnTo>
                <a:lnTo>
                  <a:pt x="612" y="363"/>
                </a:lnTo>
                <a:lnTo>
                  <a:pt x="629" y="357"/>
                </a:lnTo>
                <a:lnTo>
                  <a:pt x="629" y="352"/>
                </a:lnTo>
                <a:lnTo>
                  <a:pt x="635" y="352"/>
                </a:lnTo>
                <a:lnTo>
                  <a:pt x="640" y="352"/>
                </a:lnTo>
                <a:lnTo>
                  <a:pt x="652" y="352"/>
                </a:lnTo>
                <a:lnTo>
                  <a:pt x="657" y="352"/>
                </a:lnTo>
                <a:lnTo>
                  <a:pt x="663" y="352"/>
                </a:lnTo>
                <a:lnTo>
                  <a:pt x="669" y="352"/>
                </a:lnTo>
                <a:lnTo>
                  <a:pt x="663" y="363"/>
                </a:lnTo>
                <a:lnTo>
                  <a:pt x="663" y="374"/>
                </a:lnTo>
                <a:lnTo>
                  <a:pt x="657" y="380"/>
                </a:lnTo>
                <a:lnTo>
                  <a:pt x="657" y="391"/>
                </a:lnTo>
                <a:lnTo>
                  <a:pt x="657" y="403"/>
                </a:lnTo>
                <a:lnTo>
                  <a:pt x="657" y="408"/>
                </a:lnTo>
                <a:lnTo>
                  <a:pt x="657" y="414"/>
                </a:lnTo>
                <a:lnTo>
                  <a:pt x="646" y="420"/>
                </a:lnTo>
                <a:lnTo>
                  <a:pt x="640" y="420"/>
                </a:lnTo>
                <a:lnTo>
                  <a:pt x="635" y="425"/>
                </a:lnTo>
                <a:lnTo>
                  <a:pt x="629" y="431"/>
                </a:lnTo>
                <a:lnTo>
                  <a:pt x="623" y="431"/>
                </a:lnTo>
                <a:lnTo>
                  <a:pt x="618" y="437"/>
                </a:lnTo>
                <a:lnTo>
                  <a:pt x="606" y="442"/>
                </a:lnTo>
                <a:lnTo>
                  <a:pt x="601" y="448"/>
                </a:lnTo>
                <a:lnTo>
                  <a:pt x="601" y="454"/>
                </a:lnTo>
                <a:lnTo>
                  <a:pt x="601" y="471"/>
                </a:lnTo>
                <a:lnTo>
                  <a:pt x="595" y="471"/>
                </a:lnTo>
                <a:lnTo>
                  <a:pt x="595" y="476"/>
                </a:lnTo>
                <a:lnTo>
                  <a:pt x="601" y="482"/>
                </a:lnTo>
                <a:lnTo>
                  <a:pt x="601" y="488"/>
                </a:lnTo>
                <a:lnTo>
                  <a:pt x="606" y="493"/>
                </a:lnTo>
                <a:lnTo>
                  <a:pt x="612" y="499"/>
                </a:lnTo>
                <a:lnTo>
                  <a:pt x="618" y="499"/>
                </a:lnTo>
                <a:lnTo>
                  <a:pt x="629" y="499"/>
                </a:lnTo>
                <a:lnTo>
                  <a:pt x="635" y="499"/>
                </a:lnTo>
                <a:lnTo>
                  <a:pt x="640" y="499"/>
                </a:lnTo>
                <a:lnTo>
                  <a:pt x="646" y="499"/>
                </a:lnTo>
                <a:lnTo>
                  <a:pt x="652" y="493"/>
                </a:lnTo>
                <a:lnTo>
                  <a:pt x="657" y="488"/>
                </a:lnTo>
                <a:lnTo>
                  <a:pt x="669" y="482"/>
                </a:lnTo>
                <a:lnTo>
                  <a:pt x="669" y="476"/>
                </a:lnTo>
                <a:lnTo>
                  <a:pt x="674" y="476"/>
                </a:lnTo>
                <a:lnTo>
                  <a:pt x="674" y="482"/>
                </a:lnTo>
                <a:lnTo>
                  <a:pt x="674" y="488"/>
                </a:lnTo>
                <a:lnTo>
                  <a:pt x="674" y="493"/>
                </a:lnTo>
                <a:lnTo>
                  <a:pt x="674" y="499"/>
                </a:lnTo>
                <a:lnTo>
                  <a:pt x="674" y="505"/>
                </a:lnTo>
                <a:lnTo>
                  <a:pt x="674" y="516"/>
                </a:lnTo>
                <a:lnTo>
                  <a:pt x="674" y="522"/>
                </a:lnTo>
                <a:lnTo>
                  <a:pt x="674" y="527"/>
                </a:lnTo>
                <a:lnTo>
                  <a:pt x="674" y="533"/>
                </a:lnTo>
                <a:lnTo>
                  <a:pt x="669" y="533"/>
                </a:lnTo>
                <a:lnTo>
                  <a:pt x="663" y="539"/>
                </a:lnTo>
                <a:lnTo>
                  <a:pt x="657" y="544"/>
                </a:lnTo>
                <a:lnTo>
                  <a:pt x="657" y="550"/>
                </a:lnTo>
                <a:lnTo>
                  <a:pt x="657" y="556"/>
                </a:lnTo>
                <a:lnTo>
                  <a:pt x="646" y="556"/>
                </a:lnTo>
                <a:lnTo>
                  <a:pt x="640" y="556"/>
                </a:lnTo>
                <a:lnTo>
                  <a:pt x="635" y="556"/>
                </a:lnTo>
                <a:lnTo>
                  <a:pt x="635" y="561"/>
                </a:lnTo>
                <a:lnTo>
                  <a:pt x="635" y="567"/>
                </a:lnTo>
                <a:lnTo>
                  <a:pt x="640" y="567"/>
                </a:lnTo>
                <a:lnTo>
                  <a:pt x="646" y="567"/>
                </a:lnTo>
                <a:lnTo>
                  <a:pt x="652" y="567"/>
                </a:lnTo>
                <a:lnTo>
                  <a:pt x="657" y="567"/>
                </a:lnTo>
                <a:lnTo>
                  <a:pt x="669" y="567"/>
                </a:lnTo>
                <a:lnTo>
                  <a:pt x="674" y="573"/>
                </a:lnTo>
                <a:lnTo>
                  <a:pt x="674" y="578"/>
                </a:lnTo>
                <a:lnTo>
                  <a:pt x="674" y="584"/>
                </a:lnTo>
                <a:lnTo>
                  <a:pt x="669" y="595"/>
                </a:lnTo>
                <a:lnTo>
                  <a:pt x="663" y="595"/>
                </a:lnTo>
                <a:lnTo>
                  <a:pt x="657" y="601"/>
                </a:lnTo>
                <a:lnTo>
                  <a:pt x="657" y="595"/>
                </a:lnTo>
                <a:lnTo>
                  <a:pt x="652" y="595"/>
                </a:lnTo>
                <a:lnTo>
                  <a:pt x="629" y="584"/>
                </a:lnTo>
                <a:lnTo>
                  <a:pt x="623" y="584"/>
                </a:lnTo>
                <a:lnTo>
                  <a:pt x="618" y="578"/>
                </a:lnTo>
                <a:lnTo>
                  <a:pt x="606" y="578"/>
                </a:lnTo>
                <a:lnTo>
                  <a:pt x="601" y="573"/>
                </a:lnTo>
                <a:lnTo>
                  <a:pt x="589" y="573"/>
                </a:lnTo>
                <a:lnTo>
                  <a:pt x="578" y="573"/>
                </a:lnTo>
                <a:lnTo>
                  <a:pt x="578" y="556"/>
                </a:lnTo>
                <a:lnTo>
                  <a:pt x="578" y="544"/>
                </a:lnTo>
                <a:lnTo>
                  <a:pt x="572" y="544"/>
                </a:lnTo>
                <a:lnTo>
                  <a:pt x="561" y="544"/>
                </a:lnTo>
                <a:lnTo>
                  <a:pt x="550" y="544"/>
                </a:lnTo>
                <a:lnTo>
                  <a:pt x="544" y="544"/>
                </a:lnTo>
                <a:lnTo>
                  <a:pt x="538" y="539"/>
                </a:lnTo>
                <a:lnTo>
                  <a:pt x="533" y="533"/>
                </a:lnTo>
                <a:lnTo>
                  <a:pt x="521" y="533"/>
                </a:lnTo>
                <a:lnTo>
                  <a:pt x="516" y="527"/>
                </a:lnTo>
                <a:lnTo>
                  <a:pt x="516" y="522"/>
                </a:lnTo>
                <a:lnTo>
                  <a:pt x="521" y="516"/>
                </a:lnTo>
                <a:lnTo>
                  <a:pt x="527" y="516"/>
                </a:lnTo>
                <a:lnTo>
                  <a:pt x="533" y="516"/>
                </a:lnTo>
                <a:lnTo>
                  <a:pt x="538" y="516"/>
                </a:lnTo>
                <a:lnTo>
                  <a:pt x="538" y="510"/>
                </a:lnTo>
                <a:lnTo>
                  <a:pt x="544" y="505"/>
                </a:lnTo>
                <a:lnTo>
                  <a:pt x="544" y="499"/>
                </a:lnTo>
                <a:lnTo>
                  <a:pt x="538" y="499"/>
                </a:lnTo>
                <a:lnTo>
                  <a:pt x="538" y="493"/>
                </a:lnTo>
                <a:lnTo>
                  <a:pt x="533" y="493"/>
                </a:lnTo>
                <a:lnTo>
                  <a:pt x="527" y="499"/>
                </a:lnTo>
                <a:lnTo>
                  <a:pt x="521" y="499"/>
                </a:lnTo>
                <a:lnTo>
                  <a:pt x="516" y="499"/>
                </a:lnTo>
                <a:lnTo>
                  <a:pt x="510" y="499"/>
                </a:lnTo>
                <a:lnTo>
                  <a:pt x="504" y="505"/>
                </a:lnTo>
                <a:lnTo>
                  <a:pt x="499" y="505"/>
                </a:lnTo>
                <a:lnTo>
                  <a:pt x="493" y="505"/>
                </a:lnTo>
                <a:lnTo>
                  <a:pt x="493" y="499"/>
                </a:lnTo>
                <a:lnTo>
                  <a:pt x="487" y="488"/>
                </a:lnTo>
                <a:lnTo>
                  <a:pt x="487" y="482"/>
                </a:lnTo>
                <a:lnTo>
                  <a:pt x="493" y="482"/>
                </a:lnTo>
                <a:lnTo>
                  <a:pt x="493" y="476"/>
                </a:lnTo>
                <a:lnTo>
                  <a:pt x="504" y="471"/>
                </a:lnTo>
                <a:lnTo>
                  <a:pt x="510" y="471"/>
                </a:lnTo>
                <a:lnTo>
                  <a:pt x="510" y="465"/>
                </a:lnTo>
                <a:lnTo>
                  <a:pt x="516" y="465"/>
                </a:lnTo>
                <a:lnTo>
                  <a:pt x="516" y="459"/>
                </a:lnTo>
                <a:lnTo>
                  <a:pt x="510" y="459"/>
                </a:lnTo>
                <a:lnTo>
                  <a:pt x="487" y="459"/>
                </a:lnTo>
                <a:lnTo>
                  <a:pt x="448" y="459"/>
                </a:lnTo>
                <a:lnTo>
                  <a:pt x="380" y="459"/>
                </a:lnTo>
                <a:lnTo>
                  <a:pt x="368" y="459"/>
                </a:lnTo>
                <a:lnTo>
                  <a:pt x="363" y="459"/>
                </a:lnTo>
                <a:lnTo>
                  <a:pt x="266" y="459"/>
                </a:lnTo>
                <a:lnTo>
                  <a:pt x="261" y="459"/>
                </a:lnTo>
                <a:lnTo>
                  <a:pt x="261" y="465"/>
                </a:lnTo>
                <a:lnTo>
                  <a:pt x="261" y="471"/>
                </a:lnTo>
                <a:lnTo>
                  <a:pt x="255" y="471"/>
                </a:lnTo>
                <a:lnTo>
                  <a:pt x="249" y="471"/>
                </a:lnTo>
                <a:lnTo>
                  <a:pt x="244" y="471"/>
                </a:lnTo>
                <a:lnTo>
                  <a:pt x="238" y="471"/>
                </a:lnTo>
                <a:lnTo>
                  <a:pt x="232" y="465"/>
                </a:lnTo>
                <a:lnTo>
                  <a:pt x="227" y="459"/>
                </a:lnTo>
                <a:lnTo>
                  <a:pt x="227" y="454"/>
                </a:lnTo>
                <a:lnTo>
                  <a:pt x="221" y="454"/>
                </a:lnTo>
                <a:lnTo>
                  <a:pt x="210" y="454"/>
                </a:lnTo>
                <a:lnTo>
                  <a:pt x="198" y="454"/>
                </a:lnTo>
                <a:lnTo>
                  <a:pt x="198" y="459"/>
                </a:lnTo>
                <a:lnTo>
                  <a:pt x="193" y="459"/>
                </a:lnTo>
                <a:lnTo>
                  <a:pt x="193" y="465"/>
                </a:lnTo>
                <a:lnTo>
                  <a:pt x="193" y="471"/>
                </a:lnTo>
                <a:lnTo>
                  <a:pt x="187" y="476"/>
                </a:lnTo>
                <a:lnTo>
                  <a:pt x="187" y="482"/>
                </a:lnTo>
                <a:lnTo>
                  <a:pt x="181" y="482"/>
                </a:lnTo>
                <a:lnTo>
                  <a:pt x="181" y="488"/>
                </a:lnTo>
                <a:lnTo>
                  <a:pt x="181" y="493"/>
                </a:lnTo>
                <a:lnTo>
                  <a:pt x="176" y="505"/>
                </a:lnTo>
                <a:lnTo>
                  <a:pt x="170" y="505"/>
                </a:lnTo>
                <a:lnTo>
                  <a:pt x="164" y="510"/>
                </a:lnTo>
                <a:lnTo>
                  <a:pt x="164" y="516"/>
                </a:lnTo>
                <a:lnTo>
                  <a:pt x="159" y="516"/>
                </a:lnTo>
                <a:lnTo>
                  <a:pt x="153" y="516"/>
                </a:lnTo>
                <a:lnTo>
                  <a:pt x="147" y="516"/>
                </a:lnTo>
                <a:lnTo>
                  <a:pt x="142" y="516"/>
                </a:lnTo>
                <a:lnTo>
                  <a:pt x="136" y="516"/>
                </a:lnTo>
                <a:lnTo>
                  <a:pt x="130" y="516"/>
                </a:lnTo>
                <a:lnTo>
                  <a:pt x="125" y="516"/>
                </a:lnTo>
                <a:lnTo>
                  <a:pt x="119" y="516"/>
                </a:lnTo>
                <a:lnTo>
                  <a:pt x="113" y="516"/>
                </a:lnTo>
                <a:lnTo>
                  <a:pt x="108" y="516"/>
                </a:lnTo>
                <a:lnTo>
                  <a:pt x="102" y="516"/>
                </a:lnTo>
                <a:lnTo>
                  <a:pt x="96" y="516"/>
                </a:lnTo>
                <a:lnTo>
                  <a:pt x="91" y="516"/>
                </a:lnTo>
                <a:lnTo>
                  <a:pt x="85" y="516"/>
                </a:lnTo>
                <a:lnTo>
                  <a:pt x="79" y="510"/>
                </a:lnTo>
                <a:lnTo>
                  <a:pt x="74" y="510"/>
                </a:lnTo>
                <a:lnTo>
                  <a:pt x="68" y="510"/>
                </a:lnTo>
                <a:lnTo>
                  <a:pt x="62" y="516"/>
                </a:lnTo>
                <a:lnTo>
                  <a:pt x="57" y="522"/>
                </a:lnTo>
                <a:lnTo>
                  <a:pt x="57" y="527"/>
                </a:lnTo>
                <a:lnTo>
                  <a:pt x="51" y="527"/>
                </a:lnTo>
                <a:lnTo>
                  <a:pt x="45" y="527"/>
                </a:lnTo>
                <a:lnTo>
                  <a:pt x="40" y="533"/>
                </a:lnTo>
                <a:lnTo>
                  <a:pt x="34" y="527"/>
                </a:lnTo>
                <a:lnTo>
                  <a:pt x="28" y="527"/>
                </a:lnTo>
                <a:lnTo>
                  <a:pt x="17" y="527"/>
                </a:lnTo>
                <a:lnTo>
                  <a:pt x="17" y="53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3" name="Freeform 14"/>
          <p:cNvSpPr>
            <a:spLocks/>
          </p:cNvSpPr>
          <p:nvPr/>
        </p:nvSpPr>
        <p:spPr bwMode="gray">
          <a:xfrm>
            <a:off x="1832040" y="4216196"/>
            <a:ext cx="1036698" cy="1334670"/>
          </a:xfrm>
          <a:custGeom>
            <a:avLst/>
            <a:gdLst>
              <a:gd name="T0" fmla="*/ 2147483647 w 612"/>
              <a:gd name="T1" fmla="*/ 2147483647 h 788"/>
              <a:gd name="T2" fmla="*/ 2147483647 w 612"/>
              <a:gd name="T3" fmla="*/ 2147483647 h 788"/>
              <a:gd name="T4" fmla="*/ 2147483647 w 612"/>
              <a:gd name="T5" fmla="*/ 2147483647 h 788"/>
              <a:gd name="T6" fmla="*/ 2147483647 w 612"/>
              <a:gd name="T7" fmla="*/ 2147483647 h 788"/>
              <a:gd name="T8" fmla="*/ 2147483647 w 612"/>
              <a:gd name="T9" fmla="*/ 2147483647 h 788"/>
              <a:gd name="T10" fmla="*/ 2147483647 w 612"/>
              <a:gd name="T11" fmla="*/ 2147483647 h 788"/>
              <a:gd name="T12" fmla="*/ 2147483647 w 612"/>
              <a:gd name="T13" fmla="*/ 2147483647 h 788"/>
              <a:gd name="T14" fmla="*/ 2147483647 w 612"/>
              <a:gd name="T15" fmla="*/ 2147483647 h 788"/>
              <a:gd name="T16" fmla="*/ 2147483647 w 612"/>
              <a:gd name="T17" fmla="*/ 2147483647 h 788"/>
              <a:gd name="T18" fmla="*/ 2147483647 w 612"/>
              <a:gd name="T19" fmla="*/ 2147483647 h 788"/>
              <a:gd name="T20" fmla="*/ 2147483647 w 612"/>
              <a:gd name="T21" fmla="*/ 2147483647 h 788"/>
              <a:gd name="T22" fmla="*/ 2147483647 w 612"/>
              <a:gd name="T23" fmla="*/ 2147483647 h 788"/>
              <a:gd name="T24" fmla="*/ 2147483647 w 612"/>
              <a:gd name="T25" fmla="*/ 2147483647 h 788"/>
              <a:gd name="T26" fmla="*/ 2147483647 w 612"/>
              <a:gd name="T27" fmla="*/ 2147483647 h 788"/>
              <a:gd name="T28" fmla="*/ 2147483647 w 612"/>
              <a:gd name="T29" fmla="*/ 2147483647 h 788"/>
              <a:gd name="T30" fmla="*/ 2147483647 w 612"/>
              <a:gd name="T31" fmla="*/ 2147483647 h 788"/>
              <a:gd name="T32" fmla="*/ 2147483647 w 612"/>
              <a:gd name="T33" fmla="*/ 2147483647 h 788"/>
              <a:gd name="T34" fmla="*/ 2147483647 w 612"/>
              <a:gd name="T35" fmla="*/ 2147483647 h 788"/>
              <a:gd name="T36" fmla="*/ 2147483647 w 612"/>
              <a:gd name="T37" fmla="*/ 2147483647 h 788"/>
              <a:gd name="T38" fmla="*/ 2147483647 w 612"/>
              <a:gd name="T39" fmla="*/ 2147483647 h 788"/>
              <a:gd name="T40" fmla="*/ 2147483647 w 612"/>
              <a:gd name="T41" fmla="*/ 2147483647 h 788"/>
              <a:gd name="T42" fmla="*/ 2147483647 w 612"/>
              <a:gd name="T43" fmla="*/ 2147483647 h 788"/>
              <a:gd name="T44" fmla="*/ 2147483647 w 612"/>
              <a:gd name="T45" fmla="*/ 2147483647 h 788"/>
              <a:gd name="T46" fmla="*/ 2147483647 w 612"/>
              <a:gd name="T47" fmla="*/ 2147483647 h 788"/>
              <a:gd name="T48" fmla="*/ 2147483647 w 612"/>
              <a:gd name="T49" fmla="*/ 0 h 788"/>
              <a:gd name="T50" fmla="*/ 2147483647 w 612"/>
              <a:gd name="T51" fmla="*/ 2147483647 h 788"/>
              <a:gd name="T52" fmla="*/ 2147483647 w 612"/>
              <a:gd name="T53" fmla="*/ 2147483647 h 788"/>
              <a:gd name="T54" fmla="*/ 2147483647 w 612"/>
              <a:gd name="T55" fmla="*/ 2147483647 h 788"/>
              <a:gd name="T56" fmla="*/ 2147483647 w 612"/>
              <a:gd name="T57" fmla="*/ 2147483647 h 788"/>
              <a:gd name="T58" fmla="*/ 2147483647 w 612"/>
              <a:gd name="T59" fmla="*/ 2147483647 h 788"/>
              <a:gd name="T60" fmla="*/ 2147483647 w 612"/>
              <a:gd name="T61" fmla="*/ 2147483647 h 788"/>
              <a:gd name="T62" fmla="*/ 2147483647 w 612"/>
              <a:gd name="T63" fmla="*/ 2147483647 h 788"/>
              <a:gd name="T64" fmla="*/ 2147483647 w 612"/>
              <a:gd name="T65" fmla="*/ 2147483647 h 788"/>
              <a:gd name="T66" fmla="*/ 2147483647 w 612"/>
              <a:gd name="T67" fmla="*/ 2147483647 h 788"/>
              <a:gd name="T68" fmla="*/ 2147483647 w 612"/>
              <a:gd name="T69" fmla="*/ 2147483647 h 788"/>
              <a:gd name="T70" fmla="*/ 2147483647 w 612"/>
              <a:gd name="T71" fmla="*/ 2147483647 h 788"/>
              <a:gd name="T72" fmla="*/ 2147483647 w 612"/>
              <a:gd name="T73" fmla="*/ 2147483647 h 788"/>
              <a:gd name="T74" fmla="*/ 2147483647 w 612"/>
              <a:gd name="T75" fmla="*/ 2147483647 h 788"/>
              <a:gd name="T76" fmla="*/ 2147483647 w 612"/>
              <a:gd name="T77" fmla="*/ 2147483647 h 788"/>
              <a:gd name="T78" fmla="*/ 2147483647 w 612"/>
              <a:gd name="T79" fmla="*/ 2147483647 h 788"/>
              <a:gd name="T80" fmla="*/ 2147483647 w 612"/>
              <a:gd name="T81" fmla="*/ 2147483647 h 788"/>
              <a:gd name="T82" fmla="*/ 2147483647 w 612"/>
              <a:gd name="T83" fmla="*/ 2147483647 h 788"/>
              <a:gd name="T84" fmla="*/ 2147483647 w 612"/>
              <a:gd name="T85" fmla="*/ 2147483647 h 788"/>
              <a:gd name="T86" fmla="*/ 2147483647 w 612"/>
              <a:gd name="T87" fmla="*/ 2147483647 h 788"/>
              <a:gd name="T88" fmla="*/ 2147483647 w 612"/>
              <a:gd name="T89" fmla="*/ 2147483647 h 788"/>
              <a:gd name="T90" fmla="*/ 2147483647 w 612"/>
              <a:gd name="T91" fmla="*/ 2147483647 h 788"/>
              <a:gd name="T92" fmla="*/ 2147483647 w 612"/>
              <a:gd name="T93" fmla="*/ 2147483647 h 788"/>
              <a:gd name="T94" fmla="*/ 2147483647 w 612"/>
              <a:gd name="T95" fmla="*/ 2147483647 h 788"/>
              <a:gd name="T96" fmla="*/ 2147483647 w 612"/>
              <a:gd name="T97" fmla="*/ 2147483647 h 788"/>
              <a:gd name="T98" fmla="*/ 2147483647 w 612"/>
              <a:gd name="T99" fmla="*/ 2147483647 h 788"/>
              <a:gd name="T100" fmla="*/ 2147483647 w 612"/>
              <a:gd name="T101" fmla="*/ 2147483647 h 788"/>
              <a:gd name="T102" fmla="*/ 2147483647 w 612"/>
              <a:gd name="T103" fmla="*/ 2147483647 h 788"/>
              <a:gd name="T104" fmla="*/ 2147483647 w 612"/>
              <a:gd name="T105" fmla="*/ 2147483647 h 788"/>
              <a:gd name="T106" fmla="*/ 2147483647 w 612"/>
              <a:gd name="T107" fmla="*/ 2147483647 h 788"/>
              <a:gd name="T108" fmla="*/ 2147483647 w 612"/>
              <a:gd name="T109" fmla="*/ 2147483647 h 788"/>
              <a:gd name="T110" fmla="*/ 2147483647 w 612"/>
              <a:gd name="T111" fmla="*/ 2147483647 h 788"/>
              <a:gd name="T112" fmla="*/ 2147483647 w 612"/>
              <a:gd name="T113" fmla="*/ 2147483647 h 788"/>
              <a:gd name="T114" fmla="*/ 2147483647 w 612"/>
              <a:gd name="T115" fmla="*/ 2147483647 h 788"/>
              <a:gd name="T116" fmla="*/ 2147483647 w 612"/>
              <a:gd name="T117" fmla="*/ 2147483647 h 788"/>
              <a:gd name="T118" fmla="*/ 2147483647 w 612"/>
              <a:gd name="T119" fmla="*/ 2147483647 h 788"/>
              <a:gd name="T120" fmla="*/ 2147483647 w 612"/>
              <a:gd name="T121" fmla="*/ 2147483647 h 788"/>
              <a:gd name="T122" fmla="*/ 2147483647 w 612"/>
              <a:gd name="T123" fmla="*/ 2147483647 h 78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12"/>
              <a:gd name="T187" fmla="*/ 0 h 788"/>
              <a:gd name="T188" fmla="*/ 612 w 612"/>
              <a:gd name="T189" fmla="*/ 788 h 78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12" h="788">
                <a:moveTo>
                  <a:pt x="62" y="641"/>
                </a:moveTo>
                <a:lnTo>
                  <a:pt x="68" y="635"/>
                </a:lnTo>
                <a:lnTo>
                  <a:pt x="74" y="635"/>
                </a:lnTo>
                <a:lnTo>
                  <a:pt x="79" y="624"/>
                </a:lnTo>
                <a:lnTo>
                  <a:pt x="79" y="618"/>
                </a:lnTo>
                <a:lnTo>
                  <a:pt x="79" y="613"/>
                </a:lnTo>
                <a:lnTo>
                  <a:pt x="74" y="607"/>
                </a:lnTo>
                <a:lnTo>
                  <a:pt x="62" y="607"/>
                </a:lnTo>
                <a:lnTo>
                  <a:pt x="57" y="607"/>
                </a:lnTo>
                <a:lnTo>
                  <a:pt x="51" y="607"/>
                </a:lnTo>
                <a:lnTo>
                  <a:pt x="45" y="607"/>
                </a:lnTo>
                <a:lnTo>
                  <a:pt x="40" y="607"/>
                </a:lnTo>
                <a:lnTo>
                  <a:pt x="40" y="601"/>
                </a:lnTo>
                <a:lnTo>
                  <a:pt x="40" y="596"/>
                </a:lnTo>
                <a:lnTo>
                  <a:pt x="45" y="596"/>
                </a:lnTo>
                <a:lnTo>
                  <a:pt x="51" y="596"/>
                </a:lnTo>
                <a:lnTo>
                  <a:pt x="62" y="596"/>
                </a:lnTo>
                <a:lnTo>
                  <a:pt x="62" y="590"/>
                </a:lnTo>
                <a:lnTo>
                  <a:pt x="62" y="584"/>
                </a:lnTo>
                <a:lnTo>
                  <a:pt x="68" y="579"/>
                </a:lnTo>
                <a:lnTo>
                  <a:pt x="74" y="573"/>
                </a:lnTo>
                <a:lnTo>
                  <a:pt x="79" y="573"/>
                </a:lnTo>
                <a:lnTo>
                  <a:pt x="79" y="567"/>
                </a:lnTo>
                <a:lnTo>
                  <a:pt x="79" y="562"/>
                </a:lnTo>
                <a:lnTo>
                  <a:pt x="79" y="556"/>
                </a:lnTo>
                <a:lnTo>
                  <a:pt x="79" y="545"/>
                </a:lnTo>
                <a:lnTo>
                  <a:pt x="79" y="539"/>
                </a:lnTo>
                <a:lnTo>
                  <a:pt x="79" y="533"/>
                </a:lnTo>
                <a:lnTo>
                  <a:pt x="79" y="528"/>
                </a:lnTo>
                <a:lnTo>
                  <a:pt x="79" y="522"/>
                </a:lnTo>
                <a:lnTo>
                  <a:pt x="79" y="516"/>
                </a:lnTo>
                <a:lnTo>
                  <a:pt x="74" y="516"/>
                </a:lnTo>
                <a:lnTo>
                  <a:pt x="74" y="522"/>
                </a:lnTo>
                <a:lnTo>
                  <a:pt x="62" y="528"/>
                </a:lnTo>
                <a:lnTo>
                  <a:pt x="57" y="533"/>
                </a:lnTo>
                <a:lnTo>
                  <a:pt x="51" y="539"/>
                </a:lnTo>
                <a:lnTo>
                  <a:pt x="45" y="539"/>
                </a:lnTo>
                <a:lnTo>
                  <a:pt x="40" y="539"/>
                </a:lnTo>
                <a:lnTo>
                  <a:pt x="34" y="539"/>
                </a:lnTo>
                <a:lnTo>
                  <a:pt x="23" y="539"/>
                </a:lnTo>
                <a:lnTo>
                  <a:pt x="17" y="539"/>
                </a:lnTo>
                <a:lnTo>
                  <a:pt x="11" y="533"/>
                </a:lnTo>
                <a:lnTo>
                  <a:pt x="6" y="528"/>
                </a:lnTo>
                <a:lnTo>
                  <a:pt x="6" y="522"/>
                </a:lnTo>
                <a:lnTo>
                  <a:pt x="0" y="516"/>
                </a:lnTo>
                <a:lnTo>
                  <a:pt x="0" y="511"/>
                </a:lnTo>
                <a:lnTo>
                  <a:pt x="6" y="511"/>
                </a:lnTo>
                <a:lnTo>
                  <a:pt x="6" y="494"/>
                </a:lnTo>
                <a:lnTo>
                  <a:pt x="6" y="488"/>
                </a:lnTo>
                <a:lnTo>
                  <a:pt x="11" y="482"/>
                </a:lnTo>
                <a:lnTo>
                  <a:pt x="23" y="477"/>
                </a:lnTo>
                <a:lnTo>
                  <a:pt x="28" y="471"/>
                </a:lnTo>
                <a:lnTo>
                  <a:pt x="34" y="471"/>
                </a:lnTo>
                <a:lnTo>
                  <a:pt x="40" y="465"/>
                </a:lnTo>
                <a:lnTo>
                  <a:pt x="45" y="460"/>
                </a:lnTo>
                <a:lnTo>
                  <a:pt x="51" y="460"/>
                </a:lnTo>
                <a:lnTo>
                  <a:pt x="62" y="454"/>
                </a:lnTo>
                <a:lnTo>
                  <a:pt x="62" y="448"/>
                </a:lnTo>
                <a:lnTo>
                  <a:pt x="62" y="443"/>
                </a:lnTo>
                <a:lnTo>
                  <a:pt x="62" y="431"/>
                </a:lnTo>
                <a:lnTo>
                  <a:pt x="62" y="420"/>
                </a:lnTo>
                <a:lnTo>
                  <a:pt x="68" y="414"/>
                </a:lnTo>
                <a:lnTo>
                  <a:pt x="68" y="403"/>
                </a:lnTo>
                <a:lnTo>
                  <a:pt x="74" y="392"/>
                </a:lnTo>
                <a:lnTo>
                  <a:pt x="74" y="386"/>
                </a:lnTo>
                <a:lnTo>
                  <a:pt x="79" y="375"/>
                </a:lnTo>
                <a:lnTo>
                  <a:pt x="79" y="369"/>
                </a:lnTo>
                <a:lnTo>
                  <a:pt x="85" y="363"/>
                </a:lnTo>
                <a:lnTo>
                  <a:pt x="91" y="358"/>
                </a:lnTo>
                <a:lnTo>
                  <a:pt x="91" y="352"/>
                </a:lnTo>
                <a:lnTo>
                  <a:pt x="102" y="346"/>
                </a:lnTo>
                <a:lnTo>
                  <a:pt x="108" y="341"/>
                </a:lnTo>
                <a:lnTo>
                  <a:pt x="108" y="335"/>
                </a:lnTo>
                <a:lnTo>
                  <a:pt x="113" y="335"/>
                </a:lnTo>
                <a:lnTo>
                  <a:pt x="119" y="329"/>
                </a:lnTo>
                <a:lnTo>
                  <a:pt x="125" y="329"/>
                </a:lnTo>
                <a:lnTo>
                  <a:pt x="125" y="324"/>
                </a:lnTo>
                <a:lnTo>
                  <a:pt x="130" y="318"/>
                </a:lnTo>
                <a:lnTo>
                  <a:pt x="136" y="318"/>
                </a:lnTo>
                <a:lnTo>
                  <a:pt x="136" y="312"/>
                </a:lnTo>
                <a:lnTo>
                  <a:pt x="142" y="312"/>
                </a:lnTo>
                <a:lnTo>
                  <a:pt x="153" y="312"/>
                </a:lnTo>
                <a:lnTo>
                  <a:pt x="159" y="307"/>
                </a:lnTo>
                <a:lnTo>
                  <a:pt x="164" y="307"/>
                </a:lnTo>
                <a:lnTo>
                  <a:pt x="170" y="307"/>
                </a:lnTo>
                <a:lnTo>
                  <a:pt x="170" y="301"/>
                </a:lnTo>
                <a:lnTo>
                  <a:pt x="170" y="295"/>
                </a:lnTo>
                <a:lnTo>
                  <a:pt x="170" y="290"/>
                </a:lnTo>
                <a:lnTo>
                  <a:pt x="170" y="284"/>
                </a:lnTo>
                <a:lnTo>
                  <a:pt x="170" y="278"/>
                </a:lnTo>
                <a:lnTo>
                  <a:pt x="170" y="267"/>
                </a:lnTo>
                <a:lnTo>
                  <a:pt x="170" y="261"/>
                </a:lnTo>
                <a:lnTo>
                  <a:pt x="176" y="261"/>
                </a:lnTo>
                <a:lnTo>
                  <a:pt x="181" y="261"/>
                </a:lnTo>
                <a:lnTo>
                  <a:pt x="187" y="261"/>
                </a:lnTo>
                <a:lnTo>
                  <a:pt x="193" y="261"/>
                </a:lnTo>
                <a:lnTo>
                  <a:pt x="199" y="261"/>
                </a:lnTo>
                <a:lnTo>
                  <a:pt x="204" y="261"/>
                </a:lnTo>
                <a:lnTo>
                  <a:pt x="210" y="256"/>
                </a:lnTo>
                <a:lnTo>
                  <a:pt x="216" y="256"/>
                </a:lnTo>
                <a:lnTo>
                  <a:pt x="216" y="250"/>
                </a:lnTo>
                <a:lnTo>
                  <a:pt x="216" y="244"/>
                </a:lnTo>
                <a:lnTo>
                  <a:pt x="216" y="239"/>
                </a:lnTo>
                <a:lnTo>
                  <a:pt x="210" y="239"/>
                </a:lnTo>
                <a:lnTo>
                  <a:pt x="204" y="233"/>
                </a:lnTo>
                <a:lnTo>
                  <a:pt x="204" y="227"/>
                </a:lnTo>
                <a:lnTo>
                  <a:pt x="204" y="222"/>
                </a:lnTo>
                <a:lnTo>
                  <a:pt x="204" y="210"/>
                </a:lnTo>
                <a:lnTo>
                  <a:pt x="204" y="205"/>
                </a:lnTo>
                <a:lnTo>
                  <a:pt x="204" y="199"/>
                </a:lnTo>
                <a:lnTo>
                  <a:pt x="204" y="193"/>
                </a:lnTo>
                <a:lnTo>
                  <a:pt x="199" y="188"/>
                </a:lnTo>
                <a:lnTo>
                  <a:pt x="199" y="176"/>
                </a:lnTo>
                <a:lnTo>
                  <a:pt x="199" y="165"/>
                </a:lnTo>
                <a:lnTo>
                  <a:pt x="199" y="159"/>
                </a:lnTo>
                <a:lnTo>
                  <a:pt x="199" y="148"/>
                </a:lnTo>
                <a:lnTo>
                  <a:pt x="199" y="142"/>
                </a:lnTo>
                <a:lnTo>
                  <a:pt x="204" y="142"/>
                </a:lnTo>
                <a:lnTo>
                  <a:pt x="204" y="137"/>
                </a:lnTo>
                <a:lnTo>
                  <a:pt x="204" y="125"/>
                </a:lnTo>
                <a:lnTo>
                  <a:pt x="204" y="120"/>
                </a:lnTo>
                <a:lnTo>
                  <a:pt x="204" y="114"/>
                </a:lnTo>
                <a:lnTo>
                  <a:pt x="199" y="108"/>
                </a:lnTo>
                <a:lnTo>
                  <a:pt x="199" y="97"/>
                </a:lnTo>
                <a:lnTo>
                  <a:pt x="199" y="91"/>
                </a:lnTo>
                <a:lnTo>
                  <a:pt x="204" y="85"/>
                </a:lnTo>
                <a:lnTo>
                  <a:pt x="204" y="80"/>
                </a:lnTo>
                <a:lnTo>
                  <a:pt x="204" y="74"/>
                </a:lnTo>
                <a:lnTo>
                  <a:pt x="210" y="74"/>
                </a:lnTo>
                <a:lnTo>
                  <a:pt x="210" y="68"/>
                </a:lnTo>
                <a:lnTo>
                  <a:pt x="216" y="68"/>
                </a:lnTo>
                <a:lnTo>
                  <a:pt x="216" y="63"/>
                </a:lnTo>
                <a:lnTo>
                  <a:pt x="221" y="63"/>
                </a:lnTo>
                <a:lnTo>
                  <a:pt x="221" y="57"/>
                </a:lnTo>
                <a:lnTo>
                  <a:pt x="227" y="57"/>
                </a:lnTo>
                <a:lnTo>
                  <a:pt x="233" y="57"/>
                </a:lnTo>
                <a:lnTo>
                  <a:pt x="233" y="51"/>
                </a:lnTo>
                <a:lnTo>
                  <a:pt x="238" y="51"/>
                </a:lnTo>
                <a:lnTo>
                  <a:pt x="244" y="51"/>
                </a:lnTo>
                <a:lnTo>
                  <a:pt x="244" y="46"/>
                </a:lnTo>
                <a:lnTo>
                  <a:pt x="250" y="40"/>
                </a:lnTo>
                <a:lnTo>
                  <a:pt x="250" y="34"/>
                </a:lnTo>
                <a:lnTo>
                  <a:pt x="250" y="29"/>
                </a:lnTo>
                <a:lnTo>
                  <a:pt x="255" y="29"/>
                </a:lnTo>
                <a:lnTo>
                  <a:pt x="255" y="23"/>
                </a:lnTo>
                <a:lnTo>
                  <a:pt x="261" y="23"/>
                </a:lnTo>
                <a:lnTo>
                  <a:pt x="267" y="29"/>
                </a:lnTo>
                <a:lnTo>
                  <a:pt x="272" y="29"/>
                </a:lnTo>
                <a:lnTo>
                  <a:pt x="278" y="29"/>
                </a:lnTo>
                <a:lnTo>
                  <a:pt x="278" y="23"/>
                </a:lnTo>
                <a:lnTo>
                  <a:pt x="284" y="23"/>
                </a:lnTo>
                <a:lnTo>
                  <a:pt x="289" y="17"/>
                </a:lnTo>
                <a:lnTo>
                  <a:pt x="295" y="17"/>
                </a:lnTo>
                <a:lnTo>
                  <a:pt x="301" y="17"/>
                </a:lnTo>
                <a:lnTo>
                  <a:pt x="301" y="23"/>
                </a:lnTo>
                <a:lnTo>
                  <a:pt x="306" y="29"/>
                </a:lnTo>
                <a:lnTo>
                  <a:pt x="312" y="29"/>
                </a:lnTo>
                <a:lnTo>
                  <a:pt x="312" y="34"/>
                </a:lnTo>
                <a:lnTo>
                  <a:pt x="318" y="40"/>
                </a:lnTo>
                <a:lnTo>
                  <a:pt x="323" y="40"/>
                </a:lnTo>
                <a:lnTo>
                  <a:pt x="329" y="40"/>
                </a:lnTo>
                <a:lnTo>
                  <a:pt x="335" y="46"/>
                </a:lnTo>
                <a:lnTo>
                  <a:pt x="340" y="46"/>
                </a:lnTo>
                <a:lnTo>
                  <a:pt x="352" y="46"/>
                </a:lnTo>
                <a:lnTo>
                  <a:pt x="357" y="40"/>
                </a:lnTo>
                <a:lnTo>
                  <a:pt x="363" y="40"/>
                </a:lnTo>
                <a:lnTo>
                  <a:pt x="369" y="34"/>
                </a:lnTo>
                <a:lnTo>
                  <a:pt x="369" y="29"/>
                </a:lnTo>
                <a:lnTo>
                  <a:pt x="369" y="23"/>
                </a:lnTo>
                <a:lnTo>
                  <a:pt x="369" y="12"/>
                </a:lnTo>
                <a:lnTo>
                  <a:pt x="374" y="12"/>
                </a:lnTo>
                <a:lnTo>
                  <a:pt x="374" y="6"/>
                </a:lnTo>
                <a:lnTo>
                  <a:pt x="380" y="6"/>
                </a:lnTo>
                <a:lnTo>
                  <a:pt x="386" y="0"/>
                </a:lnTo>
                <a:lnTo>
                  <a:pt x="391" y="0"/>
                </a:lnTo>
                <a:lnTo>
                  <a:pt x="397" y="0"/>
                </a:lnTo>
                <a:lnTo>
                  <a:pt x="403" y="0"/>
                </a:lnTo>
                <a:lnTo>
                  <a:pt x="408" y="0"/>
                </a:lnTo>
                <a:lnTo>
                  <a:pt x="408" y="6"/>
                </a:lnTo>
                <a:lnTo>
                  <a:pt x="414" y="6"/>
                </a:lnTo>
                <a:lnTo>
                  <a:pt x="420" y="12"/>
                </a:lnTo>
                <a:lnTo>
                  <a:pt x="425" y="17"/>
                </a:lnTo>
                <a:lnTo>
                  <a:pt x="425" y="23"/>
                </a:lnTo>
                <a:lnTo>
                  <a:pt x="420" y="29"/>
                </a:lnTo>
                <a:lnTo>
                  <a:pt x="420" y="40"/>
                </a:lnTo>
                <a:lnTo>
                  <a:pt x="425" y="40"/>
                </a:lnTo>
                <a:lnTo>
                  <a:pt x="425" y="34"/>
                </a:lnTo>
                <a:lnTo>
                  <a:pt x="431" y="34"/>
                </a:lnTo>
                <a:lnTo>
                  <a:pt x="437" y="34"/>
                </a:lnTo>
                <a:lnTo>
                  <a:pt x="437" y="29"/>
                </a:lnTo>
                <a:lnTo>
                  <a:pt x="442" y="29"/>
                </a:lnTo>
                <a:lnTo>
                  <a:pt x="448" y="29"/>
                </a:lnTo>
                <a:lnTo>
                  <a:pt x="454" y="29"/>
                </a:lnTo>
                <a:lnTo>
                  <a:pt x="454" y="23"/>
                </a:lnTo>
                <a:lnTo>
                  <a:pt x="459" y="23"/>
                </a:lnTo>
                <a:lnTo>
                  <a:pt x="465" y="23"/>
                </a:lnTo>
                <a:lnTo>
                  <a:pt x="465" y="29"/>
                </a:lnTo>
                <a:lnTo>
                  <a:pt x="471" y="29"/>
                </a:lnTo>
                <a:lnTo>
                  <a:pt x="471" y="40"/>
                </a:lnTo>
                <a:lnTo>
                  <a:pt x="465" y="46"/>
                </a:lnTo>
                <a:lnTo>
                  <a:pt x="459" y="46"/>
                </a:lnTo>
                <a:lnTo>
                  <a:pt x="459" y="51"/>
                </a:lnTo>
                <a:lnTo>
                  <a:pt x="454" y="51"/>
                </a:lnTo>
                <a:lnTo>
                  <a:pt x="454" y="57"/>
                </a:lnTo>
                <a:lnTo>
                  <a:pt x="448" y="57"/>
                </a:lnTo>
                <a:lnTo>
                  <a:pt x="448" y="63"/>
                </a:lnTo>
                <a:lnTo>
                  <a:pt x="448" y="68"/>
                </a:lnTo>
                <a:lnTo>
                  <a:pt x="448" y="74"/>
                </a:lnTo>
                <a:lnTo>
                  <a:pt x="448" y="80"/>
                </a:lnTo>
                <a:lnTo>
                  <a:pt x="454" y="85"/>
                </a:lnTo>
                <a:lnTo>
                  <a:pt x="454" y="91"/>
                </a:lnTo>
                <a:lnTo>
                  <a:pt x="459" y="91"/>
                </a:lnTo>
                <a:lnTo>
                  <a:pt x="465" y="97"/>
                </a:lnTo>
                <a:lnTo>
                  <a:pt x="471" y="97"/>
                </a:lnTo>
                <a:lnTo>
                  <a:pt x="476" y="97"/>
                </a:lnTo>
                <a:lnTo>
                  <a:pt x="476" y="102"/>
                </a:lnTo>
                <a:lnTo>
                  <a:pt x="482" y="102"/>
                </a:lnTo>
                <a:lnTo>
                  <a:pt x="482" y="108"/>
                </a:lnTo>
                <a:lnTo>
                  <a:pt x="488" y="108"/>
                </a:lnTo>
                <a:lnTo>
                  <a:pt x="493" y="108"/>
                </a:lnTo>
                <a:lnTo>
                  <a:pt x="499" y="108"/>
                </a:lnTo>
                <a:lnTo>
                  <a:pt x="505" y="108"/>
                </a:lnTo>
                <a:lnTo>
                  <a:pt x="505" y="114"/>
                </a:lnTo>
                <a:lnTo>
                  <a:pt x="510" y="114"/>
                </a:lnTo>
                <a:lnTo>
                  <a:pt x="522" y="114"/>
                </a:lnTo>
                <a:lnTo>
                  <a:pt x="522" y="120"/>
                </a:lnTo>
                <a:lnTo>
                  <a:pt x="527" y="120"/>
                </a:lnTo>
                <a:lnTo>
                  <a:pt x="539" y="114"/>
                </a:lnTo>
                <a:lnTo>
                  <a:pt x="556" y="114"/>
                </a:lnTo>
                <a:lnTo>
                  <a:pt x="561" y="114"/>
                </a:lnTo>
                <a:lnTo>
                  <a:pt x="567" y="114"/>
                </a:lnTo>
                <a:lnTo>
                  <a:pt x="567" y="120"/>
                </a:lnTo>
                <a:lnTo>
                  <a:pt x="567" y="125"/>
                </a:lnTo>
                <a:lnTo>
                  <a:pt x="561" y="137"/>
                </a:lnTo>
                <a:lnTo>
                  <a:pt x="561" y="142"/>
                </a:lnTo>
                <a:lnTo>
                  <a:pt x="567" y="148"/>
                </a:lnTo>
                <a:lnTo>
                  <a:pt x="567" y="154"/>
                </a:lnTo>
                <a:lnTo>
                  <a:pt x="573" y="154"/>
                </a:lnTo>
                <a:lnTo>
                  <a:pt x="578" y="159"/>
                </a:lnTo>
                <a:lnTo>
                  <a:pt x="578" y="165"/>
                </a:lnTo>
                <a:lnTo>
                  <a:pt x="584" y="165"/>
                </a:lnTo>
                <a:lnTo>
                  <a:pt x="584" y="171"/>
                </a:lnTo>
                <a:lnTo>
                  <a:pt x="590" y="176"/>
                </a:lnTo>
                <a:lnTo>
                  <a:pt x="595" y="176"/>
                </a:lnTo>
                <a:lnTo>
                  <a:pt x="595" y="182"/>
                </a:lnTo>
                <a:lnTo>
                  <a:pt x="601" y="182"/>
                </a:lnTo>
                <a:lnTo>
                  <a:pt x="612" y="188"/>
                </a:lnTo>
                <a:lnTo>
                  <a:pt x="607" y="188"/>
                </a:lnTo>
                <a:lnTo>
                  <a:pt x="607" y="193"/>
                </a:lnTo>
                <a:lnTo>
                  <a:pt x="601" y="193"/>
                </a:lnTo>
                <a:lnTo>
                  <a:pt x="601" y="199"/>
                </a:lnTo>
                <a:lnTo>
                  <a:pt x="595" y="205"/>
                </a:lnTo>
                <a:lnTo>
                  <a:pt x="590" y="205"/>
                </a:lnTo>
                <a:lnTo>
                  <a:pt x="584" y="205"/>
                </a:lnTo>
                <a:lnTo>
                  <a:pt x="584" y="210"/>
                </a:lnTo>
                <a:lnTo>
                  <a:pt x="578" y="210"/>
                </a:lnTo>
                <a:lnTo>
                  <a:pt x="578" y="216"/>
                </a:lnTo>
                <a:lnTo>
                  <a:pt x="578" y="222"/>
                </a:lnTo>
                <a:lnTo>
                  <a:pt x="578" y="227"/>
                </a:lnTo>
                <a:lnTo>
                  <a:pt x="584" y="227"/>
                </a:lnTo>
                <a:lnTo>
                  <a:pt x="584" y="233"/>
                </a:lnTo>
                <a:lnTo>
                  <a:pt x="590" y="233"/>
                </a:lnTo>
                <a:lnTo>
                  <a:pt x="590" y="239"/>
                </a:lnTo>
                <a:lnTo>
                  <a:pt x="584" y="239"/>
                </a:lnTo>
                <a:lnTo>
                  <a:pt x="584" y="244"/>
                </a:lnTo>
                <a:lnTo>
                  <a:pt x="584" y="250"/>
                </a:lnTo>
                <a:lnTo>
                  <a:pt x="584" y="256"/>
                </a:lnTo>
                <a:lnTo>
                  <a:pt x="584" y="261"/>
                </a:lnTo>
                <a:lnTo>
                  <a:pt x="584" y="267"/>
                </a:lnTo>
                <a:lnTo>
                  <a:pt x="584" y="273"/>
                </a:lnTo>
                <a:lnTo>
                  <a:pt x="578" y="273"/>
                </a:lnTo>
                <a:lnTo>
                  <a:pt x="573" y="278"/>
                </a:lnTo>
                <a:lnTo>
                  <a:pt x="567" y="278"/>
                </a:lnTo>
                <a:lnTo>
                  <a:pt x="567" y="284"/>
                </a:lnTo>
                <a:lnTo>
                  <a:pt x="567" y="290"/>
                </a:lnTo>
                <a:lnTo>
                  <a:pt x="561" y="301"/>
                </a:lnTo>
                <a:lnTo>
                  <a:pt x="556" y="301"/>
                </a:lnTo>
                <a:lnTo>
                  <a:pt x="556" y="307"/>
                </a:lnTo>
                <a:lnTo>
                  <a:pt x="556" y="312"/>
                </a:lnTo>
                <a:lnTo>
                  <a:pt x="556" y="318"/>
                </a:lnTo>
                <a:lnTo>
                  <a:pt x="556" y="324"/>
                </a:lnTo>
                <a:lnTo>
                  <a:pt x="550" y="329"/>
                </a:lnTo>
                <a:lnTo>
                  <a:pt x="550" y="335"/>
                </a:lnTo>
                <a:lnTo>
                  <a:pt x="550" y="341"/>
                </a:lnTo>
                <a:lnTo>
                  <a:pt x="544" y="352"/>
                </a:lnTo>
                <a:lnTo>
                  <a:pt x="544" y="358"/>
                </a:lnTo>
                <a:lnTo>
                  <a:pt x="539" y="358"/>
                </a:lnTo>
                <a:lnTo>
                  <a:pt x="539" y="363"/>
                </a:lnTo>
                <a:lnTo>
                  <a:pt x="533" y="369"/>
                </a:lnTo>
                <a:lnTo>
                  <a:pt x="533" y="375"/>
                </a:lnTo>
                <a:lnTo>
                  <a:pt x="527" y="375"/>
                </a:lnTo>
                <a:lnTo>
                  <a:pt x="527" y="380"/>
                </a:lnTo>
                <a:lnTo>
                  <a:pt x="522" y="386"/>
                </a:lnTo>
                <a:lnTo>
                  <a:pt x="522" y="392"/>
                </a:lnTo>
                <a:lnTo>
                  <a:pt x="522" y="397"/>
                </a:lnTo>
                <a:lnTo>
                  <a:pt x="522" y="403"/>
                </a:lnTo>
                <a:lnTo>
                  <a:pt x="522" y="409"/>
                </a:lnTo>
                <a:lnTo>
                  <a:pt x="522" y="414"/>
                </a:lnTo>
                <a:lnTo>
                  <a:pt x="522" y="420"/>
                </a:lnTo>
                <a:lnTo>
                  <a:pt x="516" y="426"/>
                </a:lnTo>
                <a:lnTo>
                  <a:pt x="510" y="431"/>
                </a:lnTo>
                <a:lnTo>
                  <a:pt x="510" y="437"/>
                </a:lnTo>
                <a:lnTo>
                  <a:pt x="510" y="443"/>
                </a:lnTo>
                <a:lnTo>
                  <a:pt x="505" y="443"/>
                </a:lnTo>
                <a:lnTo>
                  <a:pt x="499" y="443"/>
                </a:lnTo>
                <a:lnTo>
                  <a:pt x="499" y="448"/>
                </a:lnTo>
                <a:lnTo>
                  <a:pt x="499" y="454"/>
                </a:lnTo>
                <a:lnTo>
                  <a:pt x="499" y="460"/>
                </a:lnTo>
                <a:lnTo>
                  <a:pt x="499" y="465"/>
                </a:lnTo>
                <a:lnTo>
                  <a:pt x="499" y="471"/>
                </a:lnTo>
                <a:lnTo>
                  <a:pt x="493" y="471"/>
                </a:lnTo>
                <a:lnTo>
                  <a:pt x="493" y="477"/>
                </a:lnTo>
                <a:lnTo>
                  <a:pt x="488" y="482"/>
                </a:lnTo>
                <a:lnTo>
                  <a:pt x="482" y="488"/>
                </a:lnTo>
                <a:lnTo>
                  <a:pt x="476" y="488"/>
                </a:lnTo>
                <a:lnTo>
                  <a:pt x="471" y="482"/>
                </a:lnTo>
                <a:lnTo>
                  <a:pt x="465" y="477"/>
                </a:lnTo>
                <a:lnTo>
                  <a:pt x="459" y="482"/>
                </a:lnTo>
                <a:lnTo>
                  <a:pt x="454" y="482"/>
                </a:lnTo>
                <a:lnTo>
                  <a:pt x="448" y="482"/>
                </a:lnTo>
                <a:lnTo>
                  <a:pt x="448" y="488"/>
                </a:lnTo>
                <a:lnTo>
                  <a:pt x="442" y="488"/>
                </a:lnTo>
                <a:lnTo>
                  <a:pt x="442" y="494"/>
                </a:lnTo>
                <a:lnTo>
                  <a:pt x="437" y="494"/>
                </a:lnTo>
                <a:lnTo>
                  <a:pt x="437" y="488"/>
                </a:lnTo>
                <a:lnTo>
                  <a:pt x="431" y="482"/>
                </a:lnTo>
                <a:lnTo>
                  <a:pt x="431" y="477"/>
                </a:lnTo>
                <a:lnTo>
                  <a:pt x="425" y="471"/>
                </a:lnTo>
                <a:lnTo>
                  <a:pt x="425" y="465"/>
                </a:lnTo>
                <a:lnTo>
                  <a:pt x="420" y="460"/>
                </a:lnTo>
                <a:lnTo>
                  <a:pt x="420" y="454"/>
                </a:lnTo>
                <a:lnTo>
                  <a:pt x="425" y="454"/>
                </a:lnTo>
                <a:lnTo>
                  <a:pt x="437" y="454"/>
                </a:lnTo>
                <a:lnTo>
                  <a:pt x="437" y="448"/>
                </a:lnTo>
                <a:lnTo>
                  <a:pt x="437" y="443"/>
                </a:lnTo>
                <a:lnTo>
                  <a:pt x="431" y="443"/>
                </a:lnTo>
                <a:lnTo>
                  <a:pt x="425" y="443"/>
                </a:lnTo>
                <a:lnTo>
                  <a:pt x="425" y="437"/>
                </a:lnTo>
                <a:lnTo>
                  <a:pt x="414" y="437"/>
                </a:lnTo>
                <a:lnTo>
                  <a:pt x="403" y="437"/>
                </a:lnTo>
                <a:lnTo>
                  <a:pt x="397" y="437"/>
                </a:lnTo>
                <a:lnTo>
                  <a:pt x="386" y="437"/>
                </a:lnTo>
                <a:lnTo>
                  <a:pt x="374" y="437"/>
                </a:lnTo>
                <a:lnTo>
                  <a:pt x="346" y="431"/>
                </a:lnTo>
                <a:lnTo>
                  <a:pt x="335" y="431"/>
                </a:lnTo>
                <a:lnTo>
                  <a:pt x="329" y="431"/>
                </a:lnTo>
                <a:lnTo>
                  <a:pt x="323" y="431"/>
                </a:lnTo>
                <a:lnTo>
                  <a:pt x="318" y="443"/>
                </a:lnTo>
                <a:lnTo>
                  <a:pt x="312" y="448"/>
                </a:lnTo>
                <a:lnTo>
                  <a:pt x="312" y="454"/>
                </a:lnTo>
                <a:lnTo>
                  <a:pt x="306" y="460"/>
                </a:lnTo>
                <a:lnTo>
                  <a:pt x="301" y="460"/>
                </a:lnTo>
                <a:lnTo>
                  <a:pt x="301" y="471"/>
                </a:lnTo>
                <a:lnTo>
                  <a:pt x="301" y="477"/>
                </a:lnTo>
                <a:lnTo>
                  <a:pt x="295" y="477"/>
                </a:lnTo>
                <a:lnTo>
                  <a:pt x="295" y="482"/>
                </a:lnTo>
                <a:lnTo>
                  <a:pt x="289" y="482"/>
                </a:lnTo>
                <a:lnTo>
                  <a:pt x="284" y="482"/>
                </a:lnTo>
                <a:lnTo>
                  <a:pt x="284" y="488"/>
                </a:lnTo>
                <a:lnTo>
                  <a:pt x="284" y="499"/>
                </a:lnTo>
                <a:lnTo>
                  <a:pt x="278" y="499"/>
                </a:lnTo>
                <a:lnTo>
                  <a:pt x="278" y="511"/>
                </a:lnTo>
                <a:lnTo>
                  <a:pt x="272" y="516"/>
                </a:lnTo>
                <a:lnTo>
                  <a:pt x="272" y="528"/>
                </a:lnTo>
                <a:lnTo>
                  <a:pt x="272" y="533"/>
                </a:lnTo>
                <a:lnTo>
                  <a:pt x="278" y="539"/>
                </a:lnTo>
                <a:lnTo>
                  <a:pt x="284" y="539"/>
                </a:lnTo>
                <a:lnTo>
                  <a:pt x="284" y="545"/>
                </a:lnTo>
                <a:lnTo>
                  <a:pt x="289" y="545"/>
                </a:lnTo>
                <a:lnTo>
                  <a:pt x="289" y="550"/>
                </a:lnTo>
                <a:lnTo>
                  <a:pt x="289" y="556"/>
                </a:lnTo>
                <a:lnTo>
                  <a:pt x="289" y="562"/>
                </a:lnTo>
                <a:lnTo>
                  <a:pt x="284" y="567"/>
                </a:lnTo>
                <a:lnTo>
                  <a:pt x="284" y="573"/>
                </a:lnTo>
                <a:lnTo>
                  <a:pt x="278" y="579"/>
                </a:lnTo>
                <a:lnTo>
                  <a:pt x="272" y="584"/>
                </a:lnTo>
                <a:lnTo>
                  <a:pt x="272" y="590"/>
                </a:lnTo>
                <a:lnTo>
                  <a:pt x="267" y="596"/>
                </a:lnTo>
                <a:lnTo>
                  <a:pt x="267" y="601"/>
                </a:lnTo>
                <a:lnTo>
                  <a:pt x="267" y="607"/>
                </a:lnTo>
                <a:lnTo>
                  <a:pt x="261" y="613"/>
                </a:lnTo>
                <a:lnTo>
                  <a:pt x="261" y="618"/>
                </a:lnTo>
                <a:lnTo>
                  <a:pt x="255" y="618"/>
                </a:lnTo>
                <a:lnTo>
                  <a:pt x="244" y="618"/>
                </a:lnTo>
                <a:lnTo>
                  <a:pt x="244" y="624"/>
                </a:lnTo>
                <a:lnTo>
                  <a:pt x="244" y="630"/>
                </a:lnTo>
                <a:lnTo>
                  <a:pt x="244" y="635"/>
                </a:lnTo>
                <a:lnTo>
                  <a:pt x="238" y="635"/>
                </a:lnTo>
                <a:lnTo>
                  <a:pt x="238" y="641"/>
                </a:lnTo>
                <a:lnTo>
                  <a:pt x="238" y="647"/>
                </a:lnTo>
                <a:lnTo>
                  <a:pt x="238" y="652"/>
                </a:lnTo>
                <a:lnTo>
                  <a:pt x="244" y="658"/>
                </a:lnTo>
                <a:lnTo>
                  <a:pt x="244" y="664"/>
                </a:lnTo>
                <a:lnTo>
                  <a:pt x="250" y="664"/>
                </a:lnTo>
                <a:lnTo>
                  <a:pt x="250" y="669"/>
                </a:lnTo>
                <a:lnTo>
                  <a:pt x="255" y="669"/>
                </a:lnTo>
                <a:lnTo>
                  <a:pt x="261" y="669"/>
                </a:lnTo>
                <a:lnTo>
                  <a:pt x="267" y="675"/>
                </a:lnTo>
                <a:lnTo>
                  <a:pt x="272" y="681"/>
                </a:lnTo>
                <a:lnTo>
                  <a:pt x="278" y="686"/>
                </a:lnTo>
                <a:lnTo>
                  <a:pt x="278" y="692"/>
                </a:lnTo>
                <a:lnTo>
                  <a:pt x="272" y="692"/>
                </a:lnTo>
                <a:lnTo>
                  <a:pt x="272" y="698"/>
                </a:lnTo>
                <a:lnTo>
                  <a:pt x="267" y="698"/>
                </a:lnTo>
                <a:lnTo>
                  <a:pt x="267" y="703"/>
                </a:lnTo>
                <a:lnTo>
                  <a:pt x="261" y="703"/>
                </a:lnTo>
                <a:lnTo>
                  <a:pt x="261" y="709"/>
                </a:lnTo>
                <a:lnTo>
                  <a:pt x="261" y="720"/>
                </a:lnTo>
                <a:lnTo>
                  <a:pt x="255" y="720"/>
                </a:lnTo>
                <a:lnTo>
                  <a:pt x="255" y="726"/>
                </a:lnTo>
                <a:lnTo>
                  <a:pt x="250" y="732"/>
                </a:lnTo>
                <a:lnTo>
                  <a:pt x="250" y="737"/>
                </a:lnTo>
                <a:lnTo>
                  <a:pt x="250" y="743"/>
                </a:lnTo>
                <a:lnTo>
                  <a:pt x="244" y="749"/>
                </a:lnTo>
                <a:lnTo>
                  <a:pt x="238" y="754"/>
                </a:lnTo>
                <a:lnTo>
                  <a:pt x="238" y="760"/>
                </a:lnTo>
                <a:lnTo>
                  <a:pt x="238" y="766"/>
                </a:lnTo>
                <a:lnTo>
                  <a:pt x="233" y="771"/>
                </a:lnTo>
                <a:lnTo>
                  <a:pt x="221" y="783"/>
                </a:lnTo>
                <a:lnTo>
                  <a:pt x="221" y="788"/>
                </a:lnTo>
                <a:lnTo>
                  <a:pt x="216" y="777"/>
                </a:lnTo>
                <a:lnTo>
                  <a:pt x="204" y="766"/>
                </a:lnTo>
                <a:lnTo>
                  <a:pt x="204" y="760"/>
                </a:lnTo>
                <a:lnTo>
                  <a:pt x="199" y="754"/>
                </a:lnTo>
                <a:lnTo>
                  <a:pt x="187" y="743"/>
                </a:lnTo>
                <a:lnTo>
                  <a:pt x="176" y="732"/>
                </a:lnTo>
                <a:lnTo>
                  <a:pt x="170" y="726"/>
                </a:lnTo>
                <a:lnTo>
                  <a:pt x="159" y="715"/>
                </a:lnTo>
                <a:lnTo>
                  <a:pt x="153" y="715"/>
                </a:lnTo>
                <a:lnTo>
                  <a:pt x="147" y="703"/>
                </a:lnTo>
                <a:lnTo>
                  <a:pt x="142" y="703"/>
                </a:lnTo>
                <a:lnTo>
                  <a:pt x="142" y="698"/>
                </a:lnTo>
                <a:lnTo>
                  <a:pt x="119" y="681"/>
                </a:lnTo>
                <a:lnTo>
                  <a:pt x="108" y="669"/>
                </a:lnTo>
                <a:lnTo>
                  <a:pt x="102" y="664"/>
                </a:lnTo>
                <a:lnTo>
                  <a:pt x="91" y="664"/>
                </a:lnTo>
                <a:lnTo>
                  <a:pt x="85" y="658"/>
                </a:lnTo>
                <a:lnTo>
                  <a:pt x="79" y="652"/>
                </a:lnTo>
                <a:lnTo>
                  <a:pt x="74" y="647"/>
                </a:lnTo>
                <a:lnTo>
                  <a:pt x="62" y="64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4" name="Freeform 15"/>
          <p:cNvSpPr>
            <a:spLocks/>
          </p:cNvSpPr>
          <p:nvPr/>
        </p:nvSpPr>
        <p:spPr bwMode="gray">
          <a:xfrm>
            <a:off x="1621461" y="4216197"/>
            <a:ext cx="643076" cy="683532"/>
          </a:xfrm>
          <a:custGeom>
            <a:avLst/>
            <a:gdLst>
              <a:gd name="T0" fmla="*/ 2147483647 w 380"/>
              <a:gd name="T1" fmla="*/ 2147483647 h 403"/>
              <a:gd name="T2" fmla="*/ 2147483647 w 380"/>
              <a:gd name="T3" fmla="*/ 2147483647 h 403"/>
              <a:gd name="T4" fmla="*/ 2147483647 w 380"/>
              <a:gd name="T5" fmla="*/ 2147483647 h 403"/>
              <a:gd name="T6" fmla="*/ 2147483647 w 380"/>
              <a:gd name="T7" fmla="*/ 2147483647 h 403"/>
              <a:gd name="T8" fmla="*/ 2147483647 w 380"/>
              <a:gd name="T9" fmla="*/ 2147483647 h 403"/>
              <a:gd name="T10" fmla="*/ 2147483647 w 380"/>
              <a:gd name="T11" fmla="*/ 2147483647 h 403"/>
              <a:gd name="T12" fmla="*/ 0 w 380"/>
              <a:gd name="T13" fmla="*/ 2147483647 h 403"/>
              <a:gd name="T14" fmla="*/ 2147483647 w 380"/>
              <a:gd name="T15" fmla="*/ 2147483647 h 403"/>
              <a:gd name="T16" fmla="*/ 2147483647 w 380"/>
              <a:gd name="T17" fmla="*/ 2147483647 h 403"/>
              <a:gd name="T18" fmla="*/ 2147483647 w 380"/>
              <a:gd name="T19" fmla="*/ 2147483647 h 403"/>
              <a:gd name="T20" fmla="*/ 2147483647 w 380"/>
              <a:gd name="T21" fmla="*/ 2147483647 h 403"/>
              <a:gd name="T22" fmla="*/ 2147483647 w 380"/>
              <a:gd name="T23" fmla="*/ 2147483647 h 403"/>
              <a:gd name="T24" fmla="*/ 2147483647 w 380"/>
              <a:gd name="T25" fmla="*/ 2147483647 h 403"/>
              <a:gd name="T26" fmla="*/ 2147483647 w 380"/>
              <a:gd name="T27" fmla="*/ 2147483647 h 403"/>
              <a:gd name="T28" fmla="*/ 2147483647 w 380"/>
              <a:gd name="T29" fmla="*/ 2147483647 h 403"/>
              <a:gd name="T30" fmla="*/ 2147483647 w 380"/>
              <a:gd name="T31" fmla="*/ 2147483647 h 403"/>
              <a:gd name="T32" fmla="*/ 2147483647 w 380"/>
              <a:gd name="T33" fmla="*/ 2147483647 h 403"/>
              <a:gd name="T34" fmla="*/ 2147483647 w 380"/>
              <a:gd name="T35" fmla="*/ 2147483647 h 403"/>
              <a:gd name="T36" fmla="*/ 2147483647 w 380"/>
              <a:gd name="T37" fmla="*/ 2147483647 h 403"/>
              <a:gd name="T38" fmla="*/ 2147483647 w 380"/>
              <a:gd name="T39" fmla="*/ 2147483647 h 403"/>
              <a:gd name="T40" fmla="*/ 2147483647 w 380"/>
              <a:gd name="T41" fmla="*/ 2147483647 h 403"/>
              <a:gd name="T42" fmla="*/ 2147483647 w 380"/>
              <a:gd name="T43" fmla="*/ 2147483647 h 403"/>
              <a:gd name="T44" fmla="*/ 2147483647 w 380"/>
              <a:gd name="T45" fmla="*/ 2147483647 h 403"/>
              <a:gd name="T46" fmla="*/ 2147483647 w 380"/>
              <a:gd name="T47" fmla="*/ 2147483647 h 403"/>
              <a:gd name="T48" fmla="*/ 2147483647 w 380"/>
              <a:gd name="T49" fmla="*/ 2147483647 h 403"/>
              <a:gd name="T50" fmla="*/ 2147483647 w 380"/>
              <a:gd name="T51" fmla="*/ 2147483647 h 403"/>
              <a:gd name="T52" fmla="*/ 2147483647 w 380"/>
              <a:gd name="T53" fmla="*/ 0 h 403"/>
              <a:gd name="T54" fmla="*/ 2147483647 w 380"/>
              <a:gd name="T55" fmla="*/ 2147483647 h 403"/>
              <a:gd name="T56" fmla="*/ 2147483647 w 380"/>
              <a:gd name="T57" fmla="*/ 2147483647 h 403"/>
              <a:gd name="T58" fmla="*/ 2147483647 w 380"/>
              <a:gd name="T59" fmla="*/ 2147483647 h 403"/>
              <a:gd name="T60" fmla="*/ 2147483647 w 380"/>
              <a:gd name="T61" fmla="*/ 2147483647 h 403"/>
              <a:gd name="T62" fmla="*/ 2147483647 w 380"/>
              <a:gd name="T63" fmla="*/ 2147483647 h 403"/>
              <a:gd name="T64" fmla="*/ 2147483647 w 380"/>
              <a:gd name="T65" fmla="*/ 2147483647 h 403"/>
              <a:gd name="T66" fmla="*/ 2147483647 w 380"/>
              <a:gd name="T67" fmla="*/ 2147483647 h 403"/>
              <a:gd name="T68" fmla="*/ 2147483647 w 380"/>
              <a:gd name="T69" fmla="*/ 2147483647 h 403"/>
              <a:gd name="T70" fmla="*/ 2147483647 w 380"/>
              <a:gd name="T71" fmla="*/ 2147483647 h 403"/>
              <a:gd name="T72" fmla="*/ 2147483647 w 380"/>
              <a:gd name="T73" fmla="*/ 2147483647 h 403"/>
              <a:gd name="T74" fmla="*/ 2147483647 w 380"/>
              <a:gd name="T75" fmla="*/ 2147483647 h 403"/>
              <a:gd name="T76" fmla="*/ 2147483647 w 380"/>
              <a:gd name="T77" fmla="*/ 2147483647 h 403"/>
              <a:gd name="T78" fmla="*/ 2147483647 w 380"/>
              <a:gd name="T79" fmla="*/ 2147483647 h 403"/>
              <a:gd name="T80" fmla="*/ 2147483647 w 380"/>
              <a:gd name="T81" fmla="*/ 2147483647 h 403"/>
              <a:gd name="T82" fmla="*/ 2147483647 w 380"/>
              <a:gd name="T83" fmla="*/ 2147483647 h 403"/>
              <a:gd name="T84" fmla="*/ 2147483647 w 380"/>
              <a:gd name="T85" fmla="*/ 2147483647 h 403"/>
              <a:gd name="T86" fmla="*/ 2147483647 w 380"/>
              <a:gd name="T87" fmla="*/ 2147483647 h 403"/>
              <a:gd name="T88" fmla="*/ 2147483647 w 380"/>
              <a:gd name="T89" fmla="*/ 2147483647 h 403"/>
              <a:gd name="T90" fmla="*/ 2147483647 w 380"/>
              <a:gd name="T91" fmla="*/ 2147483647 h 403"/>
              <a:gd name="T92" fmla="*/ 2147483647 w 380"/>
              <a:gd name="T93" fmla="*/ 2147483647 h 403"/>
              <a:gd name="T94" fmla="*/ 2147483647 w 380"/>
              <a:gd name="T95" fmla="*/ 2147483647 h 403"/>
              <a:gd name="T96" fmla="*/ 2147483647 w 380"/>
              <a:gd name="T97" fmla="*/ 2147483647 h 403"/>
              <a:gd name="T98" fmla="*/ 2147483647 w 380"/>
              <a:gd name="T99" fmla="*/ 2147483647 h 403"/>
              <a:gd name="T100" fmla="*/ 2147483647 w 380"/>
              <a:gd name="T101" fmla="*/ 2147483647 h 40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80"/>
              <a:gd name="T154" fmla="*/ 0 h 403"/>
              <a:gd name="T155" fmla="*/ 380 w 380"/>
              <a:gd name="T156" fmla="*/ 403 h 40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80" h="403">
                <a:moveTo>
                  <a:pt x="46" y="346"/>
                </a:moveTo>
                <a:lnTo>
                  <a:pt x="51" y="341"/>
                </a:lnTo>
                <a:lnTo>
                  <a:pt x="51" y="335"/>
                </a:lnTo>
                <a:lnTo>
                  <a:pt x="57" y="335"/>
                </a:lnTo>
                <a:lnTo>
                  <a:pt x="57" y="329"/>
                </a:lnTo>
                <a:lnTo>
                  <a:pt x="51" y="318"/>
                </a:lnTo>
                <a:lnTo>
                  <a:pt x="46" y="307"/>
                </a:lnTo>
                <a:lnTo>
                  <a:pt x="40" y="301"/>
                </a:lnTo>
                <a:lnTo>
                  <a:pt x="34" y="290"/>
                </a:lnTo>
                <a:lnTo>
                  <a:pt x="34" y="284"/>
                </a:lnTo>
                <a:lnTo>
                  <a:pt x="34" y="278"/>
                </a:lnTo>
                <a:lnTo>
                  <a:pt x="34" y="273"/>
                </a:lnTo>
                <a:lnTo>
                  <a:pt x="40" y="267"/>
                </a:lnTo>
                <a:lnTo>
                  <a:pt x="34" y="267"/>
                </a:lnTo>
                <a:lnTo>
                  <a:pt x="34" y="256"/>
                </a:lnTo>
                <a:lnTo>
                  <a:pt x="34" y="250"/>
                </a:lnTo>
                <a:lnTo>
                  <a:pt x="34" y="244"/>
                </a:lnTo>
                <a:lnTo>
                  <a:pt x="34" y="239"/>
                </a:lnTo>
                <a:lnTo>
                  <a:pt x="40" y="239"/>
                </a:lnTo>
                <a:lnTo>
                  <a:pt x="40" y="233"/>
                </a:lnTo>
                <a:lnTo>
                  <a:pt x="40" y="222"/>
                </a:lnTo>
                <a:lnTo>
                  <a:pt x="46" y="216"/>
                </a:lnTo>
                <a:lnTo>
                  <a:pt x="46" y="210"/>
                </a:lnTo>
                <a:lnTo>
                  <a:pt x="40" y="205"/>
                </a:lnTo>
                <a:lnTo>
                  <a:pt x="34" y="205"/>
                </a:lnTo>
                <a:lnTo>
                  <a:pt x="34" y="199"/>
                </a:lnTo>
                <a:lnTo>
                  <a:pt x="34" y="193"/>
                </a:lnTo>
                <a:lnTo>
                  <a:pt x="29" y="188"/>
                </a:lnTo>
                <a:lnTo>
                  <a:pt x="29" y="182"/>
                </a:lnTo>
                <a:lnTo>
                  <a:pt x="23" y="182"/>
                </a:lnTo>
                <a:lnTo>
                  <a:pt x="23" y="176"/>
                </a:lnTo>
                <a:lnTo>
                  <a:pt x="17" y="176"/>
                </a:lnTo>
                <a:lnTo>
                  <a:pt x="12" y="165"/>
                </a:lnTo>
                <a:lnTo>
                  <a:pt x="6" y="165"/>
                </a:lnTo>
                <a:lnTo>
                  <a:pt x="0" y="159"/>
                </a:lnTo>
                <a:lnTo>
                  <a:pt x="0" y="154"/>
                </a:lnTo>
                <a:lnTo>
                  <a:pt x="0" y="148"/>
                </a:lnTo>
                <a:lnTo>
                  <a:pt x="6" y="148"/>
                </a:lnTo>
                <a:lnTo>
                  <a:pt x="6" y="142"/>
                </a:lnTo>
                <a:lnTo>
                  <a:pt x="6" y="137"/>
                </a:lnTo>
                <a:lnTo>
                  <a:pt x="12" y="137"/>
                </a:lnTo>
                <a:lnTo>
                  <a:pt x="12" y="131"/>
                </a:lnTo>
                <a:lnTo>
                  <a:pt x="12" y="125"/>
                </a:lnTo>
                <a:lnTo>
                  <a:pt x="12" y="120"/>
                </a:lnTo>
                <a:lnTo>
                  <a:pt x="12" y="114"/>
                </a:lnTo>
                <a:lnTo>
                  <a:pt x="12" y="108"/>
                </a:lnTo>
                <a:lnTo>
                  <a:pt x="17" y="97"/>
                </a:lnTo>
                <a:lnTo>
                  <a:pt x="17" y="91"/>
                </a:lnTo>
                <a:lnTo>
                  <a:pt x="17" y="85"/>
                </a:lnTo>
                <a:lnTo>
                  <a:pt x="23" y="85"/>
                </a:lnTo>
                <a:lnTo>
                  <a:pt x="29" y="85"/>
                </a:lnTo>
                <a:lnTo>
                  <a:pt x="29" y="91"/>
                </a:lnTo>
                <a:lnTo>
                  <a:pt x="34" y="97"/>
                </a:lnTo>
                <a:lnTo>
                  <a:pt x="40" y="97"/>
                </a:lnTo>
                <a:lnTo>
                  <a:pt x="46" y="97"/>
                </a:lnTo>
                <a:lnTo>
                  <a:pt x="51" y="91"/>
                </a:lnTo>
                <a:lnTo>
                  <a:pt x="57" y="91"/>
                </a:lnTo>
                <a:lnTo>
                  <a:pt x="63" y="85"/>
                </a:lnTo>
                <a:lnTo>
                  <a:pt x="63" y="80"/>
                </a:lnTo>
                <a:lnTo>
                  <a:pt x="63" y="74"/>
                </a:lnTo>
                <a:lnTo>
                  <a:pt x="63" y="68"/>
                </a:lnTo>
                <a:lnTo>
                  <a:pt x="68" y="68"/>
                </a:lnTo>
                <a:lnTo>
                  <a:pt x="74" y="68"/>
                </a:lnTo>
                <a:lnTo>
                  <a:pt x="74" y="63"/>
                </a:lnTo>
                <a:lnTo>
                  <a:pt x="74" y="57"/>
                </a:lnTo>
                <a:lnTo>
                  <a:pt x="80" y="57"/>
                </a:lnTo>
                <a:lnTo>
                  <a:pt x="85" y="57"/>
                </a:lnTo>
                <a:lnTo>
                  <a:pt x="85" y="51"/>
                </a:lnTo>
                <a:lnTo>
                  <a:pt x="91" y="51"/>
                </a:lnTo>
                <a:lnTo>
                  <a:pt x="97" y="57"/>
                </a:lnTo>
                <a:lnTo>
                  <a:pt x="102" y="57"/>
                </a:lnTo>
                <a:lnTo>
                  <a:pt x="108" y="57"/>
                </a:lnTo>
                <a:lnTo>
                  <a:pt x="108" y="63"/>
                </a:lnTo>
                <a:lnTo>
                  <a:pt x="114" y="57"/>
                </a:lnTo>
                <a:lnTo>
                  <a:pt x="114" y="63"/>
                </a:lnTo>
                <a:lnTo>
                  <a:pt x="114" y="68"/>
                </a:lnTo>
                <a:lnTo>
                  <a:pt x="119" y="68"/>
                </a:lnTo>
                <a:lnTo>
                  <a:pt x="119" y="74"/>
                </a:lnTo>
                <a:lnTo>
                  <a:pt x="119" y="80"/>
                </a:lnTo>
                <a:lnTo>
                  <a:pt x="119" y="85"/>
                </a:lnTo>
                <a:lnTo>
                  <a:pt x="119" y="91"/>
                </a:lnTo>
                <a:lnTo>
                  <a:pt x="125" y="91"/>
                </a:lnTo>
                <a:lnTo>
                  <a:pt x="125" y="85"/>
                </a:lnTo>
                <a:lnTo>
                  <a:pt x="131" y="85"/>
                </a:lnTo>
                <a:lnTo>
                  <a:pt x="131" y="80"/>
                </a:lnTo>
                <a:lnTo>
                  <a:pt x="136" y="80"/>
                </a:lnTo>
                <a:lnTo>
                  <a:pt x="142" y="80"/>
                </a:lnTo>
                <a:lnTo>
                  <a:pt x="142" y="85"/>
                </a:lnTo>
                <a:lnTo>
                  <a:pt x="148" y="91"/>
                </a:lnTo>
                <a:lnTo>
                  <a:pt x="148" y="97"/>
                </a:lnTo>
                <a:lnTo>
                  <a:pt x="148" y="102"/>
                </a:lnTo>
                <a:lnTo>
                  <a:pt x="159" y="108"/>
                </a:lnTo>
                <a:lnTo>
                  <a:pt x="159" y="114"/>
                </a:lnTo>
                <a:lnTo>
                  <a:pt x="165" y="108"/>
                </a:lnTo>
                <a:lnTo>
                  <a:pt x="170" y="108"/>
                </a:lnTo>
                <a:lnTo>
                  <a:pt x="170" y="102"/>
                </a:lnTo>
                <a:lnTo>
                  <a:pt x="182" y="97"/>
                </a:lnTo>
                <a:lnTo>
                  <a:pt x="187" y="91"/>
                </a:lnTo>
                <a:lnTo>
                  <a:pt x="187" y="85"/>
                </a:lnTo>
                <a:lnTo>
                  <a:pt x="187" y="74"/>
                </a:lnTo>
                <a:lnTo>
                  <a:pt x="187" y="63"/>
                </a:lnTo>
                <a:lnTo>
                  <a:pt x="182" y="57"/>
                </a:lnTo>
                <a:lnTo>
                  <a:pt x="182" y="51"/>
                </a:lnTo>
                <a:lnTo>
                  <a:pt x="187" y="51"/>
                </a:lnTo>
                <a:lnTo>
                  <a:pt x="187" y="40"/>
                </a:lnTo>
                <a:lnTo>
                  <a:pt x="187" y="29"/>
                </a:lnTo>
                <a:lnTo>
                  <a:pt x="193" y="29"/>
                </a:lnTo>
                <a:lnTo>
                  <a:pt x="193" y="23"/>
                </a:lnTo>
                <a:lnTo>
                  <a:pt x="199" y="23"/>
                </a:lnTo>
                <a:lnTo>
                  <a:pt x="199" y="17"/>
                </a:lnTo>
                <a:lnTo>
                  <a:pt x="204" y="17"/>
                </a:lnTo>
                <a:lnTo>
                  <a:pt x="210" y="17"/>
                </a:lnTo>
                <a:lnTo>
                  <a:pt x="216" y="17"/>
                </a:lnTo>
                <a:lnTo>
                  <a:pt x="227" y="17"/>
                </a:lnTo>
                <a:lnTo>
                  <a:pt x="233" y="17"/>
                </a:lnTo>
                <a:lnTo>
                  <a:pt x="238" y="12"/>
                </a:lnTo>
                <a:lnTo>
                  <a:pt x="238" y="17"/>
                </a:lnTo>
                <a:lnTo>
                  <a:pt x="244" y="17"/>
                </a:lnTo>
                <a:lnTo>
                  <a:pt x="250" y="17"/>
                </a:lnTo>
                <a:lnTo>
                  <a:pt x="255" y="17"/>
                </a:lnTo>
                <a:lnTo>
                  <a:pt x="255" y="23"/>
                </a:lnTo>
                <a:lnTo>
                  <a:pt x="267" y="17"/>
                </a:lnTo>
                <a:lnTo>
                  <a:pt x="272" y="17"/>
                </a:lnTo>
                <a:lnTo>
                  <a:pt x="272" y="12"/>
                </a:lnTo>
                <a:lnTo>
                  <a:pt x="278" y="12"/>
                </a:lnTo>
                <a:lnTo>
                  <a:pt x="284" y="12"/>
                </a:lnTo>
                <a:lnTo>
                  <a:pt x="289" y="12"/>
                </a:lnTo>
                <a:lnTo>
                  <a:pt x="295" y="12"/>
                </a:lnTo>
                <a:lnTo>
                  <a:pt x="301" y="12"/>
                </a:lnTo>
                <a:lnTo>
                  <a:pt x="306" y="12"/>
                </a:lnTo>
                <a:lnTo>
                  <a:pt x="312" y="12"/>
                </a:lnTo>
                <a:lnTo>
                  <a:pt x="312" y="6"/>
                </a:lnTo>
                <a:lnTo>
                  <a:pt x="318" y="0"/>
                </a:lnTo>
                <a:lnTo>
                  <a:pt x="324" y="0"/>
                </a:lnTo>
                <a:lnTo>
                  <a:pt x="329" y="0"/>
                </a:lnTo>
                <a:lnTo>
                  <a:pt x="335" y="6"/>
                </a:lnTo>
                <a:lnTo>
                  <a:pt x="341" y="6"/>
                </a:lnTo>
                <a:lnTo>
                  <a:pt x="346" y="12"/>
                </a:lnTo>
                <a:lnTo>
                  <a:pt x="352" y="17"/>
                </a:lnTo>
                <a:lnTo>
                  <a:pt x="352" y="23"/>
                </a:lnTo>
                <a:lnTo>
                  <a:pt x="358" y="23"/>
                </a:lnTo>
                <a:lnTo>
                  <a:pt x="369" y="23"/>
                </a:lnTo>
                <a:lnTo>
                  <a:pt x="375" y="23"/>
                </a:lnTo>
                <a:lnTo>
                  <a:pt x="380" y="23"/>
                </a:lnTo>
                <a:lnTo>
                  <a:pt x="380" y="29"/>
                </a:lnTo>
                <a:lnTo>
                  <a:pt x="375" y="29"/>
                </a:lnTo>
                <a:lnTo>
                  <a:pt x="375" y="34"/>
                </a:lnTo>
                <a:lnTo>
                  <a:pt x="375" y="40"/>
                </a:lnTo>
                <a:lnTo>
                  <a:pt x="369" y="46"/>
                </a:lnTo>
                <a:lnTo>
                  <a:pt x="369" y="51"/>
                </a:lnTo>
                <a:lnTo>
                  <a:pt x="363" y="51"/>
                </a:lnTo>
                <a:lnTo>
                  <a:pt x="358" y="51"/>
                </a:lnTo>
                <a:lnTo>
                  <a:pt x="358" y="57"/>
                </a:lnTo>
                <a:lnTo>
                  <a:pt x="352" y="57"/>
                </a:lnTo>
                <a:lnTo>
                  <a:pt x="346" y="57"/>
                </a:lnTo>
                <a:lnTo>
                  <a:pt x="346" y="63"/>
                </a:lnTo>
                <a:lnTo>
                  <a:pt x="341" y="63"/>
                </a:lnTo>
                <a:lnTo>
                  <a:pt x="341" y="68"/>
                </a:lnTo>
                <a:lnTo>
                  <a:pt x="335" y="68"/>
                </a:lnTo>
                <a:lnTo>
                  <a:pt x="335" y="74"/>
                </a:lnTo>
                <a:lnTo>
                  <a:pt x="329" y="74"/>
                </a:lnTo>
                <a:lnTo>
                  <a:pt x="329" y="80"/>
                </a:lnTo>
                <a:lnTo>
                  <a:pt x="329" y="85"/>
                </a:lnTo>
                <a:lnTo>
                  <a:pt x="324" y="91"/>
                </a:lnTo>
                <a:lnTo>
                  <a:pt x="324" y="97"/>
                </a:lnTo>
                <a:lnTo>
                  <a:pt x="324" y="108"/>
                </a:lnTo>
                <a:lnTo>
                  <a:pt x="329" y="114"/>
                </a:lnTo>
                <a:lnTo>
                  <a:pt x="329" y="120"/>
                </a:lnTo>
                <a:lnTo>
                  <a:pt x="329" y="125"/>
                </a:lnTo>
                <a:lnTo>
                  <a:pt x="329" y="137"/>
                </a:lnTo>
                <a:lnTo>
                  <a:pt x="329" y="142"/>
                </a:lnTo>
                <a:lnTo>
                  <a:pt x="324" y="142"/>
                </a:lnTo>
                <a:lnTo>
                  <a:pt x="324" y="148"/>
                </a:lnTo>
                <a:lnTo>
                  <a:pt x="324" y="159"/>
                </a:lnTo>
                <a:lnTo>
                  <a:pt x="324" y="165"/>
                </a:lnTo>
                <a:lnTo>
                  <a:pt x="324" y="176"/>
                </a:lnTo>
                <a:lnTo>
                  <a:pt x="324" y="188"/>
                </a:lnTo>
                <a:lnTo>
                  <a:pt x="329" y="193"/>
                </a:lnTo>
                <a:lnTo>
                  <a:pt x="329" y="199"/>
                </a:lnTo>
                <a:lnTo>
                  <a:pt x="329" y="205"/>
                </a:lnTo>
                <a:lnTo>
                  <a:pt x="329" y="210"/>
                </a:lnTo>
                <a:lnTo>
                  <a:pt x="329" y="222"/>
                </a:lnTo>
                <a:lnTo>
                  <a:pt x="329" y="227"/>
                </a:lnTo>
                <a:lnTo>
                  <a:pt x="329" y="233"/>
                </a:lnTo>
                <a:lnTo>
                  <a:pt x="335" y="239"/>
                </a:lnTo>
                <a:lnTo>
                  <a:pt x="341" y="239"/>
                </a:lnTo>
                <a:lnTo>
                  <a:pt x="341" y="244"/>
                </a:lnTo>
                <a:lnTo>
                  <a:pt x="341" y="250"/>
                </a:lnTo>
                <a:lnTo>
                  <a:pt x="341" y="256"/>
                </a:lnTo>
                <a:lnTo>
                  <a:pt x="335" y="256"/>
                </a:lnTo>
                <a:lnTo>
                  <a:pt x="329" y="261"/>
                </a:lnTo>
                <a:lnTo>
                  <a:pt x="324" y="261"/>
                </a:lnTo>
                <a:lnTo>
                  <a:pt x="318" y="261"/>
                </a:lnTo>
                <a:lnTo>
                  <a:pt x="312" y="261"/>
                </a:lnTo>
                <a:lnTo>
                  <a:pt x="306" y="261"/>
                </a:lnTo>
                <a:lnTo>
                  <a:pt x="301" y="261"/>
                </a:lnTo>
                <a:lnTo>
                  <a:pt x="295" y="261"/>
                </a:lnTo>
                <a:lnTo>
                  <a:pt x="295" y="267"/>
                </a:lnTo>
                <a:lnTo>
                  <a:pt x="295" y="278"/>
                </a:lnTo>
                <a:lnTo>
                  <a:pt x="295" y="284"/>
                </a:lnTo>
                <a:lnTo>
                  <a:pt x="295" y="290"/>
                </a:lnTo>
                <a:lnTo>
                  <a:pt x="295" y="295"/>
                </a:lnTo>
                <a:lnTo>
                  <a:pt x="295" y="301"/>
                </a:lnTo>
                <a:lnTo>
                  <a:pt x="295" y="307"/>
                </a:lnTo>
                <a:lnTo>
                  <a:pt x="289" y="307"/>
                </a:lnTo>
                <a:lnTo>
                  <a:pt x="284" y="307"/>
                </a:lnTo>
                <a:lnTo>
                  <a:pt x="278" y="312"/>
                </a:lnTo>
                <a:lnTo>
                  <a:pt x="267" y="312"/>
                </a:lnTo>
                <a:lnTo>
                  <a:pt x="261" y="312"/>
                </a:lnTo>
                <a:lnTo>
                  <a:pt x="261" y="318"/>
                </a:lnTo>
                <a:lnTo>
                  <a:pt x="255" y="318"/>
                </a:lnTo>
                <a:lnTo>
                  <a:pt x="250" y="324"/>
                </a:lnTo>
                <a:lnTo>
                  <a:pt x="250" y="329"/>
                </a:lnTo>
                <a:lnTo>
                  <a:pt x="244" y="329"/>
                </a:lnTo>
                <a:lnTo>
                  <a:pt x="238" y="335"/>
                </a:lnTo>
                <a:lnTo>
                  <a:pt x="233" y="335"/>
                </a:lnTo>
                <a:lnTo>
                  <a:pt x="233" y="341"/>
                </a:lnTo>
                <a:lnTo>
                  <a:pt x="227" y="346"/>
                </a:lnTo>
                <a:lnTo>
                  <a:pt x="216" y="352"/>
                </a:lnTo>
                <a:lnTo>
                  <a:pt x="216" y="358"/>
                </a:lnTo>
                <a:lnTo>
                  <a:pt x="210" y="363"/>
                </a:lnTo>
                <a:lnTo>
                  <a:pt x="204" y="369"/>
                </a:lnTo>
                <a:lnTo>
                  <a:pt x="204" y="375"/>
                </a:lnTo>
                <a:lnTo>
                  <a:pt x="199" y="386"/>
                </a:lnTo>
                <a:lnTo>
                  <a:pt x="199" y="392"/>
                </a:lnTo>
                <a:lnTo>
                  <a:pt x="193" y="392"/>
                </a:lnTo>
                <a:lnTo>
                  <a:pt x="187" y="392"/>
                </a:lnTo>
                <a:lnTo>
                  <a:pt x="182" y="392"/>
                </a:lnTo>
                <a:lnTo>
                  <a:pt x="170" y="392"/>
                </a:lnTo>
                <a:lnTo>
                  <a:pt x="165" y="392"/>
                </a:lnTo>
                <a:lnTo>
                  <a:pt x="159" y="392"/>
                </a:lnTo>
                <a:lnTo>
                  <a:pt x="159" y="397"/>
                </a:lnTo>
                <a:lnTo>
                  <a:pt x="142" y="403"/>
                </a:lnTo>
                <a:lnTo>
                  <a:pt x="136" y="403"/>
                </a:lnTo>
                <a:lnTo>
                  <a:pt x="131" y="403"/>
                </a:lnTo>
                <a:lnTo>
                  <a:pt x="131" y="397"/>
                </a:lnTo>
                <a:lnTo>
                  <a:pt x="119" y="392"/>
                </a:lnTo>
                <a:lnTo>
                  <a:pt x="119" y="386"/>
                </a:lnTo>
                <a:lnTo>
                  <a:pt x="114" y="380"/>
                </a:lnTo>
                <a:lnTo>
                  <a:pt x="114" y="375"/>
                </a:lnTo>
                <a:lnTo>
                  <a:pt x="114" y="369"/>
                </a:lnTo>
                <a:lnTo>
                  <a:pt x="108" y="369"/>
                </a:lnTo>
                <a:lnTo>
                  <a:pt x="102" y="363"/>
                </a:lnTo>
                <a:lnTo>
                  <a:pt x="97" y="363"/>
                </a:lnTo>
                <a:lnTo>
                  <a:pt x="91" y="369"/>
                </a:lnTo>
                <a:lnTo>
                  <a:pt x="91" y="375"/>
                </a:lnTo>
                <a:lnTo>
                  <a:pt x="85" y="375"/>
                </a:lnTo>
                <a:lnTo>
                  <a:pt x="80" y="375"/>
                </a:lnTo>
                <a:lnTo>
                  <a:pt x="74" y="380"/>
                </a:lnTo>
                <a:lnTo>
                  <a:pt x="68" y="380"/>
                </a:lnTo>
                <a:lnTo>
                  <a:pt x="63" y="375"/>
                </a:lnTo>
                <a:lnTo>
                  <a:pt x="57" y="369"/>
                </a:lnTo>
                <a:lnTo>
                  <a:pt x="57" y="363"/>
                </a:lnTo>
                <a:lnTo>
                  <a:pt x="57" y="358"/>
                </a:lnTo>
                <a:lnTo>
                  <a:pt x="51" y="352"/>
                </a:lnTo>
                <a:lnTo>
                  <a:pt x="46" y="34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5" name="Freeform 16"/>
          <p:cNvSpPr>
            <a:spLocks/>
          </p:cNvSpPr>
          <p:nvPr/>
        </p:nvSpPr>
        <p:spPr bwMode="gray">
          <a:xfrm>
            <a:off x="843938" y="3555341"/>
            <a:ext cx="1122549" cy="1286077"/>
          </a:xfrm>
          <a:custGeom>
            <a:avLst/>
            <a:gdLst>
              <a:gd name="T0" fmla="*/ 2147483647 w 663"/>
              <a:gd name="T1" fmla="*/ 2147483647 h 760"/>
              <a:gd name="T2" fmla="*/ 2147483647 w 663"/>
              <a:gd name="T3" fmla="*/ 2147483647 h 760"/>
              <a:gd name="T4" fmla="*/ 2147483647 w 663"/>
              <a:gd name="T5" fmla="*/ 2147483647 h 760"/>
              <a:gd name="T6" fmla="*/ 2147483647 w 663"/>
              <a:gd name="T7" fmla="*/ 2147483647 h 760"/>
              <a:gd name="T8" fmla="*/ 2147483647 w 663"/>
              <a:gd name="T9" fmla="*/ 2147483647 h 760"/>
              <a:gd name="T10" fmla="*/ 2147483647 w 663"/>
              <a:gd name="T11" fmla="*/ 2147483647 h 760"/>
              <a:gd name="T12" fmla="*/ 2147483647 w 663"/>
              <a:gd name="T13" fmla="*/ 2147483647 h 760"/>
              <a:gd name="T14" fmla="*/ 2147483647 w 663"/>
              <a:gd name="T15" fmla="*/ 2147483647 h 760"/>
              <a:gd name="T16" fmla="*/ 2147483647 w 663"/>
              <a:gd name="T17" fmla="*/ 2147483647 h 760"/>
              <a:gd name="T18" fmla="*/ 2147483647 w 663"/>
              <a:gd name="T19" fmla="*/ 2147483647 h 760"/>
              <a:gd name="T20" fmla="*/ 2147483647 w 663"/>
              <a:gd name="T21" fmla="*/ 2147483647 h 760"/>
              <a:gd name="T22" fmla="*/ 2147483647 w 663"/>
              <a:gd name="T23" fmla="*/ 2147483647 h 760"/>
              <a:gd name="T24" fmla="*/ 2147483647 w 663"/>
              <a:gd name="T25" fmla="*/ 2147483647 h 760"/>
              <a:gd name="T26" fmla="*/ 2147483647 w 663"/>
              <a:gd name="T27" fmla="*/ 2147483647 h 760"/>
              <a:gd name="T28" fmla="*/ 2147483647 w 663"/>
              <a:gd name="T29" fmla="*/ 2147483647 h 760"/>
              <a:gd name="T30" fmla="*/ 2147483647 w 663"/>
              <a:gd name="T31" fmla="*/ 2147483647 h 760"/>
              <a:gd name="T32" fmla="*/ 2147483647 w 663"/>
              <a:gd name="T33" fmla="*/ 2147483647 h 760"/>
              <a:gd name="T34" fmla="*/ 2147483647 w 663"/>
              <a:gd name="T35" fmla="*/ 2147483647 h 760"/>
              <a:gd name="T36" fmla="*/ 2147483647 w 663"/>
              <a:gd name="T37" fmla="*/ 2147483647 h 760"/>
              <a:gd name="T38" fmla="*/ 2147483647 w 663"/>
              <a:gd name="T39" fmla="*/ 2147483647 h 760"/>
              <a:gd name="T40" fmla="*/ 2147483647 w 663"/>
              <a:gd name="T41" fmla="*/ 2147483647 h 760"/>
              <a:gd name="T42" fmla="*/ 2147483647 w 663"/>
              <a:gd name="T43" fmla="*/ 2147483647 h 760"/>
              <a:gd name="T44" fmla="*/ 2147483647 w 663"/>
              <a:gd name="T45" fmla="*/ 2147483647 h 760"/>
              <a:gd name="T46" fmla="*/ 2147483647 w 663"/>
              <a:gd name="T47" fmla="*/ 2147483647 h 760"/>
              <a:gd name="T48" fmla="*/ 2147483647 w 663"/>
              <a:gd name="T49" fmla="*/ 2147483647 h 760"/>
              <a:gd name="T50" fmla="*/ 2147483647 w 663"/>
              <a:gd name="T51" fmla="*/ 2147483647 h 760"/>
              <a:gd name="T52" fmla="*/ 2147483647 w 663"/>
              <a:gd name="T53" fmla="*/ 2147483647 h 760"/>
              <a:gd name="T54" fmla="*/ 2147483647 w 663"/>
              <a:gd name="T55" fmla="*/ 2147483647 h 760"/>
              <a:gd name="T56" fmla="*/ 2147483647 w 663"/>
              <a:gd name="T57" fmla="*/ 2147483647 h 760"/>
              <a:gd name="T58" fmla="*/ 2147483647 w 663"/>
              <a:gd name="T59" fmla="*/ 2147483647 h 760"/>
              <a:gd name="T60" fmla="*/ 2147483647 w 663"/>
              <a:gd name="T61" fmla="*/ 2147483647 h 760"/>
              <a:gd name="T62" fmla="*/ 2147483647 w 663"/>
              <a:gd name="T63" fmla="*/ 2147483647 h 760"/>
              <a:gd name="T64" fmla="*/ 2147483647 w 663"/>
              <a:gd name="T65" fmla="*/ 2147483647 h 760"/>
              <a:gd name="T66" fmla="*/ 2147483647 w 663"/>
              <a:gd name="T67" fmla="*/ 2147483647 h 760"/>
              <a:gd name="T68" fmla="*/ 2147483647 w 663"/>
              <a:gd name="T69" fmla="*/ 2147483647 h 760"/>
              <a:gd name="T70" fmla="*/ 2147483647 w 663"/>
              <a:gd name="T71" fmla="*/ 2147483647 h 760"/>
              <a:gd name="T72" fmla="*/ 2147483647 w 663"/>
              <a:gd name="T73" fmla="*/ 2147483647 h 760"/>
              <a:gd name="T74" fmla="*/ 2147483647 w 663"/>
              <a:gd name="T75" fmla="*/ 2147483647 h 760"/>
              <a:gd name="T76" fmla="*/ 2147483647 w 663"/>
              <a:gd name="T77" fmla="*/ 2147483647 h 760"/>
              <a:gd name="T78" fmla="*/ 2147483647 w 663"/>
              <a:gd name="T79" fmla="*/ 2147483647 h 760"/>
              <a:gd name="T80" fmla="*/ 2147483647 w 663"/>
              <a:gd name="T81" fmla="*/ 2147483647 h 760"/>
              <a:gd name="T82" fmla="*/ 2147483647 w 663"/>
              <a:gd name="T83" fmla="*/ 2147483647 h 760"/>
              <a:gd name="T84" fmla="*/ 2147483647 w 663"/>
              <a:gd name="T85" fmla="*/ 2147483647 h 760"/>
              <a:gd name="T86" fmla="*/ 2147483647 w 663"/>
              <a:gd name="T87" fmla="*/ 2147483647 h 760"/>
              <a:gd name="T88" fmla="*/ 2147483647 w 663"/>
              <a:gd name="T89" fmla="*/ 2147483647 h 760"/>
              <a:gd name="T90" fmla="*/ 2147483647 w 663"/>
              <a:gd name="T91" fmla="*/ 2147483647 h 760"/>
              <a:gd name="T92" fmla="*/ 2147483647 w 663"/>
              <a:gd name="T93" fmla="*/ 2147483647 h 760"/>
              <a:gd name="T94" fmla="*/ 2147483647 w 663"/>
              <a:gd name="T95" fmla="*/ 2147483647 h 760"/>
              <a:gd name="T96" fmla="*/ 2147483647 w 663"/>
              <a:gd name="T97" fmla="*/ 2147483647 h 760"/>
              <a:gd name="T98" fmla="*/ 2147483647 w 663"/>
              <a:gd name="T99" fmla="*/ 2147483647 h 760"/>
              <a:gd name="T100" fmla="*/ 2147483647 w 663"/>
              <a:gd name="T101" fmla="*/ 2147483647 h 760"/>
              <a:gd name="T102" fmla="*/ 2147483647 w 663"/>
              <a:gd name="T103" fmla="*/ 2147483647 h 760"/>
              <a:gd name="T104" fmla="*/ 2147483647 w 663"/>
              <a:gd name="T105" fmla="*/ 2147483647 h 760"/>
              <a:gd name="T106" fmla="*/ 2147483647 w 663"/>
              <a:gd name="T107" fmla="*/ 2147483647 h 760"/>
              <a:gd name="T108" fmla="*/ 2147483647 w 663"/>
              <a:gd name="T109" fmla="*/ 2147483647 h 760"/>
              <a:gd name="T110" fmla="*/ 2147483647 w 663"/>
              <a:gd name="T111" fmla="*/ 2147483647 h 760"/>
              <a:gd name="T112" fmla="*/ 2147483647 w 663"/>
              <a:gd name="T113" fmla="*/ 2147483647 h 760"/>
              <a:gd name="T114" fmla="*/ 2147483647 w 663"/>
              <a:gd name="T115" fmla="*/ 2147483647 h 760"/>
              <a:gd name="T116" fmla="*/ 2147483647 w 663"/>
              <a:gd name="T117" fmla="*/ 2147483647 h 760"/>
              <a:gd name="T118" fmla="*/ 2147483647 w 663"/>
              <a:gd name="T119" fmla="*/ 2147483647 h 760"/>
              <a:gd name="T120" fmla="*/ 2147483647 w 663"/>
              <a:gd name="T121" fmla="*/ 2147483647 h 76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63"/>
              <a:gd name="T184" fmla="*/ 0 h 760"/>
              <a:gd name="T185" fmla="*/ 663 w 663"/>
              <a:gd name="T186" fmla="*/ 760 h 76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63" h="760">
                <a:moveTo>
                  <a:pt x="0" y="431"/>
                </a:moveTo>
                <a:lnTo>
                  <a:pt x="0" y="425"/>
                </a:lnTo>
                <a:lnTo>
                  <a:pt x="6" y="408"/>
                </a:lnTo>
                <a:lnTo>
                  <a:pt x="6" y="403"/>
                </a:lnTo>
                <a:lnTo>
                  <a:pt x="12" y="403"/>
                </a:lnTo>
                <a:lnTo>
                  <a:pt x="6" y="397"/>
                </a:lnTo>
                <a:lnTo>
                  <a:pt x="6" y="391"/>
                </a:lnTo>
                <a:lnTo>
                  <a:pt x="12" y="386"/>
                </a:lnTo>
                <a:lnTo>
                  <a:pt x="12" y="380"/>
                </a:lnTo>
                <a:lnTo>
                  <a:pt x="12" y="374"/>
                </a:lnTo>
                <a:lnTo>
                  <a:pt x="17" y="369"/>
                </a:lnTo>
                <a:lnTo>
                  <a:pt x="17" y="357"/>
                </a:lnTo>
                <a:lnTo>
                  <a:pt x="17" y="352"/>
                </a:lnTo>
                <a:lnTo>
                  <a:pt x="12" y="346"/>
                </a:lnTo>
                <a:lnTo>
                  <a:pt x="12" y="340"/>
                </a:lnTo>
                <a:lnTo>
                  <a:pt x="6" y="340"/>
                </a:lnTo>
                <a:lnTo>
                  <a:pt x="6" y="335"/>
                </a:lnTo>
                <a:lnTo>
                  <a:pt x="0" y="329"/>
                </a:lnTo>
                <a:lnTo>
                  <a:pt x="0" y="318"/>
                </a:lnTo>
                <a:lnTo>
                  <a:pt x="0" y="312"/>
                </a:lnTo>
                <a:lnTo>
                  <a:pt x="0" y="306"/>
                </a:lnTo>
                <a:lnTo>
                  <a:pt x="0" y="301"/>
                </a:lnTo>
                <a:lnTo>
                  <a:pt x="0" y="295"/>
                </a:lnTo>
                <a:lnTo>
                  <a:pt x="6" y="289"/>
                </a:lnTo>
                <a:lnTo>
                  <a:pt x="6" y="284"/>
                </a:lnTo>
                <a:lnTo>
                  <a:pt x="0" y="278"/>
                </a:lnTo>
                <a:lnTo>
                  <a:pt x="6" y="272"/>
                </a:lnTo>
                <a:lnTo>
                  <a:pt x="12" y="272"/>
                </a:lnTo>
                <a:lnTo>
                  <a:pt x="12" y="267"/>
                </a:lnTo>
                <a:lnTo>
                  <a:pt x="17" y="261"/>
                </a:lnTo>
                <a:lnTo>
                  <a:pt x="17" y="255"/>
                </a:lnTo>
                <a:lnTo>
                  <a:pt x="17" y="250"/>
                </a:lnTo>
                <a:lnTo>
                  <a:pt x="23" y="244"/>
                </a:lnTo>
                <a:lnTo>
                  <a:pt x="23" y="238"/>
                </a:lnTo>
                <a:lnTo>
                  <a:pt x="17" y="238"/>
                </a:lnTo>
                <a:lnTo>
                  <a:pt x="17" y="233"/>
                </a:lnTo>
                <a:lnTo>
                  <a:pt x="17" y="227"/>
                </a:lnTo>
                <a:lnTo>
                  <a:pt x="17" y="221"/>
                </a:lnTo>
                <a:lnTo>
                  <a:pt x="23" y="221"/>
                </a:lnTo>
                <a:lnTo>
                  <a:pt x="23" y="216"/>
                </a:lnTo>
                <a:lnTo>
                  <a:pt x="29" y="210"/>
                </a:lnTo>
                <a:lnTo>
                  <a:pt x="29" y="204"/>
                </a:lnTo>
                <a:lnTo>
                  <a:pt x="34" y="204"/>
                </a:lnTo>
                <a:lnTo>
                  <a:pt x="40" y="199"/>
                </a:lnTo>
                <a:lnTo>
                  <a:pt x="51" y="204"/>
                </a:lnTo>
                <a:lnTo>
                  <a:pt x="57" y="204"/>
                </a:lnTo>
                <a:lnTo>
                  <a:pt x="63" y="210"/>
                </a:lnTo>
                <a:lnTo>
                  <a:pt x="68" y="204"/>
                </a:lnTo>
                <a:lnTo>
                  <a:pt x="68" y="199"/>
                </a:lnTo>
                <a:lnTo>
                  <a:pt x="74" y="199"/>
                </a:lnTo>
                <a:lnTo>
                  <a:pt x="80" y="199"/>
                </a:lnTo>
                <a:lnTo>
                  <a:pt x="80" y="193"/>
                </a:lnTo>
                <a:lnTo>
                  <a:pt x="85" y="187"/>
                </a:lnTo>
                <a:lnTo>
                  <a:pt x="97" y="182"/>
                </a:lnTo>
                <a:lnTo>
                  <a:pt x="97" y="176"/>
                </a:lnTo>
                <a:lnTo>
                  <a:pt x="102" y="176"/>
                </a:lnTo>
                <a:lnTo>
                  <a:pt x="108" y="170"/>
                </a:lnTo>
                <a:lnTo>
                  <a:pt x="108" y="165"/>
                </a:lnTo>
                <a:lnTo>
                  <a:pt x="114" y="165"/>
                </a:lnTo>
                <a:lnTo>
                  <a:pt x="119" y="165"/>
                </a:lnTo>
                <a:lnTo>
                  <a:pt x="119" y="159"/>
                </a:lnTo>
                <a:lnTo>
                  <a:pt x="125" y="153"/>
                </a:lnTo>
                <a:lnTo>
                  <a:pt x="131" y="153"/>
                </a:lnTo>
                <a:lnTo>
                  <a:pt x="136" y="153"/>
                </a:lnTo>
                <a:lnTo>
                  <a:pt x="136" y="148"/>
                </a:lnTo>
                <a:lnTo>
                  <a:pt x="142" y="142"/>
                </a:lnTo>
                <a:lnTo>
                  <a:pt x="148" y="142"/>
                </a:lnTo>
                <a:lnTo>
                  <a:pt x="153" y="142"/>
                </a:lnTo>
                <a:lnTo>
                  <a:pt x="159" y="142"/>
                </a:lnTo>
                <a:lnTo>
                  <a:pt x="165" y="142"/>
                </a:lnTo>
                <a:lnTo>
                  <a:pt x="170" y="142"/>
                </a:lnTo>
                <a:lnTo>
                  <a:pt x="176" y="142"/>
                </a:lnTo>
                <a:lnTo>
                  <a:pt x="182" y="142"/>
                </a:lnTo>
                <a:lnTo>
                  <a:pt x="187" y="142"/>
                </a:lnTo>
                <a:lnTo>
                  <a:pt x="193" y="142"/>
                </a:lnTo>
                <a:lnTo>
                  <a:pt x="199" y="142"/>
                </a:lnTo>
                <a:lnTo>
                  <a:pt x="204" y="142"/>
                </a:lnTo>
                <a:lnTo>
                  <a:pt x="210" y="136"/>
                </a:lnTo>
                <a:lnTo>
                  <a:pt x="216" y="131"/>
                </a:lnTo>
                <a:lnTo>
                  <a:pt x="221" y="131"/>
                </a:lnTo>
                <a:lnTo>
                  <a:pt x="227" y="131"/>
                </a:lnTo>
                <a:lnTo>
                  <a:pt x="233" y="131"/>
                </a:lnTo>
                <a:lnTo>
                  <a:pt x="238" y="125"/>
                </a:lnTo>
                <a:lnTo>
                  <a:pt x="244" y="125"/>
                </a:lnTo>
                <a:lnTo>
                  <a:pt x="250" y="125"/>
                </a:lnTo>
                <a:lnTo>
                  <a:pt x="250" y="119"/>
                </a:lnTo>
                <a:lnTo>
                  <a:pt x="250" y="114"/>
                </a:lnTo>
                <a:lnTo>
                  <a:pt x="255" y="114"/>
                </a:lnTo>
                <a:lnTo>
                  <a:pt x="261" y="114"/>
                </a:lnTo>
                <a:lnTo>
                  <a:pt x="267" y="108"/>
                </a:lnTo>
                <a:lnTo>
                  <a:pt x="278" y="108"/>
                </a:lnTo>
                <a:lnTo>
                  <a:pt x="278" y="102"/>
                </a:lnTo>
                <a:lnTo>
                  <a:pt x="289" y="102"/>
                </a:lnTo>
                <a:lnTo>
                  <a:pt x="295" y="97"/>
                </a:lnTo>
                <a:lnTo>
                  <a:pt x="306" y="97"/>
                </a:lnTo>
                <a:lnTo>
                  <a:pt x="318" y="91"/>
                </a:lnTo>
                <a:lnTo>
                  <a:pt x="329" y="85"/>
                </a:lnTo>
                <a:lnTo>
                  <a:pt x="335" y="85"/>
                </a:lnTo>
                <a:lnTo>
                  <a:pt x="335" y="80"/>
                </a:lnTo>
                <a:lnTo>
                  <a:pt x="340" y="80"/>
                </a:lnTo>
                <a:lnTo>
                  <a:pt x="346" y="80"/>
                </a:lnTo>
                <a:lnTo>
                  <a:pt x="346" y="74"/>
                </a:lnTo>
                <a:lnTo>
                  <a:pt x="352" y="74"/>
                </a:lnTo>
                <a:lnTo>
                  <a:pt x="352" y="68"/>
                </a:lnTo>
                <a:lnTo>
                  <a:pt x="357" y="68"/>
                </a:lnTo>
                <a:lnTo>
                  <a:pt x="363" y="63"/>
                </a:lnTo>
                <a:lnTo>
                  <a:pt x="363" y="57"/>
                </a:lnTo>
                <a:lnTo>
                  <a:pt x="369" y="51"/>
                </a:lnTo>
                <a:lnTo>
                  <a:pt x="369" y="46"/>
                </a:lnTo>
                <a:lnTo>
                  <a:pt x="369" y="40"/>
                </a:lnTo>
                <a:lnTo>
                  <a:pt x="369" y="34"/>
                </a:lnTo>
                <a:lnTo>
                  <a:pt x="369" y="29"/>
                </a:lnTo>
                <a:lnTo>
                  <a:pt x="374" y="29"/>
                </a:lnTo>
                <a:lnTo>
                  <a:pt x="374" y="23"/>
                </a:lnTo>
                <a:lnTo>
                  <a:pt x="380" y="17"/>
                </a:lnTo>
                <a:lnTo>
                  <a:pt x="386" y="17"/>
                </a:lnTo>
                <a:lnTo>
                  <a:pt x="386" y="12"/>
                </a:lnTo>
                <a:lnTo>
                  <a:pt x="391" y="12"/>
                </a:lnTo>
                <a:lnTo>
                  <a:pt x="391" y="6"/>
                </a:lnTo>
                <a:lnTo>
                  <a:pt x="397" y="6"/>
                </a:lnTo>
                <a:lnTo>
                  <a:pt x="403" y="6"/>
                </a:lnTo>
                <a:lnTo>
                  <a:pt x="403" y="0"/>
                </a:lnTo>
                <a:lnTo>
                  <a:pt x="408" y="0"/>
                </a:lnTo>
                <a:lnTo>
                  <a:pt x="414" y="0"/>
                </a:lnTo>
                <a:lnTo>
                  <a:pt x="420" y="0"/>
                </a:lnTo>
                <a:lnTo>
                  <a:pt x="425" y="0"/>
                </a:lnTo>
                <a:lnTo>
                  <a:pt x="431" y="6"/>
                </a:lnTo>
                <a:lnTo>
                  <a:pt x="431" y="12"/>
                </a:lnTo>
                <a:lnTo>
                  <a:pt x="442" y="17"/>
                </a:lnTo>
                <a:lnTo>
                  <a:pt x="448" y="17"/>
                </a:lnTo>
                <a:lnTo>
                  <a:pt x="448" y="23"/>
                </a:lnTo>
                <a:lnTo>
                  <a:pt x="448" y="29"/>
                </a:lnTo>
                <a:lnTo>
                  <a:pt x="448" y="34"/>
                </a:lnTo>
                <a:lnTo>
                  <a:pt x="454" y="34"/>
                </a:lnTo>
                <a:lnTo>
                  <a:pt x="448" y="40"/>
                </a:lnTo>
                <a:lnTo>
                  <a:pt x="454" y="46"/>
                </a:lnTo>
                <a:lnTo>
                  <a:pt x="459" y="51"/>
                </a:lnTo>
                <a:lnTo>
                  <a:pt x="459" y="57"/>
                </a:lnTo>
                <a:lnTo>
                  <a:pt x="465" y="57"/>
                </a:lnTo>
                <a:lnTo>
                  <a:pt x="471" y="57"/>
                </a:lnTo>
                <a:lnTo>
                  <a:pt x="471" y="63"/>
                </a:lnTo>
                <a:lnTo>
                  <a:pt x="476" y="63"/>
                </a:lnTo>
                <a:lnTo>
                  <a:pt x="476" y="68"/>
                </a:lnTo>
                <a:lnTo>
                  <a:pt x="488" y="74"/>
                </a:lnTo>
                <a:lnTo>
                  <a:pt x="488" y="80"/>
                </a:lnTo>
                <a:lnTo>
                  <a:pt x="493" y="85"/>
                </a:lnTo>
                <a:lnTo>
                  <a:pt x="499" y="85"/>
                </a:lnTo>
                <a:lnTo>
                  <a:pt x="505" y="85"/>
                </a:lnTo>
                <a:lnTo>
                  <a:pt x="505" y="91"/>
                </a:lnTo>
                <a:lnTo>
                  <a:pt x="510" y="91"/>
                </a:lnTo>
                <a:lnTo>
                  <a:pt x="516" y="97"/>
                </a:lnTo>
                <a:lnTo>
                  <a:pt x="522" y="97"/>
                </a:lnTo>
                <a:lnTo>
                  <a:pt x="527" y="97"/>
                </a:lnTo>
                <a:lnTo>
                  <a:pt x="527" y="91"/>
                </a:lnTo>
                <a:lnTo>
                  <a:pt x="533" y="85"/>
                </a:lnTo>
                <a:lnTo>
                  <a:pt x="539" y="80"/>
                </a:lnTo>
                <a:lnTo>
                  <a:pt x="544" y="80"/>
                </a:lnTo>
                <a:lnTo>
                  <a:pt x="544" y="74"/>
                </a:lnTo>
                <a:lnTo>
                  <a:pt x="550" y="74"/>
                </a:lnTo>
                <a:lnTo>
                  <a:pt x="550" y="68"/>
                </a:lnTo>
                <a:lnTo>
                  <a:pt x="556" y="68"/>
                </a:lnTo>
                <a:lnTo>
                  <a:pt x="561" y="68"/>
                </a:lnTo>
                <a:lnTo>
                  <a:pt x="567" y="63"/>
                </a:lnTo>
                <a:lnTo>
                  <a:pt x="573" y="68"/>
                </a:lnTo>
                <a:lnTo>
                  <a:pt x="578" y="74"/>
                </a:lnTo>
                <a:lnTo>
                  <a:pt x="578" y="80"/>
                </a:lnTo>
                <a:lnTo>
                  <a:pt x="578" y="85"/>
                </a:lnTo>
                <a:lnTo>
                  <a:pt x="573" y="85"/>
                </a:lnTo>
                <a:lnTo>
                  <a:pt x="567" y="91"/>
                </a:lnTo>
                <a:lnTo>
                  <a:pt x="556" y="97"/>
                </a:lnTo>
                <a:lnTo>
                  <a:pt x="550" y="102"/>
                </a:lnTo>
                <a:lnTo>
                  <a:pt x="544" y="108"/>
                </a:lnTo>
                <a:lnTo>
                  <a:pt x="539" y="114"/>
                </a:lnTo>
                <a:lnTo>
                  <a:pt x="533" y="119"/>
                </a:lnTo>
                <a:lnTo>
                  <a:pt x="533" y="125"/>
                </a:lnTo>
                <a:lnTo>
                  <a:pt x="527" y="131"/>
                </a:lnTo>
                <a:lnTo>
                  <a:pt x="527" y="136"/>
                </a:lnTo>
                <a:lnTo>
                  <a:pt x="527" y="142"/>
                </a:lnTo>
                <a:lnTo>
                  <a:pt x="522" y="142"/>
                </a:lnTo>
                <a:lnTo>
                  <a:pt x="516" y="142"/>
                </a:lnTo>
                <a:lnTo>
                  <a:pt x="516" y="148"/>
                </a:lnTo>
                <a:lnTo>
                  <a:pt x="516" y="153"/>
                </a:lnTo>
                <a:lnTo>
                  <a:pt x="516" y="159"/>
                </a:lnTo>
                <a:lnTo>
                  <a:pt x="516" y="165"/>
                </a:lnTo>
                <a:lnTo>
                  <a:pt x="516" y="170"/>
                </a:lnTo>
                <a:lnTo>
                  <a:pt x="516" y="176"/>
                </a:lnTo>
                <a:lnTo>
                  <a:pt x="516" y="182"/>
                </a:lnTo>
                <a:lnTo>
                  <a:pt x="522" y="187"/>
                </a:lnTo>
                <a:lnTo>
                  <a:pt x="522" y="193"/>
                </a:lnTo>
                <a:lnTo>
                  <a:pt x="527" y="193"/>
                </a:lnTo>
                <a:lnTo>
                  <a:pt x="527" y="199"/>
                </a:lnTo>
                <a:lnTo>
                  <a:pt x="527" y="204"/>
                </a:lnTo>
                <a:lnTo>
                  <a:pt x="527" y="210"/>
                </a:lnTo>
                <a:lnTo>
                  <a:pt x="533" y="210"/>
                </a:lnTo>
                <a:lnTo>
                  <a:pt x="533" y="216"/>
                </a:lnTo>
                <a:lnTo>
                  <a:pt x="539" y="221"/>
                </a:lnTo>
                <a:lnTo>
                  <a:pt x="544" y="227"/>
                </a:lnTo>
                <a:lnTo>
                  <a:pt x="544" y="233"/>
                </a:lnTo>
                <a:lnTo>
                  <a:pt x="550" y="238"/>
                </a:lnTo>
                <a:lnTo>
                  <a:pt x="556" y="244"/>
                </a:lnTo>
                <a:lnTo>
                  <a:pt x="556" y="250"/>
                </a:lnTo>
                <a:lnTo>
                  <a:pt x="561" y="261"/>
                </a:lnTo>
                <a:lnTo>
                  <a:pt x="561" y="267"/>
                </a:lnTo>
                <a:lnTo>
                  <a:pt x="567" y="272"/>
                </a:lnTo>
                <a:lnTo>
                  <a:pt x="567" y="278"/>
                </a:lnTo>
                <a:lnTo>
                  <a:pt x="573" y="278"/>
                </a:lnTo>
                <a:lnTo>
                  <a:pt x="573" y="284"/>
                </a:lnTo>
                <a:lnTo>
                  <a:pt x="578" y="289"/>
                </a:lnTo>
                <a:lnTo>
                  <a:pt x="578" y="295"/>
                </a:lnTo>
                <a:lnTo>
                  <a:pt x="584" y="301"/>
                </a:lnTo>
                <a:lnTo>
                  <a:pt x="590" y="306"/>
                </a:lnTo>
                <a:lnTo>
                  <a:pt x="590" y="312"/>
                </a:lnTo>
                <a:lnTo>
                  <a:pt x="595" y="318"/>
                </a:lnTo>
                <a:lnTo>
                  <a:pt x="601" y="318"/>
                </a:lnTo>
                <a:lnTo>
                  <a:pt x="601" y="323"/>
                </a:lnTo>
                <a:lnTo>
                  <a:pt x="607" y="323"/>
                </a:lnTo>
                <a:lnTo>
                  <a:pt x="607" y="329"/>
                </a:lnTo>
                <a:lnTo>
                  <a:pt x="612" y="335"/>
                </a:lnTo>
                <a:lnTo>
                  <a:pt x="618" y="340"/>
                </a:lnTo>
                <a:lnTo>
                  <a:pt x="624" y="346"/>
                </a:lnTo>
                <a:lnTo>
                  <a:pt x="629" y="346"/>
                </a:lnTo>
                <a:lnTo>
                  <a:pt x="629" y="352"/>
                </a:lnTo>
                <a:lnTo>
                  <a:pt x="629" y="357"/>
                </a:lnTo>
                <a:lnTo>
                  <a:pt x="635" y="363"/>
                </a:lnTo>
                <a:lnTo>
                  <a:pt x="641" y="374"/>
                </a:lnTo>
                <a:lnTo>
                  <a:pt x="635" y="374"/>
                </a:lnTo>
                <a:lnTo>
                  <a:pt x="641" y="386"/>
                </a:lnTo>
                <a:lnTo>
                  <a:pt x="641" y="391"/>
                </a:lnTo>
                <a:lnTo>
                  <a:pt x="646" y="397"/>
                </a:lnTo>
                <a:lnTo>
                  <a:pt x="652" y="403"/>
                </a:lnTo>
                <a:lnTo>
                  <a:pt x="658" y="403"/>
                </a:lnTo>
                <a:lnTo>
                  <a:pt x="663" y="408"/>
                </a:lnTo>
                <a:lnTo>
                  <a:pt x="658" y="408"/>
                </a:lnTo>
                <a:lnTo>
                  <a:pt x="658" y="414"/>
                </a:lnTo>
                <a:lnTo>
                  <a:pt x="652" y="414"/>
                </a:lnTo>
                <a:lnTo>
                  <a:pt x="652" y="420"/>
                </a:lnTo>
                <a:lnTo>
                  <a:pt x="646" y="420"/>
                </a:lnTo>
                <a:lnTo>
                  <a:pt x="646" y="431"/>
                </a:lnTo>
                <a:lnTo>
                  <a:pt x="646" y="442"/>
                </a:lnTo>
                <a:lnTo>
                  <a:pt x="641" y="442"/>
                </a:lnTo>
                <a:lnTo>
                  <a:pt x="635" y="448"/>
                </a:lnTo>
                <a:lnTo>
                  <a:pt x="629" y="448"/>
                </a:lnTo>
                <a:lnTo>
                  <a:pt x="624" y="448"/>
                </a:lnTo>
                <a:lnTo>
                  <a:pt x="618" y="448"/>
                </a:lnTo>
                <a:lnTo>
                  <a:pt x="612" y="448"/>
                </a:lnTo>
                <a:lnTo>
                  <a:pt x="612" y="454"/>
                </a:lnTo>
                <a:lnTo>
                  <a:pt x="612" y="459"/>
                </a:lnTo>
                <a:lnTo>
                  <a:pt x="607" y="459"/>
                </a:lnTo>
                <a:lnTo>
                  <a:pt x="607" y="465"/>
                </a:lnTo>
                <a:lnTo>
                  <a:pt x="607" y="471"/>
                </a:lnTo>
                <a:lnTo>
                  <a:pt x="601" y="471"/>
                </a:lnTo>
                <a:lnTo>
                  <a:pt x="595" y="471"/>
                </a:lnTo>
                <a:lnTo>
                  <a:pt x="590" y="471"/>
                </a:lnTo>
                <a:lnTo>
                  <a:pt x="590" y="476"/>
                </a:lnTo>
                <a:lnTo>
                  <a:pt x="584" y="476"/>
                </a:lnTo>
                <a:lnTo>
                  <a:pt x="584" y="482"/>
                </a:lnTo>
                <a:lnTo>
                  <a:pt x="578" y="482"/>
                </a:lnTo>
                <a:lnTo>
                  <a:pt x="578" y="476"/>
                </a:lnTo>
                <a:lnTo>
                  <a:pt x="578" y="471"/>
                </a:lnTo>
                <a:lnTo>
                  <a:pt x="578" y="465"/>
                </a:lnTo>
                <a:lnTo>
                  <a:pt x="578" y="459"/>
                </a:lnTo>
                <a:lnTo>
                  <a:pt x="573" y="459"/>
                </a:lnTo>
                <a:lnTo>
                  <a:pt x="573" y="454"/>
                </a:lnTo>
                <a:lnTo>
                  <a:pt x="573" y="448"/>
                </a:lnTo>
                <a:lnTo>
                  <a:pt x="567" y="454"/>
                </a:lnTo>
                <a:lnTo>
                  <a:pt x="567" y="448"/>
                </a:lnTo>
                <a:lnTo>
                  <a:pt x="561" y="448"/>
                </a:lnTo>
                <a:lnTo>
                  <a:pt x="556" y="448"/>
                </a:lnTo>
                <a:lnTo>
                  <a:pt x="550" y="442"/>
                </a:lnTo>
                <a:lnTo>
                  <a:pt x="544" y="442"/>
                </a:lnTo>
                <a:lnTo>
                  <a:pt x="544" y="448"/>
                </a:lnTo>
                <a:lnTo>
                  <a:pt x="539" y="448"/>
                </a:lnTo>
                <a:lnTo>
                  <a:pt x="533" y="448"/>
                </a:lnTo>
                <a:lnTo>
                  <a:pt x="533" y="454"/>
                </a:lnTo>
                <a:lnTo>
                  <a:pt x="533" y="459"/>
                </a:lnTo>
                <a:lnTo>
                  <a:pt x="527" y="459"/>
                </a:lnTo>
                <a:lnTo>
                  <a:pt x="522" y="459"/>
                </a:lnTo>
                <a:lnTo>
                  <a:pt x="522" y="465"/>
                </a:lnTo>
                <a:lnTo>
                  <a:pt x="522" y="471"/>
                </a:lnTo>
                <a:lnTo>
                  <a:pt x="522" y="476"/>
                </a:lnTo>
                <a:lnTo>
                  <a:pt x="516" y="482"/>
                </a:lnTo>
                <a:lnTo>
                  <a:pt x="510" y="482"/>
                </a:lnTo>
                <a:lnTo>
                  <a:pt x="505" y="488"/>
                </a:lnTo>
                <a:lnTo>
                  <a:pt x="499" y="488"/>
                </a:lnTo>
                <a:lnTo>
                  <a:pt x="493" y="488"/>
                </a:lnTo>
                <a:lnTo>
                  <a:pt x="488" y="482"/>
                </a:lnTo>
                <a:lnTo>
                  <a:pt x="488" y="476"/>
                </a:lnTo>
                <a:lnTo>
                  <a:pt x="482" y="476"/>
                </a:lnTo>
                <a:lnTo>
                  <a:pt x="476" y="476"/>
                </a:lnTo>
                <a:lnTo>
                  <a:pt x="476" y="482"/>
                </a:lnTo>
                <a:lnTo>
                  <a:pt x="476" y="488"/>
                </a:lnTo>
                <a:lnTo>
                  <a:pt x="471" y="499"/>
                </a:lnTo>
                <a:lnTo>
                  <a:pt x="471" y="505"/>
                </a:lnTo>
                <a:lnTo>
                  <a:pt x="471" y="511"/>
                </a:lnTo>
                <a:lnTo>
                  <a:pt x="471" y="516"/>
                </a:lnTo>
                <a:lnTo>
                  <a:pt x="471" y="522"/>
                </a:lnTo>
                <a:lnTo>
                  <a:pt x="471" y="528"/>
                </a:lnTo>
                <a:lnTo>
                  <a:pt x="465" y="528"/>
                </a:lnTo>
                <a:lnTo>
                  <a:pt x="465" y="533"/>
                </a:lnTo>
                <a:lnTo>
                  <a:pt x="465" y="539"/>
                </a:lnTo>
                <a:lnTo>
                  <a:pt x="459" y="539"/>
                </a:lnTo>
                <a:lnTo>
                  <a:pt x="459" y="545"/>
                </a:lnTo>
                <a:lnTo>
                  <a:pt x="459" y="550"/>
                </a:lnTo>
                <a:lnTo>
                  <a:pt x="465" y="556"/>
                </a:lnTo>
                <a:lnTo>
                  <a:pt x="471" y="556"/>
                </a:lnTo>
                <a:lnTo>
                  <a:pt x="476" y="567"/>
                </a:lnTo>
                <a:lnTo>
                  <a:pt x="482" y="567"/>
                </a:lnTo>
                <a:lnTo>
                  <a:pt x="482" y="573"/>
                </a:lnTo>
                <a:lnTo>
                  <a:pt x="488" y="573"/>
                </a:lnTo>
                <a:lnTo>
                  <a:pt x="488" y="579"/>
                </a:lnTo>
                <a:lnTo>
                  <a:pt x="493" y="584"/>
                </a:lnTo>
                <a:lnTo>
                  <a:pt x="493" y="590"/>
                </a:lnTo>
                <a:lnTo>
                  <a:pt x="493" y="596"/>
                </a:lnTo>
                <a:lnTo>
                  <a:pt x="499" y="596"/>
                </a:lnTo>
                <a:lnTo>
                  <a:pt x="505" y="601"/>
                </a:lnTo>
                <a:lnTo>
                  <a:pt x="505" y="607"/>
                </a:lnTo>
                <a:lnTo>
                  <a:pt x="499" y="613"/>
                </a:lnTo>
                <a:lnTo>
                  <a:pt x="499" y="624"/>
                </a:lnTo>
                <a:lnTo>
                  <a:pt x="499" y="630"/>
                </a:lnTo>
                <a:lnTo>
                  <a:pt x="493" y="630"/>
                </a:lnTo>
                <a:lnTo>
                  <a:pt x="493" y="635"/>
                </a:lnTo>
                <a:lnTo>
                  <a:pt x="493" y="641"/>
                </a:lnTo>
                <a:lnTo>
                  <a:pt x="493" y="647"/>
                </a:lnTo>
                <a:lnTo>
                  <a:pt x="493" y="658"/>
                </a:lnTo>
                <a:lnTo>
                  <a:pt x="499" y="658"/>
                </a:lnTo>
                <a:lnTo>
                  <a:pt x="493" y="664"/>
                </a:lnTo>
                <a:lnTo>
                  <a:pt x="493" y="669"/>
                </a:lnTo>
                <a:lnTo>
                  <a:pt x="493" y="675"/>
                </a:lnTo>
                <a:lnTo>
                  <a:pt x="493" y="681"/>
                </a:lnTo>
                <a:lnTo>
                  <a:pt x="499" y="692"/>
                </a:lnTo>
                <a:lnTo>
                  <a:pt x="505" y="698"/>
                </a:lnTo>
                <a:lnTo>
                  <a:pt x="510" y="709"/>
                </a:lnTo>
                <a:lnTo>
                  <a:pt x="516" y="720"/>
                </a:lnTo>
                <a:lnTo>
                  <a:pt x="516" y="726"/>
                </a:lnTo>
                <a:lnTo>
                  <a:pt x="510" y="726"/>
                </a:lnTo>
                <a:lnTo>
                  <a:pt x="510" y="732"/>
                </a:lnTo>
                <a:lnTo>
                  <a:pt x="505" y="737"/>
                </a:lnTo>
                <a:lnTo>
                  <a:pt x="505" y="726"/>
                </a:lnTo>
                <a:lnTo>
                  <a:pt x="499" y="726"/>
                </a:lnTo>
                <a:lnTo>
                  <a:pt x="493" y="720"/>
                </a:lnTo>
                <a:lnTo>
                  <a:pt x="488" y="720"/>
                </a:lnTo>
                <a:lnTo>
                  <a:pt x="482" y="726"/>
                </a:lnTo>
                <a:lnTo>
                  <a:pt x="476" y="726"/>
                </a:lnTo>
                <a:lnTo>
                  <a:pt x="476" y="732"/>
                </a:lnTo>
                <a:lnTo>
                  <a:pt x="471" y="732"/>
                </a:lnTo>
                <a:lnTo>
                  <a:pt x="465" y="737"/>
                </a:lnTo>
                <a:lnTo>
                  <a:pt x="459" y="737"/>
                </a:lnTo>
                <a:lnTo>
                  <a:pt x="454" y="743"/>
                </a:lnTo>
                <a:lnTo>
                  <a:pt x="454" y="749"/>
                </a:lnTo>
                <a:lnTo>
                  <a:pt x="448" y="749"/>
                </a:lnTo>
                <a:lnTo>
                  <a:pt x="442" y="754"/>
                </a:lnTo>
                <a:lnTo>
                  <a:pt x="437" y="754"/>
                </a:lnTo>
                <a:lnTo>
                  <a:pt x="437" y="749"/>
                </a:lnTo>
                <a:lnTo>
                  <a:pt x="431" y="749"/>
                </a:lnTo>
                <a:lnTo>
                  <a:pt x="425" y="754"/>
                </a:lnTo>
                <a:lnTo>
                  <a:pt x="420" y="754"/>
                </a:lnTo>
                <a:lnTo>
                  <a:pt x="408" y="760"/>
                </a:lnTo>
                <a:lnTo>
                  <a:pt x="397" y="760"/>
                </a:lnTo>
                <a:lnTo>
                  <a:pt x="391" y="760"/>
                </a:lnTo>
                <a:lnTo>
                  <a:pt x="386" y="760"/>
                </a:lnTo>
                <a:lnTo>
                  <a:pt x="380" y="760"/>
                </a:lnTo>
                <a:lnTo>
                  <a:pt x="374" y="760"/>
                </a:lnTo>
                <a:lnTo>
                  <a:pt x="363" y="754"/>
                </a:lnTo>
                <a:lnTo>
                  <a:pt x="357" y="754"/>
                </a:lnTo>
                <a:lnTo>
                  <a:pt x="352" y="754"/>
                </a:lnTo>
                <a:lnTo>
                  <a:pt x="352" y="749"/>
                </a:lnTo>
                <a:lnTo>
                  <a:pt x="352" y="743"/>
                </a:lnTo>
                <a:lnTo>
                  <a:pt x="357" y="743"/>
                </a:lnTo>
                <a:lnTo>
                  <a:pt x="363" y="737"/>
                </a:lnTo>
                <a:lnTo>
                  <a:pt x="363" y="732"/>
                </a:lnTo>
                <a:lnTo>
                  <a:pt x="363" y="726"/>
                </a:lnTo>
                <a:lnTo>
                  <a:pt x="363" y="720"/>
                </a:lnTo>
                <a:lnTo>
                  <a:pt x="363" y="715"/>
                </a:lnTo>
                <a:lnTo>
                  <a:pt x="363" y="709"/>
                </a:lnTo>
                <a:lnTo>
                  <a:pt x="363" y="703"/>
                </a:lnTo>
                <a:lnTo>
                  <a:pt x="363" y="698"/>
                </a:lnTo>
                <a:lnTo>
                  <a:pt x="363" y="692"/>
                </a:lnTo>
                <a:lnTo>
                  <a:pt x="363" y="681"/>
                </a:lnTo>
                <a:lnTo>
                  <a:pt x="357" y="681"/>
                </a:lnTo>
                <a:lnTo>
                  <a:pt x="352" y="681"/>
                </a:lnTo>
                <a:lnTo>
                  <a:pt x="352" y="675"/>
                </a:lnTo>
                <a:lnTo>
                  <a:pt x="352" y="669"/>
                </a:lnTo>
                <a:lnTo>
                  <a:pt x="346" y="669"/>
                </a:lnTo>
                <a:lnTo>
                  <a:pt x="340" y="664"/>
                </a:lnTo>
                <a:lnTo>
                  <a:pt x="340" y="658"/>
                </a:lnTo>
                <a:lnTo>
                  <a:pt x="340" y="652"/>
                </a:lnTo>
                <a:lnTo>
                  <a:pt x="340" y="647"/>
                </a:lnTo>
                <a:lnTo>
                  <a:pt x="335" y="647"/>
                </a:lnTo>
                <a:lnTo>
                  <a:pt x="335" y="641"/>
                </a:lnTo>
                <a:lnTo>
                  <a:pt x="335" y="635"/>
                </a:lnTo>
                <a:lnTo>
                  <a:pt x="329" y="635"/>
                </a:lnTo>
                <a:lnTo>
                  <a:pt x="329" y="630"/>
                </a:lnTo>
                <a:lnTo>
                  <a:pt x="323" y="630"/>
                </a:lnTo>
                <a:lnTo>
                  <a:pt x="318" y="630"/>
                </a:lnTo>
                <a:lnTo>
                  <a:pt x="312" y="630"/>
                </a:lnTo>
                <a:lnTo>
                  <a:pt x="306" y="624"/>
                </a:lnTo>
                <a:lnTo>
                  <a:pt x="301" y="624"/>
                </a:lnTo>
                <a:lnTo>
                  <a:pt x="295" y="624"/>
                </a:lnTo>
                <a:lnTo>
                  <a:pt x="284" y="624"/>
                </a:lnTo>
                <a:lnTo>
                  <a:pt x="272" y="630"/>
                </a:lnTo>
                <a:lnTo>
                  <a:pt x="267" y="630"/>
                </a:lnTo>
                <a:lnTo>
                  <a:pt x="261" y="630"/>
                </a:lnTo>
                <a:lnTo>
                  <a:pt x="255" y="630"/>
                </a:lnTo>
                <a:lnTo>
                  <a:pt x="255" y="624"/>
                </a:lnTo>
                <a:lnTo>
                  <a:pt x="250" y="624"/>
                </a:lnTo>
                <a:lnTo>
                  <a:pt x="250" y="618"/>
                </a:lnTo>
                <a:lnTo>
                  <a:pt x="250" y="613"/>
                </a:lnTo>
                <a:lnTo>
                  <a:pt x="244" y="613"/>
                </a:lnTo>
                <a:lnTo>
                  <a:pt x="244" y="607"/>
                </a:lnTo>
                <a:lnTo>
                  <a:pt x="238" y="607"/>
                </a:lnTo>
                <a:lnTo>
                  <a:pt x="233" y="607"/>
                </a:lnTo>
                <a:lnTo>
                  <a:pt x="233" y="613"/>
                </a:lnTo>
                <a:lnTo>
                  <a:pt x="227" y="613"/>
                </a:lnTo>
                <a:lnTo>
                  <a:pt x="227" y="624"/>
                </a:lnTo>
                <a:lnTo>
                  <a:pt x="227" y="630"/>
                </a:lnTo>
                <a:lnTo>
                  <a:pt x="221" y="635"/>
                </a:lnTo>
                <a:lnTo>
                  <a:pt x="221" y="641"/>
                </a:lnTo>
                <a:lnTo>
                  <a:pt x="216" y="647"/>
                </a:lnTo>
                <a:lnTo>
                  <a:pt x="210" y="652"/>
                </a:lnTo>
                <a:lnTo>
                  <a:pt x="204" y="658"/>
                </a:lnTo>
                <a:lnTo>
                  <a:pt x="199" y="658"/>
                </a:lnTo>
                <a:lnTo>
                  <a:pt x="193" y="658"/>
                </a:lnTo>
                <a:lnTo>
                  <a:pt x="187" y="658"/>
                </a:lnTo>
                <a:lnTo>
                  <a:pt x="182" y="658"/>
                </a:lnTo>
                <a:lnTo>
                  <a:pt x="176" y="658"/>
                </a:lnTo>
                <a:lnTo>
                  <a:pt x="170" y="658"/>
                </a:lnTo>
                <a:lnTo>
                  <a:pt x="159" y="652"/>
                </a:lnTo>
                <a:lnTo>
                  <a:pt x="159" y="647"/>
                </a:lnTo>
                <a:lnTo>
                  <a:pt x="153" y="647"/>
                </a:lnTo>
                <a:lnTo>
                  <a:pt x="153" y="641"/>
                </a:lnTo>
                <a:lnTo>
                  <a:pt x="148" y="641"/>
                </a:lnTo>
                <a:lnTo>
                  <a:pt x="142" y="630"/>
                </a:lnTo>
                <a:lnTo>
                  <a:pt x="136" y="624"/>
                </a:lnTo>
                <a:lnTo>
                  <a:pt x="131" y="624"/>
                </a:lnTo>
                <a:lnTo>
                  <a:pt x="131" y="618"/>
                </a:lnTo>
                <a:lnTo>
                  <a:pt x="131" y="613"/>
                </a:lnTo>
                <a:lnTo>
                  <a:pt x="125" y="613"/>
                </a:lnTo>
                <a:lnTo>
                  <a:pt x="125" y="601"/>
                </a:lnTo>
                <a:lnTo>
                  <a:pt x="119" y="601"/>
                </a:lnTo>
                <a:lnTo>
                  <a:pt x="119" y="596"/>
                </a:lnTo>
                <a:lnTo>
                  <a:pt x="114" y="596"/>
                </a:lnTo>
                <a:lnTo>
                  <a:pt x="114" y="590"/>
                </a:lnTo>
                <a:lnTo>
                  <a:pt x="114" y="584"/>
                </a:lnTo>
                <a:lnTo>
                  <a:pt x="108" y="584"/>
                </a:lnTo>
                <a:lnTo>
                  <a:pt x="102" y="584"/>
                </a:lnTo>
                <a:lnTo>
                  <a:pt x="102" y="579"/>
                </a:lnTo>
                <a:lnTo>
                  <a:pt x="102" y="573"/>
                </a:lnTo>
                <a:lnTo>
                  <a:pt x="97" y="573"/>
                </a:lnTo>
                <a:lnTo>
                  <a:pt x="97" y="567"/>
                </a:lnTo>
                <a:lnTo>
                  <a:pt x="97" y="562"/>
                </a:lnTo>
                <a:lnTo>
                  <a:pt x="91" y="562"/>
                </a:lnTo>
                <a:lnTo>
                  <a:pt x="91" y="556"/>
                </a:lnTo>
                <a:lnTo>
                  <a:pt x="91" y="550"/>
                </a:lnTo>
                <a:lnTo>
                  <a:pt x="85" y="545"/>
                </a:lnTo>
                <a:lnTo>
                  <a:pt x="85" y="539"/>
                </a:lnTo>
                <a:lnTo>
                  <a:pt x="85" y="528"/>
                </a:lnTo>
                <a:lnTo>
                  <a:pt x="91" y="522"/>
                </a:lnTo>
                <a:lnTo>
                  <a:pt x="91" y="516"/>
                </a:lnTo>
                <a:lnTo>
                  <a:pt x="91" y="511"/>
                </a:lnTo>
                <a:lnTo>
                  <a:pt x="91" y="505"/>
                </a:lnTo>
                <a:lnTo>
                  <a:pt x="97" y="505"/>
                </a:lnTo>
                <a:lnTo>
                  <a:pt x="97" y="499"/>
                </a:lnTo>
                <a:lnTo>
                  <a:pt x="97" y="493"/>
                </a:lnTo>
                <a:lnTo>
                  <a:pt x="97" y="488"/>
                </a:lnTo>
                <a:lnTo>
                  <a:pt x="97" y="482"/>
                </a:lnTo>
                <a:lnTo>
                  <a:pt x="91" y="476"/>
                </a:lnTo>
                <a:lnTo>
                  <a:pt x="85" y="471"/>
                </a:lnTo>
                <a:lnTo>
                  <a:pt x="80" y="471"/>
                </a:lnTo>
                <a:lnTo>
                  <a:pt x="74" y="476"/>
                </a:lnTo>
                <a:lnTo>
                  <a:pt x="74" y="488"/>
                </a:lnTo>
                <a:lnTo>
                  <a:pt x="68" y="493"/>
                </a:lnTo>
                <a:lnTo>
                  <a:pt x="68" y="499"/>
                </a:lnTo>
                <a:lnTo>
                  <a:pt x="68" y="505"/>
                </a:lnTo>
                <a:lnTo>
                  <a:pt x="63" y="505"/>
                </a:lnTo>
                <a:lnTo>
                  <a:pt x="57" y="505"/>
                </a:lnTo>
                <a:lnTo>
                  <a:pt x="57" y="499"/>
                </a:lnTo>
                <a:lnTo>
                  <a:pt x="57" y="493"/>
                </a:lnTo>
                <a:lnTo>
                  <a:pt x="57" y="488"/>
                </a:lnTo>
                <a:lnTo>
                  <a:pt x="57" y="482"/>
                </a:lnTo>
                <a:lnTo>
                  <a:pt x="57" y="476"/>
                </a:lnTo>
                <a:lnTo>
                  <a:pt x="57" y="465"/>
                </a:lnTo>
                <a:lnTo>
                  <a:pt x="57" y="459"/>
                </a:lnTo>
                <a:lnTo>
                  <a:pt x="57" y="454"/>
                </a:lnTo>
                <a:lnTo>
                  <a:pt x="51" y="448"/>
                </a:lnTo>
                <a:lnTo>
                  <a:pt x="51" y="442"/>
                </a:lnTo>
                <a:lnTo>
                  <a:pt x="46" y="442"/>
                </a:lnTo>
                <a:lnTo>
                  <a:pt x="51" y="437"/>
                </a:lnTo>
                <a:lnTo>
                  <a:pt x="40" y="431"/>
                </a:lnTo>
                <a:lnTo>
                  <a:pt x="34" y="431"/>
                </a:lnTo>
                <a:lnTo>
                  <a:pt x="29" y="431"/>
                </a:lnTo>
                <a:lnTo>
                  <a:pt x="23" y="431"/>
                </a:lnTo>
                <a:lnTo>
                  <a:pt x="17" y="431"/>
                </a:lnTo>
                <a:lnTo>
                  <a:pt x="12" y="431"/>
                </a:lnTo>
                <a:lnTo>
                  <a:pt x="6" y="431"/>
                </a:lnTo>
                <a:lnTo>
                  <a:pt x="0" y="43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6" name="Freeform 17"/>
          <p:cNvSpPr>
            <a:spLocks/>
          </p:cNvSpPr>
          <p:nvPr/>
        </p:nvSpPr>
        <p:spPr bwMode="gray">
          <a:xfrm>
            <a:off x="1707312" y="724027"/>
            <a:ext cx="1874156" cy="1833551"/>
          </a:xfrm>
          <a:custGeom>
            <a:avLst/>
            <a:gdLst>
              <a:gd name="T0" fmla="*/ 2147483647 w 1106"/>
              <a:gd name="T1" fmla="*/ 2147483647 h 1083"/>
              <a:gd name="T2" fmla="*/ 2147483647 w 1106"/>
              <a:gd name="T3" fmla="*/ 2147483647 h 1083"/>
              <a:gd name="T4" fmla="*/ 2147483647 w 1106"/>
              <a:gd name="T5" fmla="*/ 2147483647 h 1083"/>
              <a:gd name="T6" fmla="*/ 2147483647 w 1106"/>
              <a:gd name="T7" fmla="*/ 2147483647 h 1083"/>
              <a:gd name="T8" fmla="*/ 2147483647 w 1106"/>
              <a:gd name="T9" fmla="*/ 2147483647 h 1083"/>
              <a:gd name="T10" fmla="*/ 2147483647 w 1106"/>
              <a:gd name="T11" fmla="*/ 2147483647 h 1083"/>
              <a:gd name="T12" fmla="*/ 2147483647 w 1106"/>
              <a:gd name="T13" fmla="*/ 2147483647 h 1083"/>
              <a:gd name="T14" fmla="*/ 2147483647 w 1106"/>
              <a:gd name="T15" fmla="*/ 2147483647 h 1083"/>
              <a:gd name="T16" fmla="*/ 2147483647 w 1106"/>
              <a:gd name="T17" fmla="*/ 2147483647 h 1083"/>
              <a:gd name="T18" fmla="*/ 2147483647 w 1106"/>
              <a:gd name="T19" fmla="*/ 2147483647 h 1083"/>
              <a:gd name="T20" fmla="*/ 2147483647 w 1106"/>
              <a:gd name="T21" fmla="*/ 2147483647 h 1083"/>
              <a:gd name="T22" fmla="*/ 2147483647 w 1106"/>
              <a:gd name="T23" fmla="*/ 2147483647 h 1083"/>
              <a:gd name="T24" fmla="*/ 2147483647 w 1106"/>
              <a:gd name="T25" fmla="*/ 2147483647 h 1083"/>
              <a:gd name="T26" fmla="*/ 2147483647 w 1106"/>
              <a:gd name="T27" fmla="*/ 2147483647 h 1083"/>
              <a:gd name="T28" fmla="*/ 2147483647 w 1106"/>
              <a:gd name="T29" fmla="*/ 2147483647 h 1083"/>
              <a:gd name="T30" fmla="*/ 2147483647 w 1106"/>
              <a:gd name="T31" fmla="*/ 2147483647 h 1083"/>
              <a:gd name="T32" fmla="*/ 2147483647 w 1106"/>
              <a:gd name="T33" fmla="*/ 2147483647 h 1083"/>
              <a:gd name="T34" fmla="*/ 2147483647 w 1106"/>
              <a:gd name="T35" fmla="*/ 2147483647 h 1083"/>
              <a:gd name="T36" fmla="*/ 2147483647 w 1106"/>
              <a:gd name="T37" fmla="*/ 2147483647 h 1083"/>
              <a:gd name="T38" fmla="*/ 2147483647 w 1106"/>
              <a:gd name="T39" fmla="*/ 2147483647 h 1083"/>
              <a:gd name="T40" fmla="*/ 2147483647 w 1106"/>
              <a:gd name="T41" fmla="*/ 2147483647 h 1083"/>
              <a:gd name="T42" fmla="*/ 2147483647 w 1106"/>
              <a:gd name="T43" fmla="*/ 2147483647 h 1083"/>
              <a:gd name="T44" fmla="*/ 2147483647 w 1106"/>
              <a:gd name="T45" fmla="*/ 2147483647 h 1083"/>
              <a:gd name="T46" fmla="*/ 2147483647 w 1106"/>
              <a:gd name="T47" fmla="*/ 2147483647 h 1083"/>
              <a:gd name="T48" fmla="*/ 2147483647 w 1106"/>
              <a:gd name="T49" fmla="*/ 2147483647 h 1083"/>
              <a:gd name="T50" fmla="*/ 2147483647 w 1106"/>
              <a:gd name="T51" fmla="*/ 2147483647 h 1083"/>
              <a:gd name="T52" fmla="*/ 2147483647 w 1106"/>
              <a:gd name="T53" fmla="*/ 2147483647 h 1083"/>
              <a:gd name="T54" fmla="*/ 2147483647 w 1106"/>
              <a:gd name="T55" fmla="*/ 2147483647 h 1083"/>
              <a:gd name="T56" fmla="*/ 2147483647 w 1106"/>
              <a:gd name="T57" fmla="*/ 2147483647 h 1083"/>
              <a:gd name="T58" fmla="*/ 2147483647 w 1106"/>
              <a:gd name="T59" fmla="*/ 2147483647 h 1083"/>
              <a:gd name="T60" fmla="*/ 2147483647 w 1106"/>
              <a:gd name="T61" fmla="*/ 2147483647 h 1083"/>
              <a:gd name="T62" fmla="*/ 2147483647 w 1106"/>
              <a:gd name="T63" fmla="*/ 2147483647 h 1083"/>
              <a:gd name="T64" fmla="*/ 2147483647 w 1106"/>
              <a:gd name="T65" fmla="*/ 2147483647 h 1083"/>
              <a:gd name="T66" fmla="*/ 2147483647 w 1106"/>
              <a:gd name="T67" fmla="*/ 2147483647 h 1083"/>
              <a:gd name="T68" fmla="*/ 2147483647 w 1106"/>
              <a:gd name="T69" fmla="*/ 2147483647 h 1083"/>
              <a:gd name="T70" fmla="*/ 2147483647 w 1106"/>
              <a:gd name="T71" fmla="*/ 2147483647 h 1083"/>
              <a:gd name="T72" fmla="*/ 2147483647 w 1106"/>
              <a:gd name="T73" fmla="*/ 2147483647 h 1083"/>
              <a:gd name="T74" fmla="*/ 2147483647 w 1106"/>
              <a:gd name="T75" fmla="*/ 2147483647 h 1083"/>
              <a:gd name="T76" fmla="*/ 2147483647 w 1106"/>
              <a:gd name="T77" fmla="*/ 2147483647 h 1083"/>
              <a:gd name="T78" fmla="*/ 2147483647 w 1106"/>
              <a:gd name="T79" fmla="*/ 2147483647 h 1083"/>
              <a:gd name="T80" fmla="*/ 2147483647 w 1106"/>
              <a:gd name="T81" fmla="*/ 2147483647 h 1083"/>
              <a:gd name="T82" fmla="*/ 2147483647 w 1106"/>
              <a:gd name="T83" fmla="*/ 2147483647 h 1083"/>
              <a:gd name="T84" fmla="*/ 2147483647 w 1106"/>
              <a:gd name="T85" fmla="*/ 2147483647 h 1083"/>
              <a:gd name="T86" fmla="*/ 2147483647 w 1106"/>
              <a:gd name="T87" fmla="*/ 2147483647 h 1083"/>
              <a:gd name="T88" fmla="*/ 2147483647 w 1106"/>
              <a:gd name="T89" fmla="*/ 2147483647 h 1083"/>
              <a:gd name="T90" fmla="*/ 2147483647 w 1106"/>
              <a:gd name="T91" fmla="*/ 2147483647 h 1083"/>
              <a:gd name="T92" fmla="*/ 2147483647 w 1106"/>
              <a:gd name="T93" fmla="*/ 2147483647 h 1083"/>
              <a:gd name="T94" fmla="*/ 2147483647 w 1106"/>
              <a:gd name="T95" fmla="*/ 2147483647 h 1083"/>
              <a:gd name="T96" fmla="*/ 2147483647 w 1106"/>
              <a:gd name="T97" fmla="*/ 2147483647 h 1083"/>
              <a:gd name="T98" fmla="*/ 2147483647 w 1106"/>
              <a:gd name="T99" fmla="*/ 2147483647 h 1083"/>
              <a:gd name="T100" fmla="*/ 2147483647 w 1106"/>
              <a:gd name="T101" fmla="*/ 2147483647 h 1083"/>
              <a:gd name="T102" fmla="*/ 2147483647 w 1106"/>
              <a:gd name="T103" fmla="*/ 2147483647 h 1083"/>
              <a:gd name="T104" fmla="*/ 2147483647 w 1106"/>
              <a:gd name="T105" fmla="*/ 2147483647 h 1083"/>
              <a:gd name="T106" fmla="*/ 2147483647 w 1106"/>
              <a:gd name="T107" fmla="*/ 2147483647 h 1083"/>
              <a:gd name="T108" fmla="*/ 2147483647 w 1106"/>
              <a:gd name="T109" fmla="*/ 2147483647 h 1083"/>
              <a:gd name="T110" fmla="*/ 2147483647 w 1106"/>
              <a:gd name="T111" fmla="*/ 2147483647 h 1083"/>
              <a:gd name="T112" fmla="*/ 2147483647 w 1106"/>
              <a:gd name="T113" fmla="*/ 2147483647 h 1083"/>
              <a:gd name="T114" fmla="*/ 2147483647 w 1106"/>
              <a:gd name="T115" fmla="*/ 2147483647 h 108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106"/>
              <a:gd name="T175" fmla="*/ 0 h 1083"/>
              <a:gd name="T176" fmla="*/ 1106 w 1106"/>
              <a:gd name="T177" fmla="*/ 1083 h 108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106" h="1083">
                <a:moveTo>
                  <a:pt x="0" y="232"/>
                </a:moveTo>
                <a:lnTo>
                  <a:pt x="0" y="198"/>
                </a:lnTo>
                <a:lnTo>
                  <a:pt x="0" y="187"/>
                </a:lnTo>
                <a:lnTo>
                  <a:pt x="0" y="164"/>
                </a:lnTo>
                <a:lnTo>
                  <a:pt x="0" y="159"/>
                </a:lnTo>
                <a:lnTo>
                  <a:pt x="0" y="153"/>
                </a:lnTo>
                <a:lnTo>
                  <a:pt x="0" y="147"/>
                </a:lnTo>
                <a:lnTo>
                  <a:pt x="17" y="147"/>
                </a:lnTo>
                <a:lnTo>
                  <a:pt x="23" y="147"/>
                </a:lnTo>
                <a:lnTo>
                  <a:pt x="29" y="147"/>
                </a:lnTo>
                <a:lnTo>
                  <a:pt x="46" y="136"/>
                </a:lnTo>
                <a:lnTo>
                  <a:pt x="57" y="119"/>
                </a:lnTo>
                <a:lnTo>
                  <a:pt x="63" y="119"/>
                </a:lnTo>
                <a:lnTo>
                  <a:pt x="68" y="113"/>
                </a:lnTo>
                <a:lnTo>
                  <a:pt x="80" y="102"/>
                </a:lnTo>
                <a:lnTo>
                  <a:pt x="97" y="85"/>
                </a:lnTo>
                <a:lnTo>
                  <a:pt x="102" y="85"/>
                </a:lnTo>
                <a:lnTo>
                  <a:pt x="108" y="79"/>
                </a:lnTo>
                <a:lnTo>
                  <a:pt x="119" y="68"/>
                </a:lnTo>
                <a:lnTo>
                  <a:pt x="125" y="68"/>
                </a:lnTo>
                <a:lnTo>
                  <a:pt x="142" y="62"/>
                </a:lnTo>
                <a:lnTo>
                  <a:pt x="148" y="62"/>
                </a:lnTo>
                <a:lnTo>
                  <a:pt x="153" y="62"/>
                </a:lnTo>
                <a:lnTo>
                  <a:pt x="159" y="57"/>
                </a:lnTo>
                <a:lnTo>
                  <a:pt x="165" y="57"/>
                </a:lnTo>
                <a:lnTo>
                  <a:pt x="170" y="57"/>
                </a:lnTo>
                <a:lnTo>
                  <a:pt x="176" y="57"/>
                </a:lnTo>
                <a:lnTo>
                  <a:pt x="193" y="51"/>
                </a:lnTo>
                <a:lnTo>
                  <a:pt x="204" y="51"/>
                </a:lnTo>
                <a:lnTo>
                  <a:pt x="210" y="51"/>
                </a:lnTo>
                <a:lnTo>
                  <a:pt x="216" y="51"/>
                </a:lnTo>
                <a:lnTo>
                  <a:pt x="221" y="45"/>
                </a:lnTo>
                <a:lnTo>
                  <a:pt x="227" y="45"/>
                </a:lnTo>
                <a:lnTo>
                  <a:pt x="233" y="45"/>
                </a:lnTo>
                <a:lnTo>
                  <a:pt x="255" y="40"/>
                </a:lnTo>
                <a:lnTo>
                  <a:pt x="261" y="40"/>
                </a:lnTo>
                <a:lnTo>
                  <a:pt x="267" y="40"/>
                </a:lnTo>
                <a:lnTo>
                  <a:pt x="273" y="51"/>
                </a:lnTo>
                <a:lnTo>
                  <a:pt x="278" y="51"/>
                </a:lnTo>
                <a:lnTo>
                  <a:pt x="290" y="51"/>
                </a:lnTo>
                <a:lnTo>
                  <a:pt x="301" y="51"/>
                </a:lnTo>
                <a:lnTo>
                  <a:pt x="307" y="51"/>
                </a:lnTo>
                <a:lnTo>
                  <a:pt x="307" y="57"/>
                </a:lnTo>
                <a:lnTo>
                  <a:pt x="312" y="57"/>
                </a:lnTo>
                <a:lnTo>
                  <a:pt x="318" y="51"/>
                </a:lnTo>
                <a:lnTo>
                  <a:pt x="329" y="51"/>
                </a:lnTo>
                <a:lnTo>
                  <a:pt x="341" y="51"/>
                </a:lnTo>
                <a:lnTo>
                  <a:pt x="346" y="51"/>
                </a:lnTo>
                <a:lnTo>
                  <a:pt x="358" y="51"/>
                </a:lnTo>
                <a:lnTo>
                  <a:pt x="363" y="51"/>
                </a:lnTo>
                <a:lnTo>
                  <a:pt x="369" y="51"/>
                </a:lnTo>
                <a:lnTo>
                  <a:pt x="375" y="51"/>
                </a:lnTo>
                <a:lnTo>
                  <a:pt x="380" y="51"/>
                </a:lnTo>
                <a:lnTo>
                  <a:pt x="392" y="51"/>
                </a:lnTo>
                <a:lnTo>
                  <a:pt x="397" y="51"/>
                </a:lnTo>
                <a:lnTo>
                  <a:pt x="403" y="51"/>
                </a:lnTo>
                <a:lnTo>
                  <a:pt x="409" y="45"/>
                </a:lnTo>
                <a:lnTo>
                  <a:pt x="414" y="45"/>
                </a:lnTo>
                <a:lnTo>
                  <a:pt x="420" y="34"/>
                </a:lnTo>
                <a:lnTo>
                  <a:pt x="431" y="23"/>
                </a:lnTo>
                <a:lnTo>
                  <a:pt x="437" y="17"/>
                </a:lnTo>
                <a:lnTo>
                  <a:pt x="454" y="11"/>
                </a:lnTo>
                <a:lnTo>
                  <a:pt x="465" y="6"/>
                </a:lnTo>
                <a:lnTo>
                  <a:pt x="471" y="6"/>
                </a:lnTo>
                <a:lnTo>
                  <a:pt x="482" y="6"/>
                </a:lnTo>
                <a:lnTo>
                  <a:pt x="494" y="0"/>
                </a:lnTo>
                <a:lnTo>
                  <a:pt x="499" y="0"/>
                </a:lnTo>
                <a:lnTo>
                  <a:pt x="516" y="11"/>
                </a:lnTo>
                <a:lnTo>
                  <a:pt x="522" y="11"/>
                </a:lnTo>
                <a:lnTo>
                  <a:pt x="533" y="17"/>
                </a:lnTo>
                <a:lnTo>
                  <a:pt x="567" y="34"/>
                </a:lnTo>
                <a:lnTo>
                  <a:pt x="573" y="34"/>
                </a:lnTo>
                <a:lnTo>
                  <a:pt x="590" y="40"/>
                </a:lnTo>
                <a:lnTo>
                  <a:pt x="607" y="45"/>
                </a:lnTo>
                <a:lnTo>
                  <a:pt x="624" y="51"/>
                </a:lnTo>
                <a:lnTo>
                  <a:pt x="635" y="57"/>
                </a:lnTo>
                <a:lnTo>
                  <a:pt x="658" y="62"/>
                </a:lnTo>
                <a:lnTo>
                  <a:pt x="664" y="68"/>
                </a:lnTo>
                <a:lnTo>
                  <a:pt x="675" y="68"/>
                </a:lnTo>
                <a:lnTo>
                  <a:pt x="681" y="74"/>
                </a:lnTo>
                <a:lnTo>
                  <a:pt x="692" y="74"/>
                </a:lnTo>
                <a:lnTo>
                  <a:pt x="709" y="85"/>
                </a:lnTo>
                <a:lnTo>
                  <a:pt x="715" y="85"/>
                </a:lnTo>
                <a:lnTo>
                  <a:pt x="715" y="91"/>
                </a:lnTo>
                <a:lnTo>
                  <a:pt x="720" y="91"/>
                </a:lnTo>
                <a:lnTo>
                  <a:pt x="726" y="85"/>
                </a:lnTo>
                <a:lnTo>
                  <a:pt x="732" y="85"/>
                </a:lnTo>
                <a:lnTo>
                  <a:pt x="737" y="85"/>
                </a:lnTo>
                <a:lnTo>
                  <a:pt x="743" y="79"/>
                </a:lnTo>
                <a:lnTo>
                  <a:pt x="754" y="79"/>
                </a:lnTo>
                <a:lnTo>
                  <a:pt x="760" y="79"/>
                </a:lnTo>
                <a:lnTo>
                  <a:pt x="766" y="79"/>
                </a:lnTo>
                <a:lnTo>
                  <a:pt x="771" y="85"/>
                </a:lnTo>
                <a:lnTo>
                  <a:pt x="777" y="85"/>
                </a:lnTo>
                <a:lnTo>
                  <a:pt x="783" y="91"/>
                </a:lnTo>
                <a:lnTo>
                  <a:pt x="811" y="102"/>
                </a:lnTo>
                <a:lnTo>
                  <a:pt x="817" y="108"/>
                </a:lnTo>
                <a:lnTo>
                  <a:pt x="822" y="113"/>
                </a:lnTo>
                <a:lnTo>
                  <a:pt x="839" y="130"/>
                </a:lnTo>
                <a:lnTo>
                  <a:pt x="862" y="153"/>
                </a:lnTo>
                <a:lnTo>
                  <a:pt x="868" y="153"/>
                </a:lnTo>
                <a:lnTo>
                  <a:pt x="868" y="159"/>
                </a:lnTo>
                <a:lnTo>
                  <a:pt x="873" y="164"/>
                </a:lnTo>
                <a:lnTo>
                  <a:pt x="890" y="176"/>
                </a:lnTo>
                <a:lnTo>
                  <a:pt x="896" y="181"/>
                </a:lnTo>
                <a:lnTo>
                  <a:pt x="896" y="187"/>
                </a:lnTo>
                <a:lnTo>
                  <a:pt x="902" y="193"/>
                </a:lnTo>
                <a:lnTo>
                  <a:pt x="907" y="198"/>
                </a:lnTo>
                <a:lnTo>
                  <a:pt x="907" y="204"/>
                </a:lnTo>
                <a:lnTo>
                  <a:pt x="913" y="204"/>
                </a:lnTo>
                <a:lnTo>
                  <a:pt x="913" y="210"/>
                </a:lnTo>
                <a:lnTo>
                  <a:pt x="913" y="215"/>
                </a:lnTo>
                <a:lnTo>
                  <a:pt x="919" y="215"/>
                </a:lnTo>
                <a:lnTo>
                  <a:pt x="919" y="221"/>
                </a:lnTo>
                <a:lnTo>
                  <a:pt x="924" y="227"/>
                </a:lnTo>
                <a:lnTo>
                  <a:pt x="930" y="238"/>
                </a:lnTo>
                <a:lnTo>
                  <a:pt x="936" y="244"/>
                </a:lnTo>
                <a:lnTo>
                  <a:pt x="941" y="255"/>
                </a:lnTo>
                <a:lnTo>
                  <a:pt x="941" y="261"/>
                </a:lnTo>
                <a:lnTo>
                  <a:pt x="947" y="266"/>
                </a:lnTo>
                <a:lnTo>
                  <a:pt x="947" y="272"/>
                </a:lnTo>
                <a:lnTo>
                  <a:pt x="953" y="278"/>
                </a:lnTo>
                <a:lnTo>
                  <a:pt x="958" y="283"/>
                </a:lnTo>
                <a:lnTo>
                  <a:pt x="964" y="289"/>
                </a:lnTo>
                <a:lnTo>
                  <a:pt x="975" y="306"/>
                </a:lnTo>
                <a:lnTo>
                  <a:pt x="981" y="306"/>
                </a:lnTo>
                <a:lnTo>
                  <a:pt x="981" y="312"/>
                </a:lnTo>
                <a:lnTo>
                  <a:pt x="987" y="317"/>
                </a:lnTo>
                <a:lnTo>
                  <a:pt x="992" y="323"/>
                </a:lnTo>
                <a:lnTo>
                  <a:pt x="998" y="323"/>
                </a:lnTo>
                <a:lnTo>
                  <a:pt x="1015" y="323"/>
                </a:lnTo>
                <a:lnTo>
                  <a:pt x="1021" y="323"/>
                </a:lnTo>
                <a:lnTo>
                  <a:pt x="1032" y="317"/>
                </a:lnTo>
                <a:lnTo>
                  <a:pt x="1038" y="317"/>
                </a:lnTo>
                <a:lnTo>
                  <a:pt x="1038" y="335"/>
                </a:lnTo>
                <a:lnTo>
                  <a:pt x="1038" y="352"/>
                </a:lnTo>
                <a:lnTo>
                  <a:pt x="1038" y="363"/>
                </a:lnTo>
                <a:lnTo>
                  <a:pt x="1038" y="374"/>
                </a:lnTo>
                <a:lnTo>
                  <a:pt x="1038" y="380"/>
                </a:lnTo>
                <a:lnTo>
                  <a:pt x="1032" y="391"/>
                </a:lnTo>
                <a:lnTo>
                  <a:pt x="1032" y="403"/>
                </a:lnTo>
                <a:lnTo>
                  <a:pt x="1032" y="431"/>
                </a:lnTo>
                <a:lnTo>
                  <a:pt x="1032" y="437"/>
                </a:lnTo>
                <a:lnTo>
                  <a:pt x="1038" y="442"/>
                </a:lnTo>
                <a:lnTo>
                  <a:pt x="1038" y="448"/>
                </a:lnTo>
                <a:lnTo>
                  <a:pt x="1038" y="454"/>
                </a:lnTo>
                <a:lnTo>
                  <a:pt x="1038" y="459"/>
                </a:lnTo>
                <a:lnTo>
                  <a:pt x="1043" y="465"/>
                </a:lnTo>
                <a:lnTo>
                  <a:pt x="1043" y="488"/>
                </a:lnTo>
                <a:lnTo>
                  <a:pt x="1043" y="493"/>
                </a:lnTo>
                <a:lnTo>
                  <a:pt x="1043" y="499"/>
                </a:lnTo>
                <a:lnTo>
                  <a:pt x="1043" y="505"/>
                </a:lnTo>
                <a:lnTo>
                  <a:pt x="1043" y="510"/>
                </a:lnTo>
                <a:lnTo>
                  <a:pt x="1043" y="527"/>
                </a:lnTo>
                <a:lnTo>
                  <a:pt x="1043" y="533"/>
                </a:lnTo>
                <a:lnTo>
                  <a:pt x="1049" y="533"/>
                </a:lnTo>
                <a:lnTo>
                  <a:pt x="1049" y="539"/>
                </a:lnTo>
                <a:lnTo>
                  <a:pt x="1055" y="539"/>
                </a:lnTo>
                <a:lnTo>
                  <a:pt x="1055" y="544"/>
                </a:lnTo>
                <a:lnTo>
                  <a:pt x="1055" y="550"/>
                </a:lnTo>
                <a:lnTo>
                  <a:pt x="1055" y="556"/>
                </a:lnTo>
                <a:lnTo>
                  <a:pt x="1055" y="561"/>
                </a:lnTo>
                <a:lnTo>
                  <a:pt x="1060" y="561"/>
                </a:lnTo>
                <a:lnTo>
                  <a:pt x="1060" y="567"/>
                </a:lnTo>
                <a:lnTo>
                  <a:pt x="1060" y="578"/>
                </a:lnTo>
                <a:lnTo>
                  <a:pt x="1060" y="584"/>
                </a:lnTo>
                <a:lnTo>
                  <a:pt x="1066" y="590"/>
                </a:lnTo>
                <a:lnTo>
                  <a:pt x="1072" y="595"/>
                </a:lnTo>
                <a:lnTo>
                  <a:pt x="1072" y="601"/>
                </a:lnTo>
                <a:lnTo>
                  <a:pt x="1072" y="607"/>
                </a:lnTo>
                <a:lnTo>
                  <a:pt x="1072" y="612"/>
                </a:lnTo>
                <a:lnTo>
                  <a:pt x="1077" y="618"/>
                </a:lnTo>
                <a:lnTo>
                  <a:pt x="1077" y="624"/>
                </a:lnTo>
                <a:lnTo>
                  <a:pt x="1077" y="629"/>
                </a:lnTo>
                <a:lnTo>
                  <a:pt x="1077" y="635"/>
                </a:lnTo>
                <a:lnTo>
                  <a:pt x="1077" y="641"/>
                </a:lnTo>
                <a:lnTo>
                  <a:pt x="1072" y="641"/>
                </a:lnTo>
                <a:lnTo>
                  <a:pt x="1072" y="646"/>
                </a:lnTo>
                <a:lnTo>
                  <a:pt x="1072" y="652"/>
                </a:lnTo>
                <a:lnTo>
                  <a:pt x="1066" y="652"/>
                </a:lnTo>
                <a:lnTo>
                  <a:pt x="1066" y="658"/>
                </a:lnTo>
                <a:lnTo>
                  <a:pt x="1060" y="658"/>
                </a:lnTo>
                <a:lnTo>
                  <a:pt x="1060" y="663"/>
                </a:lnTo>
                <a:lnTo>
                  <a:pt x="1060" y="669"/>
                </a:lnTo>
                <a:lnTo>
                  <a:pt x="1060" y="675"/>
                </a:lnTo>
                <a:lnTo>
                  <a:pt x="1066" y="675"/>
                </a:lnTo>
                <a:lnTo>
                  <a:pt x="1066" y="680"/>
                </a:lnTo>
                <a:lnTo>
                  <a:pt x="1072" y="680"/>
                </a:lnTo>
                <a:lnTo>
                  <a:pt x="1077" y="680"/>
                </a:lnTo>
                <a:lnTo>
                  <a:pt x="1083" y="680"/>
                </a:lnTo>
                <a:lnTo>
                  <a:pt x="1083" y="686"/>
                </a:lnTo>
                <a:lnTo>
                  <a:pt x="1089" y="686"/>
                </a:lnTo>
                <a:lnTo>
                  <a:pt x="1094" y="697"/>
                </a:lnTo>
                <a:lnTo>
                  <a:pt x="1100" y="697"/>
                </a:lnTo>
                <a:lnTo>
                  <a:pt x="1100" y="703"/>
                </a:lnTo>
                <a:lnTo>
                  <a:pt x="1106" y="709"/>
                </a:lnTo>
                <a:lnTo>
                  <a:pt x="1106" y="714"/>
                </a:lnTo>
                <a:lnTo>
                  <a:pt x="1100" y="714"/>
                </a:lnTo>
                <a:lnTo>
                  <a:pt x="1100" y="720"/>
                </a:lnTo>
                <a:lnTo>
                  <a:pt x="1094" y="720"/>
                </a:lnTo>
                <a:lnTo>
                  <a:pt x="1094" y="726"/>
                </a:lnTo>
                <a:lnTo>
                  <a:pt x="1089" y="720"/>
                </a:lnTo>
                <a:lnTo>
                  <a:pt x="1083" y="720"/>
                </a:lnTo>
                <a:lnTo>
                  <a:pt x="1077" y="720"/>
                </a:lnTo>
                <a:lnTo>
                  <a:pt x="1072" y="726"/>
                </a:lnTo>
                <a:lnTo>
                  <a:pt x="1072" y="731"/>
                </a:lnTo>
                <a:lnTo>
                  <a:pt x="1072" y="737"/>
                </a:lnTo>
                <a:lnTo>
                  <a:pt x="1066" y="743"/>
                </a:lnTo>
                <a:lnTo>
                  <a:pt x="1060" y="743"/>
                </a:lnTo>
                <a:lnTo>
                  <a:pt x="1055" y="754"/>
                </a:lnTo>
                <a:lnTo>
                  <a:pt x="1049" y="754"/>
                </a:lnTo>
                <a:lnTo>
                  <a:pt x="1043" y="754"/>
                </a:lnTo>
                <a:lnTo>
                  <a:pt x="1043" y="760"/>
                </a:lnTo>
                <a:lnTo>
                  <a:pt x="1038" y="760"/>
                </a:lnTo>
                <a:lnTo>
                  <a:pt x="1032" y="760"/>
                </a:lnTo>
                <a:lnTo>
                  <a:pt x="1026" y="754"/>
                </a:lnTo>
                <a:lnTo>
                  <a:pt x="1021" y="754"/>
                </a:lnTo>
                <a:lnTo>
                  <a:pt x="1015" y="754"/>
                </a:lnTo>
                <a:lnTo>
                  <a:pt x="1009" y="754"/>
                </a:lnTo>
                <a:lnTo>
                  <a:pt x="998" y="754"/>
                </a:lnTo>
                <a:lnTo>
                  <a:pt x="998" y="760"/>
                </a:lnTo>
                <a:lnTo>
                  <a:pt x="992" y="760"/>
                </a:lnTo>
                <a:lnTo>
                  <a:pt x="992" y="765"/>
                </a:lnTo>
                <a:lnTo>
                  <a:pt x="987" y="765"/>
                </a:lnTo>
                <a:lnTo>
                  <a:pt x="987" y="771"/>
                </a:lnTo>
                <a:lnTo>
                  <a:pt x="987" y="782"/>
                </a:lnTo>
                <a:lnTo>
                  <a:pt x="981" y="782"/>
                </a:lnTo>
                <a:lnTo>
                  <a:pt x="981" y="788"/>
                </a:lnTo>
                <a:lnTo>
                  <a:pt x="981" y="794"/>
                </a:lnTo>
                <a:lnTo>
                  <a:pt x="981" y="799"/>
                </a:lnTo>
                <a:lnTo>
                  <a:pt x="975" y="799"/>
                </a:lnTo>
                <a:lnTo>
                  <a:pt x="975" y="805"/>
                </a:lnTo>
                <a:lnTo>
                  <a:pt x="975" y="811"/>
                </a:lnTo>
                <a:lnTo>
                  <a:pt x="975" y="816"/>
                </a:lnTo>
                <a:lnTo>
                  <a:pt x="975" y="822"/>
                </a:lnTo>
                <a:lnTo>
                  <a:pt x="975" y="828"/>
                </a:lnTo>
                <a:lnTo>
                  <a:pt x="975" y="833"/>
                </a:lnTo>
                <a:lnTo>
                  <a:pt x="981" y="839"/>
                </a:lnTo>
                <a:lnTo>
                  <a:pt x="987" y="845"/>
                </a:lnTo>
                <a:lnTo>
                  <a:pt x="987" y="850"/>
                </a:lnTo>
                <a:lnTo>
                  <a:pt x="992" y="856"/>
                </a:lnTo>
                <a:lnTo>
                  <a:pt x="992" y="862"/>
                </a:lnTo>
                <a:lnTo>
                  <a:pt x="992" y="867"/>
                </a:lnTo>
                <a:lnTo>
                  <a:pt x="987" y="867"/>
                </a:lnTo>
                <a:lnTo>
                  <a:pt x="987" y="873"/>
                </a:lnTo>
                <a:lnTo>
                  <a:pt x="987" y="879"/>
                </a:lnTo>
                <a:lnTo>
                  <a:pt x="987" y="884"/>
                </a:lnTo>
                <a:lnTo>
                  <a:pt x="981" y="890"/>
                </a:lnTo>
                <a:lnTo>
                  <a:pt x="981" y="896"/>
                </a:lnTo>
                <a:lnTo>
                  <a:pt x="981" y="901"/>
                </a:lnTo>
                <a:lnTo>
                  <a:pt x="987" y="907"/>
                </a:lnTo>
                <a:lnTo>
                  <a:pt x="981" y="913"/>
                </a:lnTo>
                <a:lnTo>
                  <a:pt x="975" y="918"/>
                </a:lnTo>
                <a:lnTo>
                  <a:pt x="970" y="924"/>
                </a:lnTo>
                <a:lnTo>
                  <a:pt x="964" y="924"/>
                </a:lnTo>
                <a:lnTo>
                  <a:pt x="964" y="930"/>
                </a:lnTo>
                <a:lnTo>
                  <a:pt x="958" y="930"/>
                </a:lnTo>
                <a:lnTo>
                  <a:pt x="958" y="935"/>
                </a:lnTo>
                <a:lnTo>
                  <a:pt x="953" y="935"/>
                </a:lnTo>
                <a:lnTo>
                  <a:pt x="947" y="935"/>
                </a:lnTo>
                <a:lnTo>
                  <a:pt x="947" y="941"/>
                </a:lnTo>
                <a:lnTo>
                  <a:pt x="941" y="941"/>
                </a:lnTo>
                <a:lnTo>
                  <a:pt x="936" y="947"/>
                </a:lnTo>
                <a:lnTo>
                  <a:pt x="936" y="952"/>
                </a:lnTo>
                <a:lnTo>
                  <a:pt x="930" y="964"/>
                </a:lnTo>
                <a:lnTo>
                  <a:pt x="930" y="975"/>
                </a:lnTo>
                <a:lnTo>
                  <a:pt x="930" y="981"/>
                </a:lnTo>
                <a:lnTo>
                  <a:pt x="930" y="986"/>
                </a:lnTo>
                <a:lnTo>
                  <a:pt x="924" y="992"/>
                </a:lnTo>
                <a:lnTo>
                  <a:pt x="924" y="998"/>
                </a:lnTo>
                <a:lnTo>
                  <a:pt x="919" y="998"/>
                </a:lnTo>
                <a:lnTo>
                  <a:pt x="919" y="1003"/>
                </a:lnTo>
                <a:lnTo>
                  <a:pt x="913" y="1009"/>
                </a:lnTo>
                <a:lnTo>
                  <a:pt x="907" y="1015"/>
                </a:lnTo>
                <a:lnTo>
                  <a:pt x="902" y="1015"/>
                </a:lnTo>
                <a:lnTo>
                  <a:pt x="902" y="1020"/>
                </a:lnTo>
                <a:lnTo>
                  <a:pt x="896" y="1020"/>
                </a:lnTo>
                <a:lnTo>
                  <a:pt x="890" y="1020"/>
                </a:lnTo>
                <a:lnTo>
                  <a:pt x="885" y="1026"/>
                </a:lnTo>
                <a:lnTo>
                  <a:pt x="879" y="1026"/>
                </a:lnTo>
                <a:lnTo>
                  <a:pt x="862" y="1032"/>
                </a:lnTo>
                <a:lnTo>
                  <a:pt x="856" y="1032"/>
                </a:lnTo>
                <a:lnTo>
                  <a:pt x="851" y="1032"/>
                </a:lnTo>
                <a:lnTo>
                  <a:pt x="845" y="1032"/>
                </a:lnTo>
                <a:lnTo>
                  <a:pt x="834" y="1032"/>
                </a:lnTo>
                <a:lnTo>
                  <a:pt x="828" y="1032"/>
                </a:lnTo>
                <a:lnTo>
                  <a:pt x="822" y="1026"/>
                </a:lnTo>
                <a:lnTo>
                  <a:pt x="817" y="1026"/>
                </a:lnTo>
                <a:lnTo>
                  <a:pt x="811" y="1020"/>
                </a:lnTo>
                <a:lnTo>
                  <a:pt x="805" y="1020"/>
                </a:lnTo>
                <a:lnTo>
                  <a:pt x="805" y="1026"/>
                </a:lnTo>
                <a:lnTo>
                  <a:pt x="794" y="1026"/>
                </a:lnTo>
                <a:lnTo>
                  <a:pt x="794" y="1032"/>
                </a:lnTo>
                <a:lnTo>
                  <a:pt x="783" y="1037"/>
                </a:lnTo>
                <a:lnTo>
                  <a:pt x="777" y="1037"/>
                </a:lnTo>
                <a:lnTo>
                  <a:pt x="777" y="1043"/>
                </a:lnTo>
                <a:lnTo>
                  <a:pt x="771" y="1043"/>
                </a:lnTo>
                <a:lnTo>
                  <a:pt x="771" y="1049"/>
                </a:lnTo>
                <a:lnTo>
                  <a:pt x="766" y="1049"/>
                </a:lnTo>
                <a:lnTo>
                  <a:pt x="760" y="1054"/>
                </a:lnTo>
                <a:lnTo>
                  <a:pt x="760" y="1060"/>
                </a:lnTo>
                <a:lnTo>
                  <a:pt x="754" y="1060"/>
                </a:lnTo>
                <a:lnTo>
                  <a:pt x="754" y="1071"/>
                </a:lnTo>
                <a:lnTo>
                  <a:pt x="749" y="1071"/>
                </a:lnTo>
                <a:lnTo>
                  <a:pt x="749" y="1077"/>
                </a:lnTo>
                <a:lnTo>
                  <a:pt x="749" y="1083"/>
                </a:lnTo>
                <a:lnTo>
                  <a:pt x="743" y="1083"/>
                </a:lnTo>
                <a:lnTo>
                  <a:pt x="737" y="1083"/>
                </a:lnTo>
                <a:lnTo>
                  <a:pt x="732" y="1083"/>
                </a:lnTo>
                <a:lnTo>
                  <a:pt x="726" y="1077"/>
                </a:lnTo>
                <a:lnTo>
                  <a:pt x="726" y="1071"/>
                </a:lnTo>
                <a:lnTo>
                  <a:pt x="720" y="1066"/>
                </a:lnTo>
                <a:lnTo>
                  <a:pt x="720" y="1060"/>
                </a:lnTo>
                <a:lnTo>
                  <a:pt x="720" y="1054"/>
                </a:lnTo>
                <a:lnTo>
                  <a:pt x="715" y="1049"/>
                </a:lnTo>
                <a:lnTo>
                  <a:pt x="709" y="1049"/>
                </a:lnTo>
                <a:lnTo>
                  <a:pt x="709" y="1043"/>
                </a:lnTo>
                <a:lnTo>
                  <a:pt x="703" y="1043"/>
                </a:lnTo>
                <a:lnTo>
                  <a:pt x="703" y="1037"/>
                </a:lnTo>
                <a:lnTo>
                  <a:pt x="703" y="1032"/>
                </a:lnTo>
                <a:lnTo>
                  <a:pt x="698" y="1026"/>
                </a:lnTo>
                <a:lnTo>
                  <a:pt x="698" y="1020"/>
                </a:lnTo>
                <a:lnTo>
                  <a:pt x="692" y="1020"/>
                </a:lnTo>
                <a:lnTo>
                  <a:pt x="692" y="1015"/>
                </a:lnTo>
                <a:lnTo>
                  <a:pt x="681" y="1003"/>
                </a:lnTo>
                <a:lnTo>
                  <a:pt x="681" y="998"/>
                </a:lnTo>
                <a:lnTo>
                  <a:pt x="675" y="992"/>
                </a:lnTo>
                <a:lnTo>
                  <a:pt x="675" y="986"/>
                </a:lnTo>
                <a:lnTo>
                  <a:pt x="675" y="981"/>
                </a:lnTo>
                <a:lnTo>
                  <a:pt x="675" y="975"/>
                </a:lnTo>
                <a:lnTo>
                  <a:pt x="675" y="969"/>
                </a:lnTo>
                <a:lnTo>
                  <a:pt x="675" y="964"/>
                </a:lnTo>
                <a:lnTo>
                  <a:pt x="675" y="952"/>
                </a:lnTo>
                <a:lnTo>
                  <a:pt x="675" y="947"/>
                </a:lnTo>
                <a:lnTo>
                  <a:pt x="675" y="935"/>
                </a:lnTo>
                <a:lnTo>
                  <a:pt x="669" y="930"/>
                </a:lnTo>
                <a:lnTo>
                  <a:pt x="669" y="924"/>
                </a:lnTo>
                <a:lnTo>
                  <a:pt x="664" y="924"/>
                </a:lnTo>
                <a:lnTo>
                  <a:pt x="664" y="918"/>
                </a:lnTo>
                <a:lnTo>
                  <a:pt x="664" y="913"/>
                </a:lnTo>
                <a:lnTo>
                  <a:pt x="664" y="907"/>
                </a:lnTo>
                <a:lnTo>
                  <a:pt x="658" y="907"/>
                </a:lnTo>
                <a:lnTo>
                  <a:pt x="652" y="907"/>
                </a:lnTo>
                <a:lnTo>
                  <a:pt x="652" y="901"/>
                </a:lnTo>
                <a:lnTo>
                  <a:pt x="647" y="896"/>
                </a:lnTo>
                <a:lnTo>
                  <a:pt x="641" y="896"/>
                </a:lnTo>
                <a:lnTo>
                  <a:pt x="635" y="896"/>
                </a:lnTo>
                <a:lnTo>
                  <a:pt x="630" y="896"/>
                </a:lnTo>
                <a:lnTo>
                  <a:pt x="624" y="890"/>
                </a:lnTo>
                <a:lnTo>
                  <a:pt x="618" y="890"/>
                </a:lnTo>
                <a:lnTo>
                  <a:pt x="618" y="884"/>
                </a:lnTo>
                <a:lnTo>
                  <a:pt x="624" y="884"/>
                </a:lnTo>
                <a:lnTo>
                  <a:pt x="624" y="879"/>
                </a:lnTo>
                <a:lnTo>
                  <a:pt x="630" y="867"/>
                </a:lnTo>
                <a:lnTo>
                  <a:pt x="630" y="862"/>
                </a:lnTo>
                <a:lnTo>
                  <a:pt x="635" y="856"/>
                </a:lnTo>
                <a:lnTo>
                  <a:pt x="635" y="850"/>
                </a:lnTo>
                <a:lnTo>
                  <a:pt x="630" y="828"/>
                </a:lnTo>
                <a:lnTo>
                  <a:pt x="624" y="822"/>
                </a:lnTo>
                <a:lnTo>
                  <a:pt x="618" y="816"/>
                </a:lnTo>
                <a:lnTo>
                  <a:pt x="618" y="811"/>
                </a:lnTo>
                <a:lnTo>
                  <a:pt x="613" y="811"/>
                </a:lnTo>
                <a:lnTo>
                  <a:pt x="607" y="811"/>
                </a:lnTo>
                <a:lnTo>
                  <a:pt x="607" y="805"/>
                </a:lnTo>
                <a:lnTo>
                  <a:pt x="601" y="799"/>
                </a:lnTo>
                <a:lnTo>
                  <a:pt x="596" y="799"/>
                </a:lnTo>
                <a:lnTo>
                  <a:pt x="590" y="799"/>
                </a:lnTo>
                <a:lnTo>
                  <a:pt x="584" y="799"/>
                </a:lnTo>
                <a:lnTo>
                  <a:pt x="579" y="799"/>
                </a:lnTo>
                <a:lnTo>
                  <a:pt x="573" y="799"/>
                </a:lnTo>
                <a:lnTo>
                  <a:pt x="567" y="805"/>
                </a:lnTo>
                <a:lnTo>
                  <a:pt x="567" y="811"/>
                </a:lnTo>
                <a:lnTo>
                  <a:pt x="562" y="811"/>
                </a:lnTo>
                <a:lnTo>
                  <a:pt x="556" y="805"/>
                </a:lnTo>
                <a:lnTo>
                  <a:pt x="550" y="811"/>
                </a:lnTo>
                <a:lnTo>
                  <a:pt x="545" y="811"/>
                </a:lnTo>
                <a:lnTo>
                  <a:pt x="539" y="811"/>
                </a:lnTo>
                <a:lnTo>
                  <a:pt x="539" y="805"/>
                </a:lnTo>
                <a:lnTo>
                  <a:pt x="533" y="805"/>
                </a:lnTo>
                <a:lnTo>
                  <a:pt x="533" y="811"/>
                </a:lnTo>
                <a:lnTo>
                  <a:pt x="528" y="811"/>
                </a:lnTo>
                <a:lnTo>
                  <a:pt x="528" y="805"/>
                </a:lnTo>
                <a:lnTo>
                  <a:pt x="522" y="805"/>
                </a:lnTo>
                <a:lnTo>
                  <a:pt x="516" y="811"/>
                </a:lnTo>
                <a:lnTo>
                  <a:pt x="511" y="811"/>
                </a:lnTo>
                <a:lnTo>
                  <a:pt x="505" y="811"/>
                </a:lnTo>
                <a:lnTo>
                  <a:pt x="499" y="816"/>
                </a:lnTo>
                <a:lnTo>
                  <a:pt x="494" y="816"/>
                </a:lnTo>
                <a:lnTo>
                  <a:pt x="494" y="811"/>
                </a:lnTo>
                <a:lnTo>
                  <a:pt x="488" y="811"/>
                </a:lnTo>
                <a:lnTo>
                  <a:pt x="488" y="805"/>
                </a:lnTo>
                <a:lnTo>
                  <a:pt x="482" y="799"/>
                </a:lnTo>
                <a:lnTo>
                  <a:pt x="477" y="799"/>
                </a:lnTo>
                <a:lnTo>
                  <a:pt x="477" y="794"/>
                </a:lnTo>
                <a:lnTo>
                  <a:pt x="465" y="794"/>
                </a:lnTo>
                <a:lnTo>
                  <a:pt x="460" y="794"/>
                </a:lnTo>
                <a:lnTo>
                  <a:pt x="454" y="794"/>
                </a:lnTo>
                <a:lnTo>
                  <a:pt x="454" y="799"/>
                </a:lnTo>
                <a:lnTo>
                  <a:pt x="454" y="794"/>
                </a:lnTo>
                <a:lnTo>
                  <a:pt x="448" y="794"/>
                </a:lnTo>
                <a:lnTo>
                  <a:pt x="448" y="788"/>
                </a:lnTo>
                <a:lnTo>
                  <a:pt x="448" y="782"/>
                </a:lnTo>
                <a:lnTo>
                  <a:pt x="443" y="777"/>
                </a:lnTo>
                <a:lnTo>
                  <a:pt x="437" y="771"/>
                </a:lnTo>
                <a:lnTo>
                  <a:pt x="437" y="765"/>
                </a:lnTo>
                <a:lnTo>
                  <a:pt x="431" y="765"/>
                </a:lnTo>
                <a:lnTo>
                  <a:pt x="426" y="765"/>
                </a:lnTo>
                <a:lnTo>
                  <a:pt x="420" y="765"/>
                </a:lnTo>
                <a:lnTo>
                  <a:pt x="420" y="771"/>
                </a:lnTo>
                <a:lnTo>
                  <a:pt x="414" y="771"/>
                </a:lnTo>
                <a:lnTo>
                  <a:pt x="409" y="771"/>
                </a:lnTo>
                <a:lnTo>
                  <a:pt x="403" y="771"/>
                </a:lnTo>
                <a:lnTo>
                  <a:pt x="397" y="771"/>
                </a:lnTo>
                <a:lnTo>
                  <a:pt x="397" y="765"/>
                </a:lnTo>
                <a:lnTo>
                  <a:pt x="392" y="765"/>
                </a:lnTo>
                <a:lnTo>
                  <a:pt x="386" y="765"/>
                </a:lnTo>
                <a:lnTo>
                  <a:pt x="380" y="765"/>
                </a:lnTo>
                <a:lnTo>
                  <a:pt x="380" y="771"/>
                </a:lnTo>
                <a:lnTo>
                  <a:pt x="380" y="777"/>
                </a:lnTo>
                <a:lnTo>
                  <a:pt x="380" y="782"/>
                </a:lnTo>
                <a:lnTo>
                  <a:pt x="375" y="782"/>
                </a:lnTo>
                <a:lnTo>
                  <a:pt x="369" y="782"/>
                </a:lnTo>
                <a:lnTo>
                  <a:pt x="363" y="788"/>
                </a:lnTo>
                <a:lnTo>
                  <a:pt x="352" y="794"/>
                </a:lnTo>
                <a:lnTo>
                  <a:pt x="346" y="788"/>
                </a:lnTo>
                <a:lnTo>
                  <a:pt x="346" y="794"/>
                </a:lnTo>
                <a:lnTo>
                  <a:pt x="341" y="794"/>
                </a:lnTo>
                <a:lnTo>
                  <a:pt x="335" y="794"/>
                </a:lnTo>
                <a:lnTo>
                  <a:pt x="335" y="788"/>
                </a:lnTo>
                <a:lnTo>
                  <a:pt x="335" y="782"/>
                </a:lnTo>
                <a:lnTo>
                  <a:pt x="329" y="782"/>
                </a:lnTo>
                <a:lnTo>
                  <a:pt x="329" y="777"/>
                </a:lnTo>
                <a:lnTo>
                  <a:pt x="324" y="777"/>
                </a:lnTo>
                <a:lnTo>
                  <a:pt x="307" y="777"/>
                </a:lnTo>
                <a:lnTo>
                  <a:pt x="307" y="782"/>
                </a:lnTo>
                <a:lnTo>
                  <a:pt x="301" y="782"/>
                </a:lnTo>
                <a:lnTo>
                  <a:pt x="295" y="782"/>
                </a:lnTo>
                <a:lnTo>
                  <a:pt x="290" y="782"/>
                </a:lnTo>
                <a:lnTo>
                  <a:pt x="284" y="782"/>
                </a:lnTo>
                <a:lnTo>
                  <a:pt x="284" y="777"/>
                </a:lnTo>
                <a:lnTo>
                  <a:pt x="284" y="771"/>
                </a:lnTo>
                <a:lnTo>
                  <a:pt x="278" y="771"/>
                </a:lnTo>
                <a:lnTo>
                  <a:pt x="278" y="777"/>
                </a:lnTo>
                <a:lnTo>
                  <a:pt x="267" y="777"/>
                </a:lnTo>
                <a:lnTo>
                  <a:pt x="261" y="771"/>
                </a:lnTo>
                <a:lnTo>
                  <a:pt x="255" y="771"/>
                </a:lnTo>
                <a:lnTo>
                  <a:pt x="250" y="771"/>
                </a:lnTo>
                <a:lnTo>
                  <a:pt x="244" y="777"/>
                </a:lnTo>
                <a:lnTo>
                  <a:pt x="238" y="777"/>
                </a:lnTo>
                <a:lnTo>
                  <a:pt x="238" y="782"/>
                </a:lnTo>
                <a:lnTo>
                  <a:pt x="233" y="782"/>
                </a:lnTo>
                <a:lnTo>
                  <a:pt x="227" y="782"/>
                </a:lnTo>
                <a:lnTo>
                  <a:pt x="227" y="788"/>
                </a:lnTo>
                <a:lnTo>
                  <a:pt x="221" y="788"/>
                </a:lnTo>
                <a:lnTo>
                  <a:pt x="221" y="794"/>
                </a:lnTo>
                <a:lnTo>
                  <a:pt x="210" y="794"/>
                </a:lnTo>
                <a:lnTo>
                  <a:pt x="204" y="794"/>
                </a:lnTo>
                <a:lnTo>
                  <a:pt x="199" y="794"/>
                </a:lnTo>
                <a:lnTo>
                  <a:pt x="193" y="799"/>
                </a:lnTo>
                <a:lnTo>
                  <a:pt x="182" y="799"/>
                </a:lnTo>
                <a:lnTo>
                  <a:pt x="176" y="805"/>
                </a:lnTo>
                <a:lnTo>
                  <a:pt x="170" y="811"/>
                </a:lnTo>
                <a:lnTo>
                  <a:pt x="165" y="816"/>
                </a:lnTo>
                <a:lnTo>
                  <a:pt x="165" y="822"/>
                </a:lnTo>
                <a:lnTo>
                  <a:pt x="165" y="828"/>
                </a:lnTo>
                <a:lnTo>
                  <a:pt x="159" y="828"/>
                </a:lnTo>
                <a:lnTo>
                  <a:pt x="159" y="833"/>
                </a:lnTo>
                <a:lnTo>
                  <a:pt x="153" y="833"/>
                </a:lnTo>
                <a:lnTo>
                  <a:pt x="148" y="833"/>
                </a:lnTo>
                <a:lnTo>
                  <a:pt x="142" y="833"/>
                </a:lnTo>
                <a:lnTo>
                  <a:pt x="136" y="828"/>
                </a:lnTo>
                <a:lnTo>
                  <a:pt x="125" y="822"/>
                </a:lnTo>
                <a:lnTo>
                  <a:pt x="125" y="816"/>
                </a:lnTo>
                <a:lnTo>
                  <a:pt x="119" y="799"/>
                </a:lnTo>
                <a:lnTo>
                  <a:pt x="125" y="794"/>
                </a:lnTo>
                <a:lnTo>
                  <a:pt x="125" y="788"/>
                </a:lnTo>
                <a:lnTo>
                  <a:pt x="131" y="777"/>
                </a:lnTo>
                <a:lnTo>
                  <a:pt x="136" y="765"/>
                </a:lnTo>
                <a:lnTo>
                  <a:pt x="136" y="743"/>
                </a:lnTo>
                <a:lnTo>
                  <a:pt x="142" y="720"/>
                </a:lnTo>
                <a:lnTo>
                  <a:pt x="148" y="709"/>
                </a:lnTo>
                <a:lnTo>
                  <a:pt x="153" y="686"/>
                </a:lnTo>
                <a:lnTo>
                  <a:pt x="153" y="669"/>
                </a:lnTo>
                <a:lnTo>
                  <a:pt x="153" y="646"/>
                </a:lnTo>
                <a:lnTo>
                  <a:pt x="153" y="635"/>
                </a:lnTo>
                <a:lnTo>
                  <a:pt x="153" y="618"/>
                </a:lnTo>
                <a:lnTo>
                  <a:pt x="153" y="601"/>
                </a:lnTo>
                <a:lnTo>
                  <a:pt x="153" y="584"/>
                </a:lnTo>
                <a:lnTo>
                  <a:pt x="153" y="573"/>
                </a:lnTo>
                <a:lnTo>
                  <a:pt x="153" y="556"/>
                </a:lnTo>
                <a:lnTo>
                  <a:pt x="153" y="544"/>
                </a:lnTo>
                <a:lnTo>
                  <a:pt x="159" y="544"/>
                </a:lnTo>
                <a:lnTo>
                  <a:pt x="165" y="533"/>
                </a:lnTo>
                <a:lnTo>
                  <a:pt x="176" y="527"/>
                </a:lnTo>
                <a:lnTo>
                  <a:pt x="182" y="527"/>
                </a:lnTo>
                <a:lnTo>
                  <a:pt x="193" y="522"/>
                </a:lnTo>
                <a:lnTo>
                  <a:pt x="204" y="516"/>
                </a:lnTo>
                <a:lnTo>
                  <a:pt x="210" y="522"/>
                </a:lnTo>
                <a:lnTo>
                  <a:pt x="221" y="527"/>
                </a:lnTo>
                <a:lnTo>
                  <a:pt x="221" y="533"/>
                </a:lnTo>
                <a:lnTo>
                  <a:pt x="227" y="533"/>
                </a:lnTo>
                <a:lnTo>
                  <a:pt x="233" y="527"/>
                </a:lnTo>
                <a:lnTo>
                  <a:pt x="233" y="516"/>
                </a:lnTo>
                <a:lnTo>
                  <a:pt x="233" y="505"/>
                </a:lnTo>
                <a:lnTo>
                  <a:pt x="233" y="488"/>
                </a:lnTo>
                <a:lnTo>
                  <a:pt x="233" y="476"/>
                </a:lnTo>
                <a:lnTo>
                  <a:pt x="233" y="459"/>
                </a:lnTo>
                <a:lnTo>
                  <a:pt x="221" y="448"/>
                </a:lnTo>
                <a:lnTo>
                  <a:pt x="221" y="437"/>
                </a:lnTo>
                <a:lnTo>
                  <a:pt x="221" y="431"/>
                </a:lnTo>
                <a:lnTo>
                  <a:pt x="227" y="425"/>
                </a:lnTo>
                <a:lnTo>
                  <a:pt x="233" y="420"/>
                </a:lnTo>
                <a:lnTo>
                  <a:pt x="233" y="408"/>
                </a:lnTo>
                <a:lnTo>
                  <a:pt x="233" y="397"/>
                </a:lnTo>
                <a:lnTo>
                  <a:pt x="233" y="386"/>
                </a:lnTo>
                <a:lnTo>
                  <a:pt x="233" y="374"/>
                </a:lnTo>
                <a:lnTo>
                  <a:pt x="221" y="363"/>
                </a:lnTo>
                <a:lnTo>
                  <a:pt x="221" y="357"/>
                </a:lnTo>
                <a:lnTo>
                  <a:pt x="216" y="352"/>
                </a:lnTo>
                <a:lnTo>
                  <a:pt x="210" y="352"/>
                </a:lnTo>
                <a:lnTo>
                  <a:pt x="210" y="346"/>
                </a:lnTo>
                <a:lnTo>
                  <a:pt x="210" y="340"/>
                </a:lnTo>
                <a:lnTo>
                  <a:pt x="210" y="335"/>
                </a:lnTo>
                <a:lnTo>
                  <a:pt x="216" y="335"/>
                </a:lnTo>
                <a:lnTo>
                  <a:pt x="216" y="329"/>
                </a:lnTo>
                <a:lnTo>
                  <a:pt x="221" y="323"/>
                </a:lnTo>
                <a:lnTo>
                  <a:pt x="221" y="317"/>
                </a:lnTo>
                <a:lnTo>
                  <a:pt x="221" y="312"/>
                </a:lnTo>
                <a:lnTo>
                  <a:pt x="221" y="306"/>
                </a:lnTo>
                <a:lnTo>
                  <a:pt x="221" y="300"/>
                </a:lnTo>
                <a:lnTo>
                  <a:pt x="221" y="295"/>
                </a:lnTo>
                <a:lnTo>
                  <a:pt x="233" y="289"/>
                </a:lnTo>
                <a:lnTo>
                  <a:pt x="233" y="283"/>
                </a:lnTo>
                <a:lnTo>
                  <a:pt x="233" y="278"/>
                </a:lnTo>
                <a:lnTo>
                  <a:pt x="233" y="272"/>
                </a:lnTo>
                <a:lnTo>
                  <a:pt x="233" y="266"/>
                </a:lnTo>
                <a:lnTo>
                  <a:pt x="227" y="266"/>
                </a:lnTo>
                <a:lnTo>
                  <a:pt x="221" y="266"/>
                </a:lnTo>
                <a:lnTo>
                  <a:pt x="216" y="272"/>
                </a:lnTo>
                <a:lnTo>
                  <a:pt x="210" y="278"/>
                </a:lnTo>
                <a:lnTo>
                  <a:pt x="204" y="278"/>
                </a:lnTo>
                <a:lnTo>
                  <a:pt x="204" y="283"/>
                </a:lnTo>
                <a:lnTo>
                  <a:pt x="204" y="289"/>
                </a:lnTo>
                <a:lnTo>
                  <a:pt x="199" y="289"/>
                </a:lnTo>
                <a:lnTo>
                  <a:pt x="193" y="295"/>
                </a:lnTo>
                <a:lnTo>
                  <a:pt x="187" y="295"/>
                </a:lnTo>
                <a:lnTo>
                  <a:pt x="182" y="295"/>
                </a:lnTo>
                <a:lnTo>
                  <a:pt x="176" y="295"/>
                </a:lnTo>
                <a:lnTo>
                  <a:pt x="176" y="289"/>
                </a:lnTo>
                <a:lnTo>
                  <a:pt x="170" y="283"/>
                </a:lnTo>
                <a:lnTo>
                  <a:pt x="165" y="283"/>
                </a:lnTo>
                <a:lnTo>
                  <a:pt x="159" y="278"/>
                </a:lnTo>
                <a:lnTo>
                  <a:pt x="153" y="278"/>
                </a:lnTo>
                <a:lnTo>
                  <a:pt x="148" y="278"/>
                </a:lnTo>
                <a:lnTo>
                  <a:pt x="142" y="278"/>
                </a:lnTo>
                <a:lnTo>
                  <a:pt x="136" y="272"/>
                </a:lnTo>
                <a:lnTo>
                  <a:pt x="125" y="272"/>
                </a:lnTo>
                <a:lnTo>
                  <a:pt x="119" y="266"/>
                </a:lnTo>
                <a:lnTo>
                  <a:pt x="114" y="266"/>
                </a:lnTo>
                <a:lnTo>
                  <a:pt x="108" y="266"/>
                </a:lnTo>
                <a:lnTo>
                  <a:pt x="108" y="261"/>
                </a:lnTo>
                <a:lnTo>
                  <a:pt x="108" y="255"/>
                </a:lnTo>
                <a:lnTo>
                  <a:pt x="102" y="255"/>
                </a:lnTo>
                <a:lnTo>
                  <a:pt x="102" y="249"/>
                </a:lnTo>
                <a:lnTo>
                  <a:pt x="97" y="249"/>
                </a:lnTo>
                <a:lnTo>
                  <a:pt x="91" y="249"/>
                </a:lnTo>
                <a:lnTo>
                  <a:pt x="91" y="244"/>
                </a:lnTo>
                <a:lnTo>
                  <a:pt x="85" y="244"/>
                </a:lnTo>
                <a:lnTo>
                  <a:pt x="80" y="244"/>
                </a:lnTo>
                <a:lnTo>
                  <a:pt x="80" y="238"/>
                </a:lnTo>
                <a:lnTo>
                  <a:pt x="74" y="238"/>
                </a:lnTo>
                <a:lnTo>
                  <a:pt x="74" y="232"/>
                </a:lnTo>
                <a:lnTo>
                  <a:pt x="74" y="227"/>
                </a:lnTo>
                <a:lnTo>
                  <a:pt x="68" y="227"/>
                </a:lnTo>
                <a:lnTo>
                  <a:pt x="63" y="227"/>
                </a:lnTo>
                <a:lnTo>
                  <a:pt x="57" y="227"/>
                </a:lnTo>
                <a:lnTo>
                  <a:pt x="57" y="232"/>
                </a:lnTo>
                <a:lnTo>
                  <a:pt x="51" y="232"/>
                </a:lnTo>
                <a:lnTo>
                  <a:pt x="46" y="232"/>
                </a:lnTo>
                <a:lnTo>
                  <a:pt x="34" y="232"/>
                </a:lnTo>
                <a:lnTo>
                  <a:pt x="29" y="232"/>
                </a:lnTo>
                <a:lnTo>
                  <a:pt x="23" y="232"/>
                </a:lnTo>
                <a:lnTo>
                  <a:pt x="0" y="23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7" name="Freeform 18"/>
          <p:cNvSpPr>
            <a:spLocks/>
          </p:cNvSpPr>
          <p:nvPr/>
        </p:nvSpPr>
        <p:spPr bwMode="gray">
          <a:xfrm>
            <a:off x="4981010" y="1030158"/>
            <a:ext cx="1720271" cy="1700732"/>
          </a:xfrm>
          <a:custGeom>
            <a:avLst/>
            <a:gdLst>
              <a:gd name="T0" fmla="*/ 2147483647 w 1015"/>
              <a:gd name="T1" fmla="*/ 2147483647 h 1004"/>
              <a:gd name="T2" fmla="*/ 2147483647 w 1015"/>
              <a:gd name="T3" fmla="*/ 2147483647 h 1004"/>
              <a:gd name="T4" fmla="*/ 2147483647 w 1015"/>
              <a:gd name="T5" fmla="*/ 2147483647 h 1004"/>
              <a:gd name="T6" fmla="*/ 2147483647 w 1015"/>
              <a:gd name="T7" fmla="*/ 2147483647 h 1004"/>
              <a:gd name="T8" fmla="*/ 2147483647 w 1015"/>
              <a:gd name="T9" fmla="*/ 2147483647 h 1004"/>
              <a:gd name="T10" fmla="*/ 2147483647 w 1015"/>
              <a:gd name="T11" fmla="*/ 2147483647 h 1004"/>
              <a:gd name="T12" fmla="*/ 2147483647 w 1015"/>
              <a:gd name="T13" fmla="*/ 2147483647 h 1004"/>
              <a:gd name="T14" fmla="*/ 2147483647 w 1015"/>
              <a:gd name="T15" fmla="*/ 2147483647 h 1004"/>
              <a:gd name="T16" fmla="*/ 2147483647 w 1015"/>
              <a:gd name="T17" fmla="*/ 2147483647 h 1004"/>
              <a:gd name="T18" fmla="*/ 2147483647 w 1015"/>
              <a:gd name="T19" fmla="*/ 2147483647 h 1004"/>
              <a:gd name="T20" fmla="*/ 2147483647 w 1015"/>
              <a:gd name="T21" fmla="*/ 2147483647 h 1004"/>
              <a:gd name="T22" fmla="*/ 2147483647 w 1015"/>
              <a:gd name="T23" fmla="*/ 2147483647 h 1004"/>
              <a:gd name="T24" fmla="*/ 2147483647 w 1015"/>
              <a:gd name="T25" fmla="*/ 2147483647 h 1004"/>
              <a:gd name="T26" fmla="*/ 2147483647 w 1015"/>
              <a:gd name="T27" fmla="*/ 2147483647 h 1004"/>
              <a:gd name="T28" fmla="*/ 2147483647 w 1015"/>
              <a:gd name="T29" fmla="*/ 2147483647 h 1004"/>
              <a:gd name="T30" fmla="*/ 2147483647 w 1015"/>
              <a:gd name="T31" fmla="*/ 2147483647 h 1004"/>
              <a:gd name="T32" fmla="*/ 2147483647 w 1015"/>
              <a:gd name="T33" fmla="*/ 2147483647 h 1004"/>
              <a:gd name="T34" fmla="*/ 2147483647 w 1015"/>
              <a:gd name="T35" fmla="*/ 2147483647 h 1004"/>
              <a:gd name="T36" fmla="*/ 2147483647 w 1015"/>
              <a:gd name="T37" fmla="*/ 2147483647 h 1004"/>
              <a:gd name="T38" fmla="*/ 2147483647 w 1015"/>
              <a:gd name="T39" fmla="*/ 2147483647 h 1004"/>
              <a:gd name="T40" fmla="*/ 2147483647 w 1015"/>
              <a:gd name="T41" fmla="*/ 2147483647 h 1004"/>
              <a:gd name="T42" fmla="*/ 2147483647 w 1015"/>
              <a:gd name="T43" fmla="*/ 2147483647 h 1004"/>
              <a:gd name="T44" fmla="*/ 2147483647 w 1015"/>
              <a:gd name="T45" fmla="*/ 2147483647 h 1004"/>
              <a:gd name="T46" fmla="*/ 2147483647 w 1015"/>
              <a:gd name="T47" fmla="*/ 2147483647 h 1004"/>
              <a:gd name="T48" fmla="*/ 2147483647 w 1015"/>
              <a:gd name="T49" fmla="*/ 2147483647 h 1004"/>
              <a:gd name="T50" fmla="*/ 2147483647 w 1015"/>
              <a:gd name="T51" fmla="*/ 2147483647 h 1004"/>
              <a:gd name="T52" fmla="*/ 2147483647 w 1015"/>
              <a:gd name="T53" fmla="*/ 2147483647 h 1004"/>
              <a:gd name="T54" fmla="*/ 2147483647 w 1015"/>
              <a:gd name="T55" fmla="*/ 2147483647 h 1004"/>
              <a:gd name="T56" fmla="*/ 2147483647 w 1015"/>
              <a:gd name="T57" fmla="*/ 2147483647 h 1004"/>
              <a:gd name="T58" fmla="*/ 2147483647 w 1015"/>
              <a:gd name="T59" fmla="*/ 2147483647 h 1004"/>
              <a:gd name="T60" fmla="*/ 2147483647 w 1015"/>
              <a:gd name="T61" fmla="*/ 2147483647 h 1004"/>
              <a:gd name="T62" fmla="*/ 2147483647 w 1015"/>
              <a:gd name="T63" fmla="*/ 2147483647 h 1004"/>
              <a:gd name="T64" fmla="*/ 2147483647 w 1015"/>
              <a:gd name="T65" fmla="*/ 2147483647 h 1004"/>
              <a:gd name="T66" fmla="*/ 2147483647 w 1015"/>
              <a:gd name="T67" fmla="*/ 2147483647 h 1004"/>
              <a:gd name="T68" fmla="*/ 2147483647 w 1015"/>
              <a:gd name="T69" fmla="*/ 2147483647 h 1004"/>
              <a:gd name="T70" fmla="*/ 2147483647 w 1015"/>
              <a:gd name="T71" fmla="*/ 2147483647 h 1004"/>
              <a:gd name="T72" fmla="*/ 2147483647 w 1015"/>
              <a:gd name="T73" fmla="*/ 2147483647 h 1004"/>
              <a:gd name="T74" fmla="*/ 2147483647 w 1015"/>
              <a:gd name="T75" fmla="*/ 2147483647 h 1004"/>
              <a:gd name="T76" fmla="*/ 2147483647 w 1015"/>
              <a:gd name="T77" fmla="*/ 2147483647 h 1004"/>
              <a:gd name="T78" fmla="*/ 2147483647 w 1015"/>
              <a:gd name="T79" fmla="*/ 2147483647 h 1004"/>
              <a:gd name="T80" fmla="*/ 2147483647 w 1015"/>
              <a:gd name="T81" fmla="*/ 2147483647 h 1004"/>
              <a:gd name="T82" fmla="*/ 2147483647 w 1015"/>
              <a:gd name="T83" fmla="*/ 2147483647 h 1004"/>
              <a:gd name="T84" fmla="*/ 2147483647 w 1015"/>
              <a:gd name="T85" fmla="*/ 2147483647 h 1004"/>
              <a:gd name="T86" fmla="*/ 2147483647 w 1015"/>
              <a:gd name="T87" fmla="*/ 2147483647 h 1004"/>
              <a:gd name="T88" fmla="*/ 2147483647 w 1015"/>
              <a:gd name="T89" fmla="*/ 2147483647 h 1004"/>
              <a:gd name="T90" fmla="*/ 2147483647 w 1015"/>
              <a:gd name="T91" fmla="*/ 2147483647 h 1004"/>
              <a:gd name="T92" fmla="*/ 2147483647 w 1015"/>
              <a:gd name="T93" fmla="*/ 2147483647 h 1004"/>
              <a:gd name="T94" fmla="*/ 2147483647 w 1015"/>
              <a:gd name="T95" fmla="*/ 2147483647 h 1004"/>
              <a:gd name="T96" fmla="*/ 2147483647 w 1015"/>
              <a:gd name="T97" fmla="*/ 2147483647 h 1004"/>
              <a:gd name="T98" fmla="*/ 2147483647 w 1015"/>
              <a:gd name="T99" fmla="*/ 2147483647 h 1004"/>
              <a:gd name="T100" fmla="*/ 2147483647 w 1015"/>
              <a:gd name="T101" fmla="*/ 2147483647 h 1004"/>
              <a:gd name="T102" fmla="*/ 2147483647 w 1015"/>
              <a:gd name="T103" fmla="*/ 2147483647 h 1004"/>
              <a:gd name="T104" fmla="*/ 2147483647 w 1015"/>
              <a:gd name="T105" fmla="*/ 2147483647 h 1004"/>
              <a:gd name="T106" fmla="*/ 2147483647 w 1015"/>
              <a:gd name="T107" fmla="*/ 2147483647 h 1004"/>
              <a:gd name="T108" fmla="*/ 2147483647 w 1015"/>
              <a:gd name="T109" fmla="*/ 2147483647 h 1004"/>
              <a:gd name="T110" fmla="*/ 2147483647 w 1015"/>
              <a:gd name="T111" fmla="*/ 2147483647 h 1004"/>
              <a:gd name="T112" fmla="*/ 2147483647 w 1015"/>
              <a:gd name="T113" fmla="*/ 2147483647 h 1004"/>
              <a:gd name="T114" fmla="*/ 2147483647 w 1015"/>
              <a:gd name="T115" fmla="*/ 2147483647 h 100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015"/>
              <a:gd name="T175" fmla="*/ 0 h 1004"/>
              <a:gd name="T176" fmla="*/ 1015 w 1015"/>
              <a:gd name="T177" fmla="*/ 1004 h 100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015" h="1004">
                <a:moveTo>
                  <a:pt x="0" y="205"/>
                </a:moveTo>
                <a:lnTo>
                  <a:pt x="12" y="205"/>
                </a:lnTo>
                <a:lnTo>
                  <a:pt x="23" y="205"/>
                </a:lnTo>
                <a:lnTo>
                  <a:pt x="29" y="205"/>
                </a:lnTo>
                <a:lnTo>
                  <a:pt x="34" y="193"/>
                </a:lnTo>
                <a:lnTo>
                  <a:pt x="40" y="193"/>
                </a:lnTo>
                <a:lnTo>
                  <a:pt x="46" y="188"/>
                </a:lnTo>
                <a:lnTo>
                  <a:pt x="63" y="171"/>
                </a:lnTo>
                <a:lnTo>
                  <a:pt x="63" y="165"/>
                </a:lnTo>
                <a:lnTo>
                  <a:pt x="68" y="165"/>
                </a:lnTo>
                <a:lnTo>
                  <a:pt x="74" y="159"/>
                </a:lnTo>
                <a:lnTo>
                  <a:pt x="74" y="154"/>
                </a:lnTo>
                <a:lnTo>
                  <a:pt x="80" y="148"/>
                </a:lnTo>
                <a:lnTo>
                  <a:pt x="85" y="136"/>
                </a:lnTo>
                <a:lnTo>
                  <a:pt x="91" y="131"/>
                </a:lnTo>
                <a:lnTo>
                  <a:pt x="97" y="125"/>
                </a:lnTo>
                <a:lnTo>
                  <a:pt x="102" y="125"/>
                </a:lnTo>
                <a:lnTo>
                  <a:pt x="108" y="119"/>
                </a:lnTo>
                <a:lnTo>
                  <a:pt x="108" y="114"/>
                </a:lnTo>
                <a:lnTo>
                  <a:pt x="114" y="114"/>
                </a:lnTo>
                <a:lnTo>
                  <a:pt x="125" y="102"/>
                </a:lnTo>
                <a:lnTo>
                  <a:pt x="137" y="85"/>
                </a:lnTo>
                <a:lnTo>
                  <a:pt x="142" y="85"/>
                </a:lnTo>
                <a:lnTo>
                  <a:pt x="142" y="80"/>
                </a:lnTo>
                <a:lnTo>
                  <a:pt x="148" y="80"/>
                </a:lnTo>
                <a:lnTo>
                  <a:pt x="154" y="74"/>
                </a:lnTo>
                <a:lnTo>
                  <a:pt x="159" y="74"/>
                </a:lnTo>
                <a:lnTo>
                  <a:pt x="159" y="68"/>
                </a:lnTo>
                <a:lnTo>
                  <a:pt x="165" y="68"/>
                </a:lnTo>
                <a:lnTo>
                  <a:pt x="165" y="63"/>
                </a:lnTo>
                <a:lnTo>
                  <a:pt x="182" y="57"/>
                </a:lnTo>
                <a:lnTo>
                  <a:pt x="188" y="57"/>
                </a:lnTo>
                <a:lnTo>
                  <a:pt x="188" y="51"/>
                </a:lnTo>
                <a:lnTo>
                  <a:pt x="199" y="51"/>
                </a:lnTo>
                <a:lnTo>
                  <a:pt x="205" y="46"/>
                </a:lnTo>
                <a:lnTo>
                  <a:pt x="210" y="46"/>
                </a:lnTo>
                <a:lnTo>
                  <a:pt x="216" y="46"/>
                </a:lnTo>
                <a:lnTo>
                  <a:pt x="222" y="40"/>
                </a:lnTo>
                <a:lnTo>
                  <a:pt x="233" y="40"/>
                </a:lnTo>
                <a:lnTo>
                  <a:pt x="239" y="40"/>
                </a:lnTo>
                <a:lnTo>
                  <a:pt x="250" y="40"/>
                </a:lnTo>
                <a:lnTo>
                  <a:pt x="261" y="40"/>
                </a:lnTo>
                <a:lnTo>
                  <a:pt x="267" y="40"/>
                </a:lnTo>
                <a:lnTo>
                  <a:pt x="284" y="40"/>
                </a:lnTo>
                <a:lnTo>
                  <a:pt x="290" y="40"/>
                </a:lnTo>
                <a:lnTo>
                  <a:pt x="301" y="34"/>
                </a:lnTo>
                <a:lnTo>
                  <a:pt x="301" y="40"/>
                </a:lnTo>
                <a:lnTo>
                  <a:pt x="307" y="34"/>
                </a:lnTo>
                <a:lnTo>
                  <a:pt x="312" y="34"/>
                </a:lnTo>
                <a:lnTo>
                  <a:pt x="318" y="34"/>
                </a:lnTo>
                <a:lnTo>
                  <a:pt x="335" y="29"/>
                </a:lnTo>
                <a:lnTo>
                  <a:pt x="341" y="23"/>
                </a:lnTo>
                <a:lnTo>
                  <a:pt x="346" y="23"/>
                </a:lnTo>
                <a:lnTo>
                  <a:pt x="352" y="17"/>
                </a:lnTo>
                <a:lnTo>
                  <a:pt x="358" y="17"/>
                </a:lnTo>
                <a:lnTo>
                  <a:pt x="363" y="17"/>
                </a:lnTo>
                <a:lnTo>
                  <a:pt x="375" y="12"/>
                </a:lnTo>
                <a:lnTo>
                  <a:pt x="380" y="12"/>
                </a:lnTo>
                <a:lnTo>
                  <a:pt x="392" y="12"/>
                </a:lnTo>
                <a:lnTo>
                  <a:pt x="397" y="12"/>
                </a:lnTo>
                <a:lnTo>
                  <a:pt x="409" y="12"/>
                </a:lnTo>
                <a:lnTo>
                  <a:pt x="414" y="6"/>
                </a:lnTo>
                <a:lnTo>
                  <a:pt x="426" y="6"/>
                </a:lnTo>
                <a:lnTo>
                  <a:pt x="437" y="6"/>
                </a:lnTo>
                <a:lnTo>
                  <a:pt x="448" y="6"/>
                </a:lnTo>
                <a:lnTo>
                  <a:pt x="460" y="6"/>
                </a:lnTo>
                <a:lnTo>
                  <a:pt x="465" y="6"/>
                </a:lnTo>
                <a:lnTo>
                  <a:pt x="471" y="6"/>
                </a:lnTo>
                <a:lnTo>
                  <a:pt x="494" y="6"/>
                </a:lnTo>
                <a:lnTo>
                  <a:pt x="511" y="6"/>
                </a:lnTo>
                <a:lnTo>
                  <a:pt x="522" y="6"/>
                </a:lnTo>
                <a:lnTo>
                  <a:pt x="528" y="6"/>
                </a:lnTo>
                <a:lnTo>
                  <a:pt x="545" y="6"/>
                </a:lnTo>
                <a:lnTo>
                  <a:pt x="550" y="0"/>
                </a:lnTo>
                <a:lnTo>
                  <a:pt x="556" y="6"/>
                </a:lnTo>
                <a:lnTo>
                  <a:pt x="562" y="0"/>
                </a:lnTo>
                <a:lnTo>
                  <a:pt x="562" y="6"/>
                </a:lnTo>
                <a:lnTo>
                  <a:pt x="573" y="6"/>
                </a:lnTo>
                <a:lnTo>
                  <a:pt x="590" y="6"/>
                </a:lnTo>
                <a:lnTo>
                  <a:pt x="601" y="6"/>
                </a:lnTo>
                <a:lnTo>
                  <a:pt x="607" y="6"/>
                </a:lnTo>
                <a:lnTo>
                  <a:pt x="613" y="6"/>
                </a:lnTo>
                <a:lnTo>
                  <a:pt x="630" y="6"/>
                </a:lnTo>
                <a:lnTo>
                  <a:pt x="641" y="6"/>
                </a:lnTo>
                <a:lnTo>
                  <a:pt x="652" y="6"/>
                </a:lnTo>
                <a:lnTo>
                  <a:pt x="658" y="6"/>
                </a:lnTo>
                <a:lnTo>
                  <a:pt x="664" y="12"/>
                </a:lnTo>
                <a:lnTo>
                  <a:pt x="669" y="12"/>
                </a:lnTo>
                <a:lnTo>
                  <a:pt x="681" y="12"/>
                </a:lnTo>
                <a:lnTo>
                  <a:pt x="686" y="12"/>
                </a:lnTo>
                <a:lnTo>
                  <a:pt x="692" y="12"/>
                </a:lnTo>
                <a:lnTo>
                  <a:pt x="709" y="23"/>
                </a:lnTo>
                <a:lnTo>
                  <a:pt x="715" y="23"/>
                </a:lnTo>
                <a:lnTo>
                  <a:pt x="720" y="29"/>
                </a:lnTo>
                <a:lnTo>
                  <a:pt x="726" y="29"/>
                </a:lnTo>
                <a:lnTo>
                  <a:pt x="732" y="29"/>
                </a:lnTo>
                <a:lnTo>
                  <a:pt x="737" y="34"/>
                </a:lnTo>
                <a:lnTo>
                  <a:pt x="743" y="34"/>
                </a:lnTo>
                <a:lnTo>
                  <a:pt x="760" y="40"/>
                </a:lnTo>
                <a:lnTo>
                  <a:pt x="766" y="40"/>
                </a:lnTo>
                <a:lnTo>
                  <a:pt x="771" y="40"/>
                </a:lnTo>
                <a:lnTo>
                  <a:pt x="777" y="40"/>
                </a:lnTo>
                <a:lnTo>
                  <a:pt x="788" y="46"/>
                </a:lnTo>
                <a:lnTo>
                  <a:pt x="811" y="46"/>
                </a:lnTo>
                <a:lnTo>
                  <a:pt x="811" y="51"/>
                </a:lnTo>
                <a:lnTo>
                  <a:pt x="822" y="57"/>
                </a:lnTo>
                <a:lnTo>
                  <a:pt x="828" y="57"/>
                </a:lnTo>
                <a:lnTo>
                  <a:pt x="851" y="74"/>
                </a:lnTo>
                <a:lnTo>
                  <a:pt x="856" y="80"/>
                </a:lnTo>
                <a:lnTo>
                  <a:pt x="856" y="85"/>
                </a:lnTo>
                <a:lnTo>
                  <a:pt x="862" y="85"/>
                </a:lnTo>
                <a:lnTo>
                  <a:pt x="868" y="91"/>
                </a:lnTo>
                <a:lnTo>
                  <a:pt x="873" y="91"/>
                </a:lnTo>
                <a:lnTo>
                  <a:pt x="879" y="97"/>
                </a:lnTo>
                <a:lnTo>
                  <a:pt x="890" y="102"/>
                </a:lnTo>
                <a:lnTo>
                  <a:pt x="896" y="102"/>
                </a:lnTo>
                <a:lnTo>
                  <a:pt x="902" y="102"/>
                </a:lnTo>
                <a:lnTo>
                  <a:pt x="907" y="102"/>
                </a:lnTo>
                <a:lnTo>
                  <a:pt x="907" y="97"/>
                </a:lnTo>
                <a:lnTo>
                  <a:pt x="913" y="102"/>
                </a:lnTo>
                <a:lnTo>
                  <a:pt x="919" y="102"/>
                </a:lnTo>
                <a:lnTo>
                  <a:pt x="919" y="97"/>
                </a:lnTo>
                <a:lnTo>
                  <a:pt x="919" y="91"/>
                </a:lnTo>
                <a:lnTo>
                  <a:pt x="919" y="97"/>
                </a:lnTo>
                <a:lnTo>
                  <a:pt x="924" y="91"/>
                </a:lnTo>
                <a:lnTo>
                  <a:pt x="924" y="97"/>
                </a:lnTo>
                <a:lnTo>
                  <a:pt x="930" y="97"/>
                </a:lnTo>
                <a:lnTo>
                  <a:pt x="936" y="97"/>
                </a:lnTo>
                <a:lnTo>
                  <a:pt x="941" y="97"/>
                </a:lnTo>
                <a:lnTo>
                  <a:pt x="947" y="97"/>
                </a:lnTo>
                <a:lnTo>
                  <a:pt x="947" y="102"/>
                </a:lnTo>
                <a:lnTo>
                  <a:pt x="953" y="102"/>
                </a:lnTo>
                <a:lnTo>
                  <a:pt x="953" y="108"/>
                </a:lnTo>
                <a:lnTo>
                  <a:pt x="958" y="108"/>
                </a:lnTo>
                <a:lnTo>
                  <a:pt x="953" y="108"/>
                </a:lnTo>
                <a:lnTo>
                  <a:pt x="953" y="102"/>
                </a:lnTo>
                <a:lnTo>
                  <a:pt x="958" y="102"/>
                </a:lnTo>
                <a:lnTo>
                  <a:pt x="964" y="102"/>
                </a:lnTo>
                <a:lnTo>
                  <a:pt x="964" y="108"/>
                </a:lnTo>
                <a:lnTo>
                  <a:pt x="970" y="108"/>
                </a:lnTo>
                <a:lnTo>
                  <a:pt x="975" y="114"/>
                </a:lnTo>
                <a:lnTo>
                  <a:pt x="975" y="108"/>
                </a:lnTo>
                <a:lnTo>
                  <a:pt x="981" y="108"/>
                </a:lnTo>
                <a:lnTo>
                  <a:pt x="981" y="102"/>
                </a:lnTo>
                <a:lnTo>
                  <a:pt x="987" y="108"/>
                </a:lnTo>
                <a:lnTo>
                  <a:pt x="987" y="114"/>
                </a:lnTo>
                <a:lnTo>
                  <a:pt x="987" y="131"/>
                </a:lnTo>
                <a:lnTo>
                  <a:pt x="987" y="136"/>
                </a:lnTo>
                <a:lnTo>
                  <a:pt x="987" y="148"/>
                </a:lnTo>
                <a:lnTo>
                  <a:pt x="981" y="154"/>
                </a:lnTo>
                <a:lnTo>
                  <a:pt x="975" y="165"/>
                </a:lnTo>
                <a:lnTo>
                  <a:pt x="975" y="171"/>
                </a:lnTo>
                <a:lnTo>
                  <a:pt x="970" y="171"/>
                </a:lnTo>
                <a:lnTo>
                  <a:pt x="970" y="176"/>
                </a:lnTo>
                <a:lnTo>
                  <a:pt x="970" y="182"/>
                </a:lnTo>
                <a:lnTo>
                  <a:pt x="970" y="188"/>
                </a:lnTo>
                <a:lnTo>
                  <a:pt x="975" y="193"/>
                </a:lnTo>
                <a:lnTo>
                  <a:pt x="975" y="199"/>
                </a:lnTo>
                <a:lnTo>
                  <a:pt x="981" y="205"/>
                </a:lnTo>
                <a:lnTo>
                  <a:pt x="987" y="205"/>
                </a:lnTo>
                <a:lnTo>
                  <a:pt x="987" y="210"/>
                </a:lnTo>
                <a:lnTo>
                  <a:pt x="987" y="216"/>
                </a:lnTo>
                <a:lnTo>
                  <a:pt x="992" y="216"/>
                </a:lnTo>
                <a:lnTo>
                  <a:pt x="992" y="222"/>
                </a:lnTo>
                <a:lnTo>
                  <a:pt x="998" y="222"/>
                </a:lnTo>
                <a:lnTo>
                  <a:pt x="998" y="227"/>
                </a:lnTo>
                <a:lnTo>
                  <a:pt x="1004" y="227"/>
                </a:lnTo>
                <a:lnTo>
                  <a:pt x="1004" y="233"/>
                </a:lnTo>
                <a:lnTo>
                  <a:pt x="1004" y="239"/>
                </a:lnTo>
                <a:lnTo>
                  <a:pt x="1009" y="239"/>
                </a:lnTo>
                <a:lnTo>
                  <a:pt x="1015" y="244"/>
                </a:lnTo>
                <a:lnTo>
                  <a:pt x="1015" y="250"/>
                </a:lnTo>
                <a:lnTo>
                  <a:pt x="1015" y="256"/>
                </a:lnTo>
                <a:lnTo>
                  <a:pt x="1015" y="261"/>
                </a:lnTo>
                <a:lnTo>
                  <a:pt x="1009" y="267"/>
                </a:lnTo>
                <a:lnTo>
                  <a:pt x="1004" y="273"/>
                </a:lnTo>
                <a:lnTo>
                  <a:pt x="998" y="278"/>
                </a:lnTo>
                <a:lnTo>
                  <a:pt x="998" y="284"/>
                </a:lnTo>
                <a:lnTo>
                  <a:pt x="992" y="284"/>
                </a:lnTo>
                <a:lnTo>
                  <a:pt x="992" y="295"/>
                </a:lnTo>
                <a:lnTo>
                  <a:pt x="987" y="295"/>
                </a:lnTo>
                <a:lnTo>
                  <a:pt x="987" y="301"/>
                </a:lnTo>
                <a:lnTo>
                  <a:pt x="987" y="307"/>
                </a:lnTo>
                <a:lnTo>
                  <a:pt x="981" y="307"/>
                </a:lnTo>
                <a:lnTo>
                  <a:pt x="981" y="312"/>
                </a:lnTo>
                <a:lnTo>
                  <a:pt x="975" y="318"/>
                </a:lnTo>
                <a:lnTo>
                  <a:pt x="970" y="318"/>
                </a:lnTo>
                <a:lnTo>
                  <a:pt x="970" y="324"/>
                </a:lnTo>
                <a:lnTo>
                  <a:pt x="964" y="324"/>
                </a:lnTo>
                <a:lnTo>
                  <a:pt x="958" y="324"/>
                </a:lnTo>
                <a:lnTo>
                  <a:pt x="953" y="329"/>
                </a:lnTo>
                <a:lnTo>
                  <a:pt x="947" y="335"/>
                </a:lnTo>
                <a:lnTo>
                  <a:pt x="941" y="335"/>
                </a:lnTo>
                <a:lnTo>
                  <a:pt x="941" y="341"/>
                </a:lnTo>
                <a:lnTo>
                  <a:pt x="936" y="341"/>
                </a:lnTo>
                <a:lnTo>
                  <a:pt x="936" y="346"/>
                </a:lnTo>
                <a:lnTo>
                  <a:pt x="936" y="352"/>
                </a:lnTo>
                <a:lnTo>
                  <a:pt x="941" y="352"/>
                </a:lnTo>
                <a:lnTo>
                  <a:pt x="941" y="358"/>
                </a:lnTo>
                <a:lnTo>
                  <a:pt x="941" y="363"/>
                </a:lnTo>
                <a:lnTo>
                  <a:pt x="941" y="369"/>
                </a:lnTo>
                <a:lnTo>
                  <a:pt x="947" y="375"/>
                </a:lnTo>
                <a:lnTo>
                  <a:pt x="953" y="386"/>
                </a:lnTo>
                <a:lnTo>
                  <a:pt x="953" y="392"/>
                </a:lnTo>
                <a:lnTo>
                  <a:pt x="953" y="403"/>
                </a:lnTo>
                <a:lnTo>
                  <a:pt x="953" y="414"/>
                </a:lnTo>
                <a:lnTo>
                  <a:pt x="947" y="437"/>
                </a:lnTo>
                <a:lnTo>
                  <a:pt x="947" y="448"/>
                </a:lnTo>
                <a:lnTo>
                  <a:pt x="941" y="454"/>
                </a:lnTo>
                <a:lnTo>
                  <a:pt x="941" y="460"/>
                </a:lnTo>
                <a:lnTo>
                  <a:pt x="936" y="471"/>
                </a:lnTo>
                <a:lnTo>
                  <a:pt x="936" y="488"/>
                </a:lnTo>
                <a:lnTo>
                  <a:pt x="936" y="499"/>
                </a:lnTo>
                <a:lnTo>
                  <a:pt x="936" y="511"/>
                </a:lnTo>
                <a:lnTo>
                  <a:pt x="936" y="522"/>
                </a:lnTo>
                <a:lnTo>
                  <a:pt x="936" y="533"/>
                </a:lnTo>
                <a:lnTo>
                  <a:pt x="936" y="545"/>
                </a:lnTo>
                <a:lnTo>
                  <a:pt x="936" y="556"/>
                </a:lnTo>
                <a:lnTo>
                  <a:pt x="936" y="562"/>
                </a:lnTo>
                <a:lnTo>
                  <a:pt x="930" y="567"/>
                </a:lnTo>
                <a:lnTo>
                  <a:pt x="930" y="573"/>
                </a:lnTo>
                <a:lnTo>
                  <a:pt x="924" y="573"/>
                </a:lnTo>
                <a:lnTo>
                  <a:pt x="924" y="579"/>
                </a:lnTo>
                <a:lnTo>
                  <a:pt x="919" y="584"/>
                </a:lnTo>
                <a:lnTo>
                  <a:pt x="913" y="584"/>
                </a:lnTo>
                <a:lnTo>
                  <a:pt x="913" y="590"/>
                </a:lnTo>
                <a:lnTo>
                  <a:pt x="913" y="601"/>
                </a:lnTo>
                <a:lnTo>
                  <a:pt x="913" y="607"/>
                </a:lnTo>
                <a:lnTo>
                  <a:pt x="913" y="613"/>
                </a:lnTo>
                <a:lnTo>
                  <a:pt x="919" y="613"/>
                </a:lnTo>
                <a:lnTo>
                  <a:pt x="919" y="618"/>
                </a:lnTo>
                <a:lnTo>
                  <a:pt x="924" y="618"/>
                </a:lnTo>
                <a:lnTo>
                  <a:pt x="930" y="618"/>
                </a:lnTo>
                <a:lnTo>
                  <a:pt x="936" y="618"/>
                </a:lnTo>
                <a:lnTo>
                  <a:pt x="936" y="624"/>
                </a:lnTo>
                <a:lnTo>
                  <a:pt x="941" y="630"/>
                </a:lnTo>
                <a:lnTo>
                  <a:pt x="953" y="641"/>
                </a:lnTo>
                <a:lnTo>
                  <a:pt x="953" y="647"/>
                </a:lnTo>
                <a:lnTo>
                  <a:pt x="953" y="652"/>
                </a:lnTo>
                <a:lnTo>
                  <a:pt x="958" y="658"/>
                </a:lnTo>
                <a:lnTo>
                  <a:pt x="964" y="664"/>
                </a:lnTo>
                <a:lnTo>
                  <a:pt x="964" y="669"/>
                </a:lnTo>
                <a:lnTo>
                  <a:pt x="958" y="675"/>
                </a:lnTo>
                <a:lnTo>
                  <a:pt x="953" y="681"/>
                </a:lnTo>
                <a:lnTo>
                  <a:pt x="947" y="686"/>
                </a:lnTo>
                <a:lnTo>
                  <a:pt x="941" y="686"/>
                </a:lnTo>
                <a:lnTo>
                  <a:pt x="936" y="686"/>
                </a:lnTo>
                <a:lnTo>
                  <a:pt x="936" y="692"/>
                </a:lnTo>
                <a:lnTo>
                  <a:pt x="930" y="698"/>
                </a:lnTo>
                <a:lnTo>
                  <a:pt x="924" y="703"/>
                </a:lnTo>
                <a:lnTo>
                  <a:pt x="924" y="709"/>
                </a:lnTo>
                <a:lnTo>
                  <a:pt x="924" y="715"/>
                </a:lnTo>
                <a:lnTo>
                  <a:pt x="919" y="720"/>
                </a:lnTo>
                <a:lnTo>
                  <a:pt x="919" y="726"/>
                </a:lnTo>
                <a:lnTo>
                  <a:pt x="919" y="732"/>
                </a:lnTo>
                <a:lnTo>
                  <a:pt x="919" y="737"/>
                </a:lnTo>
                <a:lnTo>
                  <a:pt x="913" y="737"/>
                </a:lnTo>
                <a:lnTo>
                  <a:pt x="913" y="743"/>
                </a:lnTo>
                <a:lnTo>
                  <a:pt x="907" y="743"/>
                </a:lnTo>
                <a:lnTo>
                  <a:pt x="896" y="749"/>
                </a:lnTo>
                <a:lnTo>
                  <a:pt x="896" y="754"/>
                </a:lnTo>
                <a:lnTo>
                  <a:pt x="890" y="754"/>
                </a:lnTo>
                <a:lnTo>
                  <a:pt x="890" y="766"/>
                </a:lnTo>
                <a:lnTo>
                  <a:pt x="885" y="766"/>
                </a:lnTo>
                <a:lnTo>
                  <a:pt x="885" y="777"/>
                </a:lnTo>
                <a:lnTo>
                  <a:pt x="885" y="783"/>
                </a:lnTo>
                <a:lnTo>
                  <a:pt x="890" y="794"/>
                </a:lnTo>
                <a:lnTo>
                  <a:pt x="890" y="805"/>
                </a:lnTo>
                <a:lnTo>
                  <a:pt x="896" y="805"/>
                </a:lnTo>
                <a:lnTo>
                  <a:pt x="896" y="811"/>
                </a:lnTo>
                <a:lnTo>
                  <a:pt x="896" y="822"/>
                </a:lnTo>
                <a:lnTo>
                  <a:pt x="890" y="822"/>
                </a:lnTo>
                <a:lnTo>
                  <a:pt x="890" y="828"/>
                </a:lnTo>
                <a:lnTo>
                  <a:pt x="890" y="834"/>
                </a:lnTo>
                <a:lnTo>
                  <a:pt x="885" y="834"/>
                </a:lnTo>
                <a:lnTo>
                  <a:pt x="879" y="839"/>
                </a:lnTo>
                <a:lnTo>
                  <a:pt x="873" y="839"/>
                </a:lnTo>
                <a:lnTo>
                  <a:pt x="868" y="839"/>
                </a:lnTo>
                <a:lnTo>
                  <a:pt x="868" y="845"/>
                </a:lnTo>
                <a:lnTo>
                  <a:pt x="868" y="851"/>
                </a:lnTo>
                <a:lnTo>
                  <a:pt x="862" y="851"/>
                </a:lnTo>
                <a:lnTo>
                  <a:pt x="856" y="856"/>
                </a:lnTo>
                <a:lnTo>
                  <a:pt x="851" y="856"/>
                </a:lnTo>
                <a:lnTo>
                  <a:pt x="851" y="862"/>
                </a:lnTo>
                <a:lnTo>
                  <a:pt x="845" y="862"/>
                </a:lnTo>
                <a:lnTo>
                  <a:pt x="839" y="862"/>
                </a:lnTo>
                <a:lnTo>
                  <a:pt x="845" y="862"/>
                </a:lnTo>
                <a:lnTo>
                  <a:pt x="839" y="862"/>
                </a:lnTo>
                <a:lnTo>
                  <a:pt x="834" y="862"/>
                </a:lnTo>
                <a:lnTo>
                  <a:pt x="834" y="868"/>
                </a:lnTo>
                <a:lnTo>
                  <a:pt x="828" y="868"/>
                </a:lnTo>
                <a:lnTo>
                  <a:pt x="822" y="868"/>
                </a:lnTo>
                <a:lnTo>
                  <a:pt x="817" y="873"/>
                </a:lnTo>
                <a:lnTo>
                  <a:pt x="811" y="873"/>
                </a:lnTo>
                <a:lnTo>
                  <a:pt x="805" y="873"/>
                </a:lnTo>
                <a:lnTo>
                  <a:pt x="805" y="879"/>
                </a:lnTo>
                <a:lnTo>
                  <a:pt x="794" y="879"/>
                </a:lnTo>
                <a:lnTo>
                  <a:pt x="788" y="879"/>
                </a:lnTo>
                <a:lnTo>
                  <a:pt x="788" y="885"/>
                </a:lnTo>
                <a:lnTo>
                  <a:pt x="777" y="885"/>
                </a:lnTo>
                <a:lnTo>
                  <a:pt x="771" y="890"/>
                </a:lnTo>
                <a:lnTo>
                  <a:pt x="766" y="890"/>
                </a:lnTo>
                <a:lnTo>
                  <a:pt x="760" y="896"/>
                </a:lnTo>
                <a:lnTo>
                  <a:pt x="754" y="902"/>
                </a:lnTo>
                <a:lnTo>
                  <a:pt x="754" y="907"/>
                </a:lnTo>
                <a:lnTo>
                  <a:pt x="749" y="907"/>
                </a:lnTo>
                <a:lnTo>
                  <a:pt x="749" y="913"/>
                </a:lnTo>
                <a:lnTo>
                  <a:pt x="749" y="919"/>
                </a:lnTo>
                <a:lnTo>
                  <a:pt x="743" y="930"/>
                </a:lnTo>
                <a:lnTo>
                  <a:pt x="743" y="936"/>
                </a:lnTo>
                <a:lnTo>
                  <a:pt x="743" y="941"/>
                </a:lnTo>
                <a:lnTo>
                  <a:pt x="743" y="947"/>
                </a:lnTo>
                <a:lnTo>
                  <a:pt x="749" y="958"/>
                </a:lnTo>
                <a:lnTo>
                  <a:pt x="749" y="964"/>
                </a:lnTo>
                <a:lnTo>
                  <a:pt x="749" y="970"/>
                </a:lnTo>
                <a:lnTo>
                  <a:pt x="749" y="975"/>
                </a:lnTo>
                <a:lnTo>
                  <a:pt x="743" y="975"/>
                </a:lnTo>
                <a:lnTo>
                  <a:pt x="743" y="981"/>
                </a:lnTo>
                <a:lnTo>
                  <a:pt x="737" y="987"/>
                </a:lnTo>
                <a:lnTo>
                  <a:pt x="732" y="992"/>
                </a:lnTo>
                <a:lnTo>
                  <a:pt x="726" y="992"/>
                </a:lnTo>
                <a:lnTo>
                  <a:pt x="720" y="992"/>
                </a:lnTo>
                <a:lnTo>
                  <a:pt x="720" y="998"/>
                </a:lnTo>
                <a:lnTo>
                  <a:pt x="709" y="998"/>
                </a:lnTo>
                <a:lnTo>
                  <a:pt x="709" y="1004"/>
                </a:lnTo>
                <a:lnTo>
                  <a:pt x="703" y="1004"/>
                </a:lnTo>
                <a:lnTo>
                  <a:pt x="698" y="1004"/>
                </a:lnTo>
                <a:lnTo>
                  <a:pt x="698" y="998"/>
                </a:lnTo>
                <a:lnTo>
                  <a:pt x="698" y="987"/>
                </a:lnTo>
                <a:lnTo>
                  <a:pt x="698" y="981"/>
                </a:lnTo>
                <a:lnTo>
                  <a:pt x="698" y="975"/>
                </a:lnTo>
                <a:lnTo>
                  <a:pt x="698" y="964"/>
                </a:lnTo>
                <a:lnTo>
                  <a:pt x="698" y="947"/>
                </a:lnTo>
                <a:lnTo>
                  <a:pt x="703" y="936"/>
                </a:lnTo>
                <a:lnTo>
                  <a:pt x="703" y="924"/>
                </a:lnTo>
                <a:lnTo>
                  <a:pt x="703" y="919"/>
                </a:lnTo>
                <a:lnTo>
                  <a:pt x="698" y="907"/>
                </a:lnTo>
                <a:lnTo>
                  <a:pt x="698" y="902"/>
                </a:lnTo>
                <a:lnTo>
                  <a:pt x="698" y="896"/>
                </a:lnTo>
                <a:lnTo>
                  <a:pt x="692" y="890"/>
                </a:lnTo>
                <a:lnTo>
                  <a:pt x="692" y="885"/>
                </a:lnTo>
                <a:lnTo>
                  <a:pt x="692" y="879"/>
                </a:lnTo>
                <a:lnTo>
                  <a:pt x="686" y="879"/>
                </a:lnTo>
                <a:lnTo>
                  <a:pt x="681" y="873"/>
                </a:lnTo>
                <a:lnTo>
                  <a:pt x="681" y="868"/>
                </a:lnTo>
                <a:lnTo>
                  <a:pt x="681" y="862"/>
                </a:lnTo>
                <a:lnTo>
                  <a:pt x="675" y="862"/>
                </a:lnTo>
                <a:lnTo>
                  <a:pt x="669" y="856"/>
                </a:lnTo>
                <a:lnTo>
                  <a:pt x="658" y="845"/>
                </a:lnTo>
                <a:lnTo>
                  <a:pt x="652" y="845"/>
                </a:lnTo>
                <a:lnTo>
                  <a:pt x="652" y="839"/>
                </a:lnTo>
                <a:lnTo>
                  <a:pt x="647" y="839"/>
                </a:lnTo>
                <a:lnTo>
                  <a:pt x="641" y="834"/>
                </a:lnTo>
                <a:lnTo>
                  <a:pt x="635" y="828"/>
                </a:lnTo>
                <a:lnTo>
                  <a:pt x="635" y="822"/>
                </a:lnTo>
                <a:lnTo>
                  <a:pt x="630" y="822"/>
                </a:lnTo>
                <a:lnTo>
                  <a:pt x="630" y="817"/>
                </a:lnTo>
                <a:lnTo>
                  <a:pt x="624" y="811"/>
                </a:lnTo>
                <a:lnTo>
                  <a:pt x="624" y="805"/>
                </a:lnTo>
                <a:lnTo>
                  <a:pt x="624" y="794"/>
                </a:lnTo>
                <a:lnTo>
                  <a:pt x="624" y="788"/>
                </a:lnTo>
                <a:lnTo>
                  <a:pt x="618" y="783"/>
                </a:lnTo>
                <a:lnTo>
                  <a:pt x="613" y="783"/>
                </a:lnTo>
                <a:lnTo>
                  <a:pt x="613" y="777"/>
                </a:lnTo>
                <a:lnTo>
                  <a:pt x="607" y="777"/>
                </a:lnTo>
                <a:lnTo>
                  <a:pt x="607" y="771"/>
                </a:lnTo>
                <a:lnTo>
                  <a:pt x="596" y="771"/>
                </a:lnTo>
                <a:lnTo>
                  <a:pt x="584" y="771"/>
                </a:lnTo>
                <a:lnTo>
                  <a:pt x="579" y="766"/>
                </a:lnTo>
                <a:lnTo>
                  <a:pt x="567" y="766"/>
                </a:lnTo>
                <a:lnTo>
                  <a:pt x="562" y="760"/>
                </a:lnTo>
                <a:lnTo>
                  <a:pt x="556" y="754"/>
                </a:lnTo>
                <a:lnTo>
                  <a:pt x="550" y="754"/>
                </a:lnTo>
                <a:lnTo>
                  <a:pt x="539" y="754"/>
                </a:lnTo>
                <a:lnTo>
                  <a:pt x="528" y="754"/>
                </a:lnTo>
                <a:lnTo>
                  <a:pt x="516" y="754"/>
                </a:lnTo>
                <a:lnTo>
                  <a:pt x="511" y="754"/>
                </a:lnTo>
                <a:lnTo>
                  <a:pt x="499" y="754"/>
                </a:lnTo>
                <a:lnTo>
                  <a:pt x="494" y="754"/>
                </a:lnTo>
                <a:lnTo>
                  <a:pt x="488" y="754"/>
                </a:lnTo>
                <a:lnTo>
                  <a:pt x="482" y="754"/>
                </a:lnTo>
                <a:lnTo>
                  <a:pt x="477" y="754"/>
                </a:lnTo>
                <a:lnTo>
                  <a:pt x="471" y="754"/>
                </a:lnTo>
                <a:lnTo>
                  <a:pt x="471" y="749"/>
                </a:lnTo>
                <a:lnTo>
                  <a:pt x="465" y="749"/>
                </a:lnTo>
                <a:lnTo>
                  <a:pt x="465" y="743"/>
                </a:lnTo>
                <a:lnTo>
                  <a:pt x="460" y="743"/>
                </a:lnTo>
                <a:lnTo>
                  <a:pt x="460" y="737"/>
                </a:lnTo>
                <a:lnTo>
                  <a:pt x="454" y="737"/>
                </a:lnTo>
                <a:lnTo>
                  <a:pt x="454" y="732"/>
                </a:lnTo>
                <a:lnTo>
                  <a:pt x="454" y="726"/>
                </a:lnTo>
                <a:lnTo>
                  <a:pt x="460" y="726"/>
                </a:lnTo>
                <a:lnTo>
                  <a:pt x="465" y="720"/>
                </a:lnTo>
                <a:lnTo>
                  <a:pt x="465" y="715"/>
                </a:lnTo>
                <a:lnTo>
                  <a:pt x="471" y="709"/>
                </a:lnTo>
                <a:lnTo>
                  <a:pt x="471" y="703"/>
                </a:lnTo>
                <a:lnTo>
                  <a:pt x="477" y="698"/>
                </a:lnTo>
                <a:lnTo>
                  <a:pt x="477" y="692"/>
                </a:lnTo>
                <a:lnTo>
                  <a:pt x="477" y="686"/>
                </a:lnTo>
                <a:lnTo>
                  <a:pt x="477" y="681"/>
                </a:lnTo>
                <a:lnTo>
                  <a:pt x="477" y="669"/>
                </a:lnTo>
                <a:lnTo>
                  <a:pt x="477" y="664"/>
                </a:lnTo>
                <a:lnTo>
                  <a:pt x="471" y="658"/>
                </a:lnTo>
                <a:lnTo>
                  <a:pt x="471" y="652"/>
                </a:lnTo>
                <a:lnTo>
                  <a:pt x="471" y="641"/>
                </a:lnTo>
                <a:lnTo>
                  <a:pt x="465" y="618"/>
                </a:lnTo>
                <a:lnTo>
                  <a:pt x="460" y="613"/>
                </a:lnTo>
                <a:lnTo>
                  <a:pt x="460" y="607"/>
                </a:lnTo>
                <a:lnTo>
                  <a:pt x="460" y="601"/>
                </a:lnTo>
                <a:lnTo>
                  <a:pt x="460" y="596"/>
                </a:lnTo>
                <a:lnTo>
                  <a:pt x="454" y="596"/>
                </a:lnTo>
                <a:lnTo>
                  <a:pt x="454" y="590"/>
                </a:lnTo>
                <a:lnTo>
                  <a:pt x="454" y="584"/>
                </a:lnTo>
                <a:lnTo>
                  <a:pt x="448" y="584"/>
                </a:lnTo>
                <a:lnTo>
                  <a:pt x="448" y="579"/>
                </a:lnTo>
                <a:lnTo>
                  <a:pt x="443" y="573"/>
                </a:lnTo>
                <a:lnTo>
                  <a:pt x="443" y="567"/>
                </a:lnTo>
                <a:lnTo>
                  <a:pt x="437" y="562"/>
                </a:lnTo>
                <a:lnTo>
                  <a:pt x="437" y="556"/>
                </a:lnTo>
                <a:lnTo>
                  <a:pt x="437" y="545"/>
                </a:lnTo>
                <a:lnTo>
                  <a:pt x="437" y="539"/>
                </a:lnTo>
                <a:lnTo>
                  <a:pt x="437" y="533"/>
                </a:lnTo>
                <a:lnTo>
                  <a:pt x="431" y="533"/>
                </a:lnTo>
                <a:lnTo>
                  <a:pt x="431" y="528"/>
                </a:lnTo>
                <a:lnTo>
                  <a:pt x="426" y="516"/>
                </a:lnTo>
                <a:lnTo>
                  <a:pt x="426" y="505"/>
                </a:lnTo>
                <a:lnTo>
                  <a:pt x="426" y="494"/>
                </a:lnTo>
                <a:lnTo>
                  <a:pt x="426" y="488"/>
                </a:lnTo>
                <a:lnTo>
                  <a:pt x="426" y="477"/>
                </a:lnTo>
                <a:lnTo>
                  <a:pt x="426" y="471"/>
                </a:lnTo>
                <a:lnTo>
                  <a:pt x="426" y="465"/>
                </a:lnTo>
                <a:lnTo>
                  <a:pt x="420" y="460"/>
                </a:lnTo>
                <a:lnTo>
                  <a:pt x="414" y="448"/>
                </a:lnTo>
                <a:lnTo>
                  <a:pt x="414" y="443"/>
                </a:lnTo>
                <a:lnTo>
                  <a:pt x="414" y="437"/>
                </a:lnTo>
                <a:lnTo>
                  <a:pt x="409" y="431"/>
                </a:lnTo>
                <a:lnTo>
                  <a:pt x="409" y="426"/>
                </a:lnTo>
                <a:lnTo>
                  <a:pt x="409" y="420"/>
                </a:lnTo>
                <a:lnTo>
                  <a:pt x="409" y="409"/>
                </a:lnTo>
                <a:lnTo>
                  <a:pt x="403" y="397"/>
                </a:lnTo>
                <a:lnTo>
                  <a:pt x="403" y="386"/>
                </a:lnTo>
                <a:lnTo>
                  <a:pt x="403" y="375"/>
                </a:lnTo>
                <a:lnTo>
                  <a:pt x="403" y="363"/>
                </a:lnTo>
                <a:lnTo>
                  <a:pt x="403" y="358"/>
                </a:lnTo>
                <a:lnTo>
                  <a:pt x="397" y="352"/>
                </a:lnTo>
                <a:lnTo>
                  <a:pt x="397" y="346"/>
                </a:lnTo>
                <a:lnTo>
                  <a:pt x="386" y="335"/>
                </a:lnTo>
                <a:lnTo>
                  <a:pt x="386" y="329"/>
                </a:lnTo>
                <a:lnTo>
                  <a:pt x="380" y="324"/>
                </a:lnTo>
                <a:lnTo>
                  <a:pt x="375" y="324"/>
                </a:lnTo>
                <a:lnTo>
                  <a:pt x="369" y="318"/>
                </a:lnTo>
                <a:lnTo>
                  <a:pt x="363" y="318"/>
                </a:lnTo>
                <a:lnTo>
                  <a:pt x="358" y="312"/>
                </a:lnTo>
                <a:lnTo>
                  <a:pt x="358" y="307"/>
                </a:lnTo>
                <a:lnTo>
                  <a:pt x="358" y="290"/>
                </a:lnTo>
                <a:lnTo>
                  <a:pt x="352" y="267"/>
                </a:lnTo>
                <a:lnTo>
                  <a:pt x="352" y="256"/>
                </a:lnTo>
                <a:lnTo>
                  <a:pt x="346" y="244"/>
                </a:lnTo>
                <a:lnTo>
                  <a:pt x="346" y="233"/>
                </a:lnTo>
                <a:lnTo>
                  <a:pt x="346" y="222"/>
                </a:lnTo>
                <a:lnTo>
                  <a:pt x="341" y="216"/>
                </a:lnTo>
                <a:lnTo>
                  <a:pt x="335" y="210"/>
                </a:lnTo>
                <a:lnTo>
                  <a:pt x="329" y="210"/>
                </a:lnTo>
                <a:lnTo>
                  <a:pt x="307" y="210"/>
                </a:lnTo>
                <a:lnTo>
                  <a:pt x="301" y="210"/>
                </a:lnTo>
                <a:lnTo>
                  <a:pt x="295" y="210"/>
                </a:lnTo>
                <a:lnTo>
                  <a:pt x="290" y="210"/>
                </a:lnTo>
                <a:lnTo>
                  <a:pt x="290" y="205"/>
                </a:lnTo>
                <a:lnTo>
                  <a:pt x="284" y="205"/>
                </a:lnTo>
                <a:lnTo>
                  <a:pt x="278" y="199"/>
                </a:lnTo>
                <a:lnTo>
                  <a:pt x="273" y="199"/>
                </a:lnTo>
                <a:lnTo>
                  <a:pt x="273" y="205"/>
                </a:lnTo>
                <a:lnTo>
                  <a:pt x="267" y="205"/>
                </a:lnTo>
                <a:lnTo>
                  <a:pt x="261" y="205"/>
                </a:lnTo>
                <a:lnTo>
                  <a:pt x="261" y="210"/>
                </a:lnTo>
                <a:lnTo>
                  <a:pt x="256" y="210"/>
                </a:lnTo>
                <a:lnTo>
                  <a:pt x="250" y="210"/>
                </a:lnTo>
                <a:lnTo>
                  <a:pt x="244" y="205"/>
                </a:lnTo>
                <a:lnTo>
                  <a:pt x="244" y="199"/>
                </a:lnTo>
                <a:lnTo>
                  <a:pt x="244" y="193"/>
                </a:lnTo>
                <a:lnTo>
                  <a:pt x="239" y="193"/>
                </a:lnTo>
                <a:lnTo>
                  <a:pt x="244" y="182"/>
                </a:lnTo>
                <a:lnTo>
                  <a:pt x="239" y="171"/>
                </a:lnTo>
                <a:lnTo>
                  <a:pt x="233" y="159"/>
                </a:lnTo>
                <a:lnTo>
                  <a:pt x="233" y="148"/>
                </a:lnTo>
                <a:lnTo>
                  <a:pt x="233" y="142"/>
                </a:lnTo>
                <a:lnTo>
                  <a:pt x="227" y="136"/>
                </a:lnTo>
                <a:lnTo>
                  <a:pt x="227" y="131"/>
                </a:lnTo>
                <a:lnTo>
                  <a:pt x="222" y="131"/>
                </a:lnTo>
                <a:lnTo>
                  <a:pt x="216" y="131"/>
                </a:lnTo>
                <a:lnTo>
                  <a:pt x="216" y="125"/>
                </a:lnTo>
                <a:lnTo>
                  <a:pt x="205" y="131"/>
                </a:lnTo>
                <a:lnTo>
                  <a:pt x="193" y="136"/>
                </a:lnTo>
                <a:lnTo>
                  <a:pt x="188" y="142"/>
                </a:lnTo>
                <a:lnTo>
                  <a:pt x="176" y="142"/>
                </a:lnTo>
                <a:lnTo>
                  <a:pt x="171" y="148"/>
                </a:lnTo>
                <a:lnTo>
                  <a:pt x="165" y="148"/>
                </a:lnTo>
                <a:lnTo>
                  <a:pt x="154" y="154"/>
                </a:lnTo>
                <a:lnTo>
                  <a:pt x="148" y="154"/>
                </a:lnTo>
                <a:lnTo>
                  <a:pt x="142" y="154"/>
                </a:lnTo>
                <a:lnTo>
                  <a:pt x="137" y="154"/>
                </a:lnTo>
                <a:lnTo>
                  <a:pt x="137" y="159"/>
                </a:lnTo>
                <a:lnTo>
                  <a:pt x="131" y="159"/>
                </a:lnTo>
                <a:lnTo>
                  <a:pt x="131" y="165"/>
                </a:lnTo>
                <a:lnTo>
                  <a:pt x="125" y="165"/>
                </a:lnTo>
                <a:lnTo>
                  <a:pt x="119" y="165"/>
                </a:lnTo>
                <a:lnTo>
                  <a:pt x="119" y="171"/>
                </a:lnTo>
                <a:lnTo>
                  <a:pt x="119" y="176"/>
                </a:lnTo>
                <a:lnTo>
                  <a:pt x="114" y="182"/>
                </a:lnTo>
                <a:lnTo>
                  <a:pt x="108" y="193"/>
                </a:lnTo>
                <a:lnTo>
                  <a:pt x="108" y="199"/>
                </a:lnTo>
                <a:lnTo>
                  <a:pt x="102" y="199"/>
                </a:lnTo>
                <a:lnTo>
                  <a:pt x="102" y="205"/>
                </a:lnTo>
                <a:lnTo>
                  <a:pt x="97" y="205"/>
                </a:lnTo>
                <a:lnTo>
                  <a:pt x="97" y="210"/>
                </a:lnTo>
                <a:lnTo>
                  <a:pt x="91" y="210"/>
                </a:lnTo>
                <a:lnTo>
                  <a:pt x="80" y="210"/>
                </a:lnTo>
                <a:lnTo>
                  <a:pt x="74" y="210"/>
                </a:lnTo>
                <a:lnTo>
                  <a:pt x="68" y="210"/>
                </a:lnTo>
                <a:lnTo>
                  <a:pt x="63" y="210"/>
                </a:lnTo>
                <a:lnTo>
                  <a:pt x="57" y="210"/>
                </a:lnTo>
                <a:lnTo>
                  <a:pt x="51" y="210"/>
                </a:lnTo>
                <a:lnTo>
                  <a:pt x="46" y="210"/>
                </a:lnTo>
                <a:lnTo>
                  <a:pt x="40" y="210"/>
                </a:lnTo>
                <a:lnTo>
                  <a:pt x="34" y="210"/>
                </a:lnTo>
                <a:lnTo>
                  <a:pt x="23" y="210"/>
                </a:lnTo>
                <a:lnTo>
                  <a:pt x="0" y="216"/>
                </a:lnTo>
                <a:lnTo>
                  <a:pt x="0" y="20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8" name="Freeform 19"/>
          <p:cNvSpPr>
            <a:spLocks/>
          </p:cNvSpPr>
          <p:nvPr/>
        </p:nvSpPr>
        <p:spPr bwMode="gray">
          <a:xfrm>
            <a:off x="3762890" y="4188661"/>
            <a:ext cx="1430319" cy="1026918"/>
          </a:xfrm>
          <a:custGeom>
            <a:avLst/>
            <a:gdLst>
              <a:gd name="T0" fmla="*/ 2147483647 w 844"/>
              <a:gd name="T1" fmla="*/ 2147483647 h 607"/>
              <a:gd name="T2" fmla="*/ 2147483647 w 844"/>
              <a:gd name="T3" fmla="*/ 2147483647 h 607"/>
              <a:gd name="T4" fmla="*/ 2147483647 w 844"/>
              <a:gd name="T5" fmla="*/ 2147483647 h 607"/>
              <a:gd name="T6" fmla="*/ 2147483647 w 844"/>
              <a:gd name="T7" fmla="*/ 2147483647 h 607"/>
              <a:gd name="T8" fmla="*/ 2147483647 w 844"/>
              <a:gd name="T9" fmla="*/ 2147483647 h 607"/>
              <a:gd name="T10" fmla="*/ 2147483647 w 844"/>
              <a:gd name="T11" fmla="*/ 2147483647 h 607"/>
              <a:gd name="T12" fmla="*/ 2147483647 w 844"/>
              <a:gd name="T13" fmla="*/ 2147483647 h 607"/>
              <a:gd name="T14" fmla="*/ 2147483647 w 844"/>
              <a:gd name="T15" fmla="*/ 2147483647 h 607"/>
              <a:gd name="T16" fmla="*/ 2147483647 w 844"/>
              <a:gd name="T17" fmla="*/ 2147483647 h 607"/>
              <a:gd name="T18" fmla="*/ 2147483647 w 844"/>
              <a:gd name="T19" fmla="*/ 2147483647 h 607"/>
              <a:gd name="T20" fmla="*/ 2147483647 w 844"/>
              <a:gd name="T21" fmla="*/ 2147483647 h 607"/>
              <a:gd name="T22" fmla="*/ 2147483647 w 844"/>
              <a:gd name="T23" fmla="*/ 2147483647 h 607"/>
              <a:gd name="T24" fmla="*/ 2147483647 w 844"/>
              <a:gd name="T25" fmla="*/ 2147483647 h 607"/>
              <a:gd name="T26" fmla="*/ 2147483647 w 844"/>
              <a:gd name="T27" fmla="*/ 2147483647 h 607"/>
              <a:gd name="T28" fmla="*/ 2147483647 w 844"/>
              <a:gd name="T29" fmla="*/ 2147483647 h 607"/>
              <a:gd name="T30" fmla="*/ 2147483647 w 844"/>
              <a:gd name="T31" fmla="*/ 2147483647 h 607"/>
              <a:gd name="T32" fmla="*/ 2147483647 w 844"/>
              <a:gd name="T33" fmla="*/ 2147483647 h 607"/>
              <a:gd name="T34" fmla="*/ 2147483647 w 844"/>
              <a:gd name="T35" fmla="*/ 2147483647 h 607"/>
              <a:gd name="T36" fmla="*/ 2147483647 w 844"/>
              <a:gd name="T37" fmla="*/ 2147483647 h 607"/>
              <a:gd name="T38" fmla="*/ 2147483647 w 844"/>
              <a:gd name="T39" fmla="*/ 2147483647 h 607"/>
              <a:gd name="T40" fmla="*/ 2147483647 w 844"/>
              <a:gd name="T41" fmla="*/ 2147483647 h 607"/>
              <a:gd name="T42" fmla="*/ 2147483647 w 844"/>
              <a:gd name="T43" fmla="*/ 2147483647 h 607"/>
              <a:gd name="T44" fmla="*/ 2147483647 w 844"/>
              <a:gd name="T45" fmla="*/ 2147483647 h 607"/>
              <a:gd name="T46" fmla="*/ 2147483647 w 844"/>
              <a:gd name="T47" fmla="*/ 2147483647 h 607"/>
              <a:gd name="T48" fmla="*/ 2147483647 w 844"/>
              <a:gd name="T49" fmla="*/ 2147483647 h 607"/>
              <a:gd name="T50" fmla="*/ 2147483647 w 844"/>
              <a:gd name="T51" fmla="*/ 2147483647 h 607"/>
              <a:gd name="T52" fmla="*/ 2147483647 w 844"/>
              <a:gd name="T53" fmla="*/ 2147483647 h 607"/>
              <a:gd name="T54" fmla="*/ 2147483647 w 844"/>
              <a:gd name="T55" fmla="*/ 2147483647 h 607"/>
              <a:gd name="T56" fmla="*/ 2147483647 w 844"/>
              <a:gd name="T57" fmla="*/ 2147483647 h 607"/>
              <a:gd name="T58" fmla="*/ 2147483647 w 844"/>
              <a:gd name="T59" fmla="*/ 2147483647 h 607"/>
              <a:gd name="T60" fmla="*/ 2147483647 w 844"/>
              <a:gd name="T61" fmla="*/ 2147483647 h 607"/>
              <a:gd name="T62" fmla="*/ 2147483647 w 844"/>
              <a:gd name="T63" fmla="*/ 2147483647 h 607"/>
              <a:gd name="T64" fmla="*/ 2147483647 w 844"/>
              <a:gd name="T65" fmla="*/ 2147483647 h 607"/>
              <a:gd name="T66" fmla="*/ 2147483647 w 844"/>
              <a:gd name="T67" fmla="*/ 2147483647 h 607"/>
              <a:gd name="T68" fmla="*/ 2147483647 w 844"/>
              <a:gd name="T69" fmla="*/ 2147483647 h 607"/>
              <a:gd name="T70" fmla="*/ 2147483647 w 844"/>
              <a:gd name="T71" fmla="*/ 2147483647 h 607"/>
              <a:gd name="T72" fmla="*/ 2147483647 w 844"/>
              <a:gd name="T73" fmla="*/ 2147483647 h 607"/>
              <a:gd name="T74" fmla="*/ 2147483647 w 844"/>
              <a:gd name="T75" fmla="*/ 2147483647 h 607"/>
              <a:gd name="T76" fmla="*/ 2147483647 w 844"/>
              <a:gd name="T77" fmla="*/ 2147483647 h 607"/>
              <a:gd name="T78" fmla="*/ 2147483647 w 844"/>
              <a:gd name="T79" fmla="*/ 2147483647 h 607"/>
              <a:gd name="T80" fmla="*/ 2147483647 w 844"/>
              <a:gd name="T81" fmla="*/ 2147483647 h 607"/>
              <a:gd name="T82" fmla="*/ 2147483647 w 844"/>
              <a:gd name="T83" fmla="*/ 2147483647 h 607"/>
              <a:gd name="T84" fmla="*/ 2147483647 w 844"/>
              <a:gd name="T85" fmla="*/ 2147483647 h 607"/>
              <a:gd name="T86" fmla="*/ 2147483647 w 844"/>
              <a:gd name="T87" fmla="*/ 2147483647 h 607"/>
              <a:gd name="T88" fmla="*/ 2147483647 w 844"/>
              <a:gd name="T89" fmla="*/ 2147483647 h 607"/>
              <a:gd name="T90" fmla="*/ 2147483647 w 844"/>
              <a:gd name="T91" fmla="*/ 2147483647 h 607"/>
              <a:gd name="T92" fmla="*/ 2147483647 w 844"/>
              <a:gd name="T93" fmla="*/ 2147483647 h 607"/>
              <a:gd name="T94" fmla="*/ 2147483647 w 844"/>
              <a:gd name="T95" fmla="*/ 2147483647 h 607"/>
              <a:gd name="T96" fmla="*/ 2147483647 w 844"/>
              <a:gd name="T97" fmla="*/ 2147483647 h 607"/>
              <a:gd name="T98" fmla="*/ 2147483647 w 844"/>
              <a:gd name="T99" fmla="*/ 2147483647 h 607"/>
              <a:gd name="T100" fmla="*/ 2147483647 w 844"/>
              <a:gd name="T101" fmla="*/ 2147483647 h 607"/>
              <a:gd name="T102" fmla="*/ 2147483647 w 844"/>
              <a:gd name="T103" fmla="*/ 2147483647 h 607"/>
              <a:gd name="T104" fmla="*/ 2147483647 w 844"/>
              <a:gd name="T105" fmla="*/ 2147483647 h 607"/>
              <a:gd name="T106" fmla="*/ 2147483647 w 844"/>
              <a:gd name="T107" fmla="*/ 2147483647 h 607"/>
              <a:gd name="T108" fmla="*/ 2147483647 w 844"/>
              <a:gd name="T109" fmla="*/ 2147483647 h 607"/>
              <a:gd name="T110" fmla="*/ 2147483647 w 844"/>
              <a:gd name="T111" fmla="*/ 2147483647 h 607"/>
              <a:gd name="T112" fmla="*/ 2147483647 w 844"/>
              <a:gd name="T113" fmla="*/ 2147483647 h 607"/>
              <a:gd name="T114" fmla="*/ 2147483647 w 844"/>
              <a:gd name="T115" fmla="*/ 2147483647 h 607"/>
              <a:gd name="T116" fmla="*/ 2147483647 w 844"/>
              <a:gd name="T117" fmla="*/ 2147483647 h 607"/>
              <a:gd name="T118" fmla="*/ 2147483647 w 844"/>
              <a:gd name="T119" fmla="*/ 2147483647 h 607"/>
              <a:gd name="T120" fmla="*/ 0 w 844"/>
              <a:gd name="T121" fmla="*/ 2147483647 h 60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44"/>
              <a:gd name="T184" fmla="*/ 0 h 607"/>
              <a:gd name="T185" fmla="*/ 844 w 844"/>
              <a:gd name="T186" fmla="*/ 607 h 60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44" h="607">
                <a:moveTo>
                  <a:pt x="0" y="403"/>
                </a:moveTo>
                <a:lnTo>
                  <a:pt x="11" y="409"/>
                </a:lnTo>
                <a:lnTo>
                  <a:pt x="11" y="403"/>
                </a:lnTo>
                <a:lnTo>
                  <a:pt x="11" y="397"/>
                </a:lnTo>
                <a:lnTo>
                  <a:pt x="11" y="392"/>
                </a:lnTo>
                <a:lnTo>
                  <a:pt x="11" y="386"/>
                </a:lnTo>
                <a:lnTo>
                  <a:pt x="11" y="380"/>
                </a:lnTo>
                <a:lnTo>
                  <a:pt x="17" y="380"/>
                </a:lnTo>
                <a:lnTo>
                  <a:pt x="17" y="375"/>
                </a:lnTo>
                <a:lnTo>
                  <a:pt x="22" y="369"/>
                </a:lnTo>
                <a:lnTo>
                  <a:pt x="28" y="363"/>
                </a:lnTo>
                <a:lnTo>
                  <a:pt x="34" y="358"/>
                </a:lnTo>
                <a:lnTo>
                  <a:pt x="39" y="358"/>
                </a:lnTo>
                <a:lnTo>
                  <a:pt x="45" y="352"/>
                </a:lnTo>
                <a:lnTo>
                  <a:pt x="51" y="352"/>
                </a:lnTo>
                <a:lnTo>
                  <a:pt x="56" y="352"/>
                </a:lnTo>
                <a:lnTo>
                  <a:pt x="62" y="352"/>
                </a:lnTo>
                <a:lnTo>
                  <a:pt x="68" y="346"/>
                </a:lnTo>
                <a:lnTo>
                  <a:pt x="73" y="346"/>
                </a:lnTo>
                <a:lnTo>
                  <a:pt x="79" y="341"/>
                </a:lnTo>
                <a:lnTo>
                  <a:pt x="79" y="335"/>
                </a:lnTo>
                <a:lnTo>
                  <a:pt x="85" y="335"/>
                </a:lnTo>
                <a:lnTo>
                  <a:pt x="85" y="329"/>
                </a:lnTo>
                <a:lnTo>
                  <a:pt x="85" y="324"/>
                </a:lnTo>
                <a:lnTo>
                  <a:pt x="85" y="318"/>
                </a:lnTo>
                <a:lnTo>
                  <a:pt x="90" y="318"/>
                </a:lnTo>
                <a:lnTo>
                  <a:pt x="90" y="312"/>
                </a:lnTo>
                <a:lnTo>
                  <a:pt x="90" y="307"/>
                </a:lnTo>
                <a:lnTo>
                  <a:pt x="96" y="307"/>
                </a:lnTo>
                <a:lnTo>
                  <a:pt x="96" y="295"/>
                </a:lnTo>
                <a:lnTo>
                  <a:pt x="96" y="290"/>
                </a:lnTo>
                <a:lnTo>
                  <a:pt x="102" y="290"/>
                </a:lnTo>
                <a:lnTo>
                  <a:pt x="102" y="284"/>
                </a:lnTo>
                <a:lnTo>
                  <a:pt x="102" y="278"/>
                </a:lnTo>
                <a:lnTo>
                  <a:pt x="102" y="273"/>
                </a:lnTo>
                <a:lnTo>
                  <a:pt x="96" y="273"/>
                </a:lnTo>
                <a:lnTo>
                  <a:pt x="96" y="267"/>
                </a:lnTo>
                <a:lnTo>
                  <a:pt x="90" y="267"/>
                </a:lnTo>
                <a:lnTo>
                  <a:pt x="85" y="267"/>
                </a:lnTo>
                <a:lnTo>
                  <a:pt x="79" y="256"/>
                </a:lnTo>
                <a:lnTo>
                  <a:pt x="73" y="256"/>
                </a:lnTo>
                <a:lnTo>
                  <a:pt x="73" y="250"/>
                </a:lnTo>
                <a:lnTo>
                  <a:pt x="73" y="239"/>
                </a:lnTo>
                <a:lnTo>
                  <a:pt x="68" y="239"/>
                </a:lnTo>
                <a:lnTo>
                  <a:pt x="68" y="222"/>
                </a:lnTo>
                <a:lnTo>
                  <a:pt x="68" y="210"/>
                </a:lnTo>
                <a:lnTo>
                  <a:pt x="68" y="193"/>
                </a:lnTo>
                <a:lnTo>
                  <a:pt x="68" y="182"/>
                </a:lnTo>
                <a:lnTo>
                  <a:pt x="68" y="165"/>
                </a:lnTo>
                <a:lnTo>
                  <a:pt x="68" y="154"/>
                </a:lnTo>
                <a:lnTo>
                  <a:pt x="68" y="148"/>
                </a:lnTo>
                <a:lnTo>
                  <a:pt x="62" y="142"/>
                </a:lnTo>
                <a:lnTo>
                  <a:pt x="62" y="137"/>
                </a:lnTo>
                <a:lnTo>
                  <a:pt x="56" y="131"/>
                </a:lnTo>
                <a:lnTo>
                  <a:pt x="51" y="125"/>
                </a:lnTo>
                <a:lnTo>
                  <a:pt x="45" y="119"/>
                </a:lnTo>
                <a:lnTo>
                  <a:pt x="45" y="114"/>
                </a:lnTo>
                <a:lnTo>
                  <a:pt x="45" y="108"/>
                </a:lnTo>
                <a:lnTo>
                  <a:pt x="39" y="102"/>
                </a:lnTo>
                <a:lnTo>
                  <a:pt x="39" y="97"/>
                </a:lnTo>
                <a:lnTo>
                  <a:pt x="34" y="97"/>
                </a:lnTo>
                <a:lnTo>
                  <a:pt x="34" y="91"/>
                </a:lnTo>
                <a:lnTo>
                  <a:pt x="34" y="85"/>
                </a:lnTo>
                <a:lnTo>
                  <a:pt x="28" y="74"/>
                </a:lnTo>
                <a:lnTo>
                  <a:pt x="28" y="68"/>
                </a:lnTo>
                <a:lnTo>
                  <a:pt x="28" y="63"/>
                </a:lnTo>
                <a:lnTo>
                  <a:pt x="28" y="51"/>
                </a:lnTo>
                <a:lnTo>
                  <a:pt x="28" y="40"/>
                </a:lnTo>
                <a:lnTo>
                  <a:pt x="34" y="40"/>
                </a:lnTo>
                <a:lnTo>
                  <a:pt x="39" y="46"/>
                </a:lnTo>
                <a:lnTo>
                  <a:pt x="45" y="46"/>
                </a:lnTo>
                <a:lnTo>
                  <a:pt x="51" y="46"/>
                </a:lnTo>
                <a:lnTo>
                  <a:pt x="56" y="46"/>
                </a:lnTo>
                <a:lnTo>
                  <a:pt x="68" y="51"/>
                </a:lnTo>
                <a:lnTo>
                  <a:pt x="79" y="57"/>
                </a:lnTo>
                <a:lnTo>
                  <a:pt x="85" y="57"/>
                </a:lnTo>
                <a:lnTo>
                  <a:pt x="96" y="57"/>
                </a:lnTo>
                <a:lnTo>
                  <a:pt x="96" y="63"/>
                </a:lnTo>
                <a:lnTo>
                  <a:pt x="107" y="63"/>
                </a:lnTo>
                <a:lnTo>
                  <a:pt x="124" y="68"/>
                </a:lnTo>
                <a:lnTo>
                  <a:pt x="136" y="68"/>
                </a:lnTo>
                <a:lnTo>
                  <a:pt x="141" y="68"/>
                </a:lnTo>
                <a:lnTo>
                  <a:pt x="153" y="68"/>
                </a:lnTo>
                <a:lnTo>
                  <a:pt x="153" y="74"/>
                </a:lnTo>
                <a:lnTo>
                  <a:pt x="158" y="74"/>
                </a:lnTo>
                <a:lnTo>
                  <a:pt x="170" y="74"/>
                </a:lnTo>
                <a:lnTo>
                  <a:pt x="175" y="74"/>
                </a:lnTo>
                <a:lnTo>
                  <a:pt x="181" y="80"/>
                </a:lnTo>
                <a:lnTo>
                  <a:pt x="187" y="80"/>
                </a:lnTo>
                <a:lnTo>
                  <a:pt x="187" y="85"/>
                </a:lnTo>
                <a:lnTo>
                  <a:pt x="192" y="85"/>
                </a:lnTo>
                <a:lnTo>
                  <a:pt x="198" y="85"/>
                </a:lnTo>
                <a:lnTo>
                  <a:pt x="204" y="85"/>
                </a:lnTo>
                <a:lnTo>
                  <a:pt x="215" y="97"/>
                </a:lnTo>
                <a:lnTo>
                  <a:pt x="221" y="97"/>
                </a:lnTo>
                <a:lnTo>
                  <a:pt x="226" y="97"/>
                </a:lnTo>
                <a:lnTo>
                  <a:pt x="232" y="102"/>
                </a:lnTo>
                <a:lnTo>
                  <a:pt x="238" y="102"/>
                </a:lnTo>
                <a:lnTo>
                  <a:pt x="243" y="102"/>
                </a:lnTo>
                <a:lnTo>
                  <a:pt x="249" y="102"/>
                </a:lnTo>
                <a:lnTo>
                  <a:pt x="255" y="108"/>
                </a:lnTo>
                <a:lnTo>
                  <a:pt x="260" y="108"/>
                </a:lnTo>
                <a:lnTo>
                  <a:pt x="266" y="114"/>
                </a:lnTo>
                <a:lnTo>
                  <a:pt x="272" y="114"/>
                </a:lnTo>
                <a:lnTo>
                  <a:pt x="277" y="119"/>
                </a:lnTo>
                <a:lnTo>
                  <a:pt x="283" y="125"/>
                </a:lnTo>
                <a:lnTo>
                  <a:pt x="289" y="125"/>
                </a:lnTo>
                <a:lnTo>
                  <a:pt x="294" y="125"/>
                </a:lnTo>
                <a:lnTo>
                  <a:pt x="306" y="131"/>
                </a:lnTo>
                <a:lnTo>
                  <a:pt x="306" y="137"/>
                </a:lnTo>
                <a:lnTo>
                  <a:pt x="311" y="137"/>
                </a:lnTo>
                <a:lnTo>
                  <a:pt x="311" y="142"/>
                </a:lnTo>
                <a:lnTo>
                  <a:pt x="317" y="142"/>
                </a:lnTo>
                <a:lnTo>
                  <a:pt x="323" y="142"/>
                </a:lnTo>
                <a:lnTo>
                  <a:pt x="323" y="137"/>
                </a:lnTo>
                <a:lnTo>
                  <a:pt x="323" y="131"/>
                </a:lnTo>
                <a:lnTo>
                  <a:pt x="323" y="125"/>
                </a:lnTo>
                <a:lnTo>
                  <a:pt x="317" y="119"/>
                </a:lnTo>
                <a:lnTo>
                  <a:pt x="317" y="114"/>
                </a:lnTo>
                <a:lnTo>
                  <a:pt x="311" y="108"/>
                </a:lnTo>
                <a:lnTo>
                  <a:pt x="311" y="102"/>
                </a:lnTo>
                <a:lnTo>
                  <a:pt x="311" y="97"/>
                </a:lnTo>
                <a:lnTo>
                  <a:pt x="306" y="97"/>
                </a:lnTo>
                <a:lnTo>
                  <a:pt x="306" y="85"/>
                </a:lnTo>
                <a:lnTo>
                  <a:pt x="306" y="80"/>
                </a:lnTo>
                <a:lnTo>
                  <a:pt x="300" y="80"/>
                </a:lnTo>
                <a:lnTo>
                  <a:pt x="300" y="74"/>
                </a:lnTo>
                <a:lnTo>
                  <a:pt x="294" y="68"/>
                </a:lnTo>
                <a:lnTo>
                  <a:pt x="294" y="57"/>
                </a:lnTo>
                <a:lnTo>
                  <a:pt x="300" y="57"/>
                </a:lnTo>
                <a:lnTo>
                  <a:pt x="300" y="51"/>
                </a:lnTo>
                <a:lnTo>
                  <a:pt x="300" y="46"/>
                </a:lnTo>
                <a:lnTo>
                  <a:pt x="306" y="46"/>
                </a:lnTo>
                <a:lnTo>
                  <a:pt x="306" y="40"/>
                </a:lnTo>
                <a:lnTo>
                  <a:pt x="306" y="34"/>
                </a:lnTo>
                <a:lnTo>
                  <a:pt x="311" y="34"/>
                </a:lnTo>
                <a:lnTo>
                  <a:pt x="334" y="17"/>
                </a:lnTo>
                <a:lnTo>
                  <a:pt x="340" y="12"/>
                </a:lnTo>
                <a:lnTo>
                  <a:pt x="345" y="12"/>
                </a:lnTo>
                <a:lnTo>
                  <a:pt x="351" y="6"/>
                </a:lnTo>
                <a:lnTo>
                  <a:pt x="357" y="6"/>
                </a:lnTo>
                <a:lnTo>
                  <a:pt x="368" y="0"/>
                </a:lnTo>
                <a:lnTo>
                  <a:pt x="374" y="0"/>
                </a:lnTo>
                <a:lnTo>
                  <a:pt x="379" y="6"/>
                </a:lnTo>
                <a:lnTo>
                  <a:pt x="385" y="12"/>
                </a:lnTo>
                <a:lnTo>
                  <a:pt x="391" y="12"/>
                </a:lnTo>
                <a:lnTo>
                  <a:pt x="396" y="12"/>
                </a:lnTo>
                <a:lnTo>
                  <a:pt x="396" y="17"/>
                </a:lnTo>
                <a:lnTo>
                  <a:pt x="402" y="17"/>
                </a:lnTo>
                <a:lnTo>
                  <a:pt x="408" y="17"/>
                </a:lnTo>
                <a:lnTo>
                  <a:pt x="419" y="23"/>
                </a:lnTo>
                <a:lnTo>
                  <a:pt x="425" y="23"/>
                </a:lnTo>
                <a:lnTo>
                  <a:pt x="430" y="23"/>
                </a:lnTo>
                <a:lnTo>
                  <a:pt x="442" y="29"/>
                </a:lnTo>
                <a:lnTo>
                  <a:pt x="447" y="29"/>
                </a:lnTo>
                <a:lnTo>
                  <a:pt x="453" y="29"/>
                </a:lnTo>
                <a:lnTo>
                  <a:pt x="453" y="34"/>
                </a:lnTo>
                <a:lnTo>
                  <a:pt x="464" y="34"/>
                </a:lnTo>
                <a:lnTo>
                  <a:pt x="476" y="40"/>
                </a:lnTo>
                <a:lnTo>
                  <a:pt x="487" y="40"/>
                </a:lnTo>
                <a:lnTo>
                  <a:pt x="493" y="40"/>
                </a:lnTo>
                <a:lnTo>
                  <a:pt x="504" y="40"/>
                </a:lnTo>
                <a:lnTo>
                  <a:pt x="510" y="40"/>
                </a:lnTo>
                <a:lnTo>
                  <a:pt x="515" y="40"/>
                </a:lnTo>
                <a:lnTo>
                  <a:pt x="521" y="40"/>
                </a:lnTo>
                <a:lnTo>
                  <a:pt x="527" y="40"/>
                </a:lnTo>
                <a:lnTo>
                  <a:pt x="532" y="34"/>
                </a:lnTo>
                <a:lnTo>
                  <a:pt x="538" y="34"/>
                </a:lnTo>
                <a:lnTo>
                  <a:pt x="544" y="40"/>
                </a:lnTo>
                <a:lnTo>
                  <a:pt x="549" y="46"/>
                </a:lnTo>
                <a:lnTo>
                  <a:pt x="555" y="46"/>
                </a:lnTo>
                <a:lnTo>
                  <a:pt x="561" y="46"/>
                </a:lnTo>
                <a:lnTo>
                  <a:pt x="561" y="51"/>
                </a:lnTo>
                <a:lnTo>
                  <a:pt x="561" y="57"/>
                </a:lnTo>
                <a:lnTo>
                  <a:pt x="566" y="63"/>
                </a:lnTo>
                <a:lnTo>
                  <a:pt x="572" y="63"/>
                </a:lnTo>
                <a:lnTo>
                  <a:pt x="572" y="68"/>
                </a:lnTo>
                <a:lnTo>
                  <a:pt x="572" y="74"/>
                </a:lnTo>
                <a:lnTo>
                  <a:pt x="578" y="80"/>
                </a:lnTo>
                <a:lnTo>
                  <a:pt x="578" y="85"/>
                </a:lnTo>
                <a:lnTo>
                  <a:pt x="578" y="91"/>
                </a:lnTo>
                <a:lnTo>
                  <a:pt x="583" y="91"/>
                </a:lnTo>
                <a:lnTo>
                  <a:pt x="583" y="97"/>
                </a:lnTo>
                <a:lnTo>
                  <a:pt x="589" y="97"/>
                </a:lnTo>
                <a:lnTo>
                  <a:pt x="589" y="102"/>
                </a:lnTo>
                <a:lnTo>
                  <a:pt x="583" y="102"/>
                </a:lnTo>
                <a:lnTo>
                  <a:pt x="583" y="108"/>
                </a:lnTo>
                <a:lnTo>
                  <a:pt x="583" y="114"/>
                </a:lnTo>
                <a:lnTo>
                  <a:pt x="578" y="114"/>
                </a:lnTo>
                <a:lnTo>
                  <a:pt x="578" y="119"/>
                </a:lnTo>
                <a:lnTo>
                  <a:pt x="578" y="125"/>
                </a:lnTo>
                <a:lnTo>
                  <a:pt x="578" y="131"/>
                </a:lnTo>
                <a:lnTo>
                  <a:pt x="572" y="131"/>
                </a:lnTo>
                <a:lnTo>
                  <a:pt x="572" y="137"/>
                </a:lnTo>
                <a:lnTo>
                  <a:pt x="572" y="142"/>
                </a:lnTo>
                <a:lnTo>
                  <a:pt x="572" y="148"/>
                </a:lnTo>
                <a:lnTo>
                  <a:pt x="578" y="148"/>
                </a:lnTo>
                <a:lnTo>
                  <a:pt x="589" y="148"/>
                </a:lnTo>
                <a:lnTo>
                  <a:pt x="589" y="142"/>
                </a:lnTo>
                <a:lnTo>
                  <a:pt x="595" y="142"/>
                </a:lnTo>
                <a:lnTo>
                  <a:pt x="600" y="137"/>
                </a:lnTo>
                <a:lnTo>
                  <a:pt x="606" y="131"/>
                </a:lnTo>
                <a:lnTo>
                  <a:pt x="612" y="125"/>
                </a:lnTo>
                <a:lnTo>
                  <a:pt x="617" y="125"/>
                </a:lnTo>
                <a:lnTo>
                  <a:pt x="623" y="125"/>
                </a:lnTo>
                <a:lnTo>
                  <a:pt x="629" y="125"/>
                </a:lnTo>
                <a:lnTo>
                  <a:pt x="634" y="125"/>
                </a:lnTo>
                <a:lnTo>
                  <a:pt x="657" y="114"/>
                </a:lnTo>
                <a:lnTo>
                  <a:pt x="663" y="114"/>
                </a:lnTo>
                <a:lnTo>
                  <a:pt x="685" y="108"/>
                </a:lnTo>
                <a:lnTo>
                  <a:pt x="691" y="102"/>
                </a:lnTo>
                <a:lnTo>
                  <a:pt x="708" y="102"/>
                </a:lnTo>
                <a:lnTo>
                  <a:pt x="714" y="108"/>
                </a:lnTo>
                <a:lnTo>
                  <a:pt x="719" y="108"/>
                </a:lnTo>
                <a:lnTo>
                  <a:pt x="725" y="114"/>
                </a:lnTo>
                <a:lnTo>
                  <a:pt x="731" y="114"/>
                </a:lnTo>
                <a:lnTo>
                  <a:pt x="736" y="114"/>
                </a:lnTo>
                <a:lnTo>
                  <a:pt x="742" y="114"/>
                </a:lnTo>
                <a:lnTo>
                  <a:pt x="742" y="119"/>
                </a:lnTo>
                <a:lnTo>
                  <a:pt x="742" y="125"/>
                </a:lnTo>
                <a:lnTo>
                  <a:pt x="748" y="125"/>
                </a:lnTo>
                <a:lnTo>
                  <a:pt x="753" y="125"/>
                </a:lnTo>
                <a:lnTo>
                  <a:pt x="753" y="131"/>
                </a:lnTo>
                <a:lnTo>
                  <a:pt x="759" y="131"/>
                </a:lnTo>
                <a:lnTo>
                  <a:pt x="759" y="137"/>
                </a:lnTo>
                <a:lnTo>
                  <a:pt x="765" y="142"/>
                </a:lnTo>
                <a:lnTo>
                  <a:pt x="770" y="142"/>
                </a:lnTo>
                <a:lnTo>
                  <a:pt x="776" y="148"/>
                </a:lnTo>
                <a:lnTo>
                  <a:pt x="782" y="154"/>
                </a:lnTo>
                <a:lnTo>
                  <a:pt x="787" y="159"/>
                </a:lnTo>
                <a:lnTo>
                  <a:pt x="787" y="165"/>
                </a:lnTo>
                <a:lnTo>
                  <a:pt x="799" y="171"/>
                </a:lnTo>
                <a:lnTo>
                  <a:pt x="810" y="176"/>
                </a:lnTo>
                <a:lnTo>
                  <a:pt x="810" y="182"/>
                </a:lnTo>
                <a:lnTo>
                  <a:pt x="816" y="188"/>
                </a:lnTo>
                <a:lnTo>
                  <a:pt x="816" y="193"/>
                </a:lnTo>
                <a:lnTo>
                  <a:pt x="821" y="199"/>
                </a:lnTo>
                <a:lnTo>
                  <a:pt x="827" y="199"/>
                </a:lnTo>
                <a:lnTo>
                  <a:pt x="833" y="210"/>
                </a:lnTo>
                <a:lnTo>
                  <a:pt x="838" y="222"/>
                </a:lnTo>
                <a:lnTo>
                  <a:pt x="844" y="222"/>
                </a:lnTo>
                <a:lnTo>
                  <a:pt x="844" y="227"/>
                </a:lnTo>
                <a:lnTo>
                  <a:pt x="844" y="239"/>
                </a:lnTo>
                <a:lnTo>
                  <a:pt x="844" y="244"/>
                </a:lnTo>
                <a:lnTo>
                  <a:pt x="844" y="250"/>
                </a:lnTo>
                <a:lnTo>
                  <a:pt x="844" y="256"/>
                </a:lnTo>
                <a:lnTo>
                  <a:pt x="844" y="261"/>
                </a:lnTo>
                <a:lnTo>
                  <a:pt x="844" y="273"/>
                </a:lnTo>
                <a:lnTo>
                  <a:pt x="844" y="284"/>
                </a:lnTo>
                <a:lnTo>
                  <a:pt x="844" y="295"/>
                </a:lnTo>
                <a:lnTo>
                  <a:pt x="838" y="324"/>
                </a:lnTo>
                <a:lnTo>
                  <a:pt x="838" y="346"/>
                </a:lnTo>
                <a:lnTo>
                  <a:pt x="833" y="352"/>
                </a:lnTo>
                <a:lnTo>
                  <a:pt x="833" y="358"/>
                </a:lnTo>
                <a:lnTo>
                  <a:pt x="827" y="358"/>
                </a:lnTo>
                <a:lnTo>
                  <a:pt x="827" y="363"/>
                </a:lnTo>
                <a:lnTo>
                  <a:pt x="821" y="363"/>
                </a:lnTo>
                <a:lnTo>
                  <a:pt x="816" y="363"/>
                </a:lnTo>
                <a:lnTo>
                  <a:pt x="816" y="369"/>
                </a:lnTo>
                <a:lnTo>
                  <a:pt x="810" y="369"/>
                </a:lnTo>
                <a:lnTo>
                  <a:pt x="804" y="375"/>
                </a:lnTo>
                <a:lnTo>
                  <a:pt x="799" y="375"/>
                </a:lnTo>
                <a:lnTo>
                  <a:pt x="799" y="380"/>
                </a:lnTo>
                <a:lnTo>
                  <a:pt x="793" y="380"/>
                </a:lnTo>
                <a:lnTo>
                  <a:pt x="787" y="386"/>
                </a:lnTo>
                <a:lnTo>
                  <a:pt x="787" y="392"/>
                </a:lnTo>
                <a:lnTo>
                  <a:pt x="787" y="403"/>
                </a:lnTo>
                <a:lnTo>
                  <a:pt x="782" y="403"/>
                </a:lnTo>
                <a:lnTo>
                  <a:pt x="782" y="409"/>
                </a:lnTo>
                <a:lnTo>
                  <a:pt x="782" y="414"/>
                </a:lnTo>
                <a:lnTo>
                  <a:pt x="782" y="420"/>
                </a:lnTo>
                <a:lnTo>
                  <a:pt x="776" y="426"/>
                </a:lnTo>
                <a:lnTo>
                  <a:pt x="776" y="431"/>
                </a:lnTo>
                <a:lnTo>
                  <a:pt x="770" y="431"/>
                </a:lnTo>
                <a:lnTo>
                  <a:pt x="770" y="437"/>
                </a:lnTo>
                <a:lnTo>
                  <a:pt x="765" y="443"/>
                </a:lnTo>
                <a:lnTo>
                  <a:pt x="765" y="448"/>
                </a:lnTo>
                <a:lnTo>
                  <a:pt x="759" y="448"/>
                </a:lnTo>
                <a:lnTo>
                  <a:pt x="759" y="460"/>
                </a:lnTo>
                <a:lnTo>
                  <a:pt x="759" y="482"/>
                </a:lnTo>
                <a:lnTo>
                  <a:pt x="759" y="488"/>
                </a:lnTo>
                <a:lnTo>
                  <a:pt x="765" y="494"/>
                </a:lnTo>
                <a:lnTo>
                  <a:pt x="765" y="499"/>
                </a:lnTo>
                <a:lnTo>
                  <a:pt x="765" y="505"/>
                </a:lnTo>
                <a:lnTo>
                  <a:pt x="765" y="528"/>
                </a:lnTo>
                <a:lnTo>
                  <a:pt x="765" y="533"/>
                </a:lnTo>
                <a:lnTo>
                  <a:pt x="759" y="550"/>
                </a:lnTo>
                <a:lnTo>
                  <a:pt x="759" y="562"/>
                </a:lnTo>
                <a:lnTo>
                  <a:pt x="753" y="573"/>
                </a:lnTo>
                <a:lnTo>
                  <a:pt x="753" y="579"/>
                </a:lnTo>
                <a:lnTo>
                  <a:pt x="753" y="584"/>
                </a:lnTo>
                <a:lnTo>
                  <a:pt x="748" y="584"/>
                </a:lnTo>
                <a:lnTo>
                  <a:pt x="748" y="579"/>
                </a:lnTo>
                <a:lnTo>
                  <a:pt x="742" y="573"/>
                </a:lnTo>
                <a:lnTo>
                  <a:pt x="742" y="579"/>
                </a:lnTo>
                <a:lnTo>
                  <a:pt x="736" y="579"/>
                </a:lnTo>
                <a:lnTo>
                  <a:pt x="731" y="579"/>
                </a:lnTo>
                <a:lnTo>
                  <a:pt x="725" y="573"/>
                </a:lnTo>
                <a:lnTo>
                  <a:pt x="725" y="579"/>
                </a:lnTo>
                <a:lnTo>
                  <a:pt x="719" y="584"/>
                </a:lnTo>
                <a:lnTo>
                  <a:pt x="719" y="590"/>
                </a:lnTo>
                <a:lnTo>
                  <a:pt x="719" y="596"/>
                </a:lnTo>
                <a:lnTo>
                  <a:pt x="714" y="601"/>
                </a:lnTo>
                <a:lnTo>
                  <a:pt x="708" y="607"/>
                </a:lnTo>
                <a:lnTo>
                  <a:pt x="702" y="607"/>
                </a:lnTo>
                <a:lnTo>
                  <a:pt x="697" y="607"/>
                </a:lnTo>
                <a:lnTo>
                  <a:pt x="691" y="607"/>
                </a:lnTo>
                <a:lnTo>
                  <a:pt x="691" y="590"/>
                </a:lnTo>
                <a:lnTo>
                  <a:pt x="691" y="584"/>
                </a:lnTo>
                <a:lnTo>
                  <a:pt x="685" y="584"/>
                </a:lnTo>
                <a:lnTo>
                  <a:pt x="685" y="579"/>
                </a:lnTo>
                <a:lnTo>
                  <a:pt x="680" y="573"/>
                </a:lnTo>
                <a:lnTo>
                  <a:pt x="668" y="573"/>
                </a:lnTo>
                <a:lnTo>
                  <a:pt x="668" y="567"/>
                </a:lnTo>
                <a:lnTo>
                  <a:pt x="663" y="562"/>
                </a:lnTo>
                <a:lnTo>
                  <a:pt x="657" y="562"/>
                </a:lnTo>
                <a:lnTo>
                  <a:pt x="657" y="556"/>
                </a:lnTo>
                <a:lnTo>
                  <a:pt x="651" y="550"/>
                </a:lnTo>
                <a:lnTo>
                  <a:pt x="651" y="545"/>
                </a:lnTo>
                <a:lnTo>
                  <a:pt x="646" y="545"/>
                </a:lnTo>
                <a:lnTo>
                  <a:pt x="646" y="539"/>
                </a:lnTo>
                <a:lnTo>
                  <a:pt x="646" y="533"/>
                </a:lnTo>
                <a:lnTo>
                  <a:pt x="646" y="528"/>
                </a:lnTo>
                <a:lnTo>
                  <a:pt x="640" y="528"/>
                </a:lnTo>
                <a:lnTo>
                  <a:pt x="634" y="522"/>
                </a:lnTo>
                <a:lnTo>
                  <a:pt x="629" y="522"/>
                </a:lnTo>
                <a:lnTo>
                  <a:pt x="623" y="522"/>
                </a:lnTo>
                <a:lnTo>
                  <a:pt x="617" y="522"/>
                </a:lnTo>
                <a:lnTo>
                  <a:pt x="606" y="522"/>
                </a:lnTo>
                <a:lnTo>
                  <a:pt x="600" y="522"/>
                </a:lnTo>
                <a:lnTo>
                  <a:pt x="589" y="522"/>
                </a:lnTo>
                <a:lnTo>
                  <a:pt x="583" y="528"/>
                </a:lnTo>
                <a:lnTo>
                  <a:pt x="578" y="528"/>
                </a:lnTo>
                <a:lnTo>
                  <a:pt x="572" y="528"/>
                </a:lnTo>
                <a:lnTo>
                  <a:pt x="572" y="533"/>
                </a:lnTo>
                <a:lnTo>
                  <a:pt x="566" y="533"/>
                </a:lnTo>
                <a:lnTo>
                  <a:pt x="561" y="539"/>
                </a:lnTo>
                <a:lnTo>
                  <a:pt x="555" y="539"/>
                </a:lnTo>
                <a:lnTo>
                  <a:pt x="549" y="539"/>
                </a:lnTo>
                <a:lnTo>
                  <a:pt x="549" y="533"/>
                </a:lnTo>
                <a:lnTo>
                  <a:pt x="544" y="533"/>
                </a:lnTo>
                <a:lnTo>
                  <a:pt x="544" y="528"/>
                </a:lnTo>
                <a:lnTo>
                  <a:pt x="538" y="528"/>
                </a:lnTo>
                <a:lnTo>
                  <a:pt x="532" y="528"/>
                </a:lnTo>
                <a:lnTo>
                  <a:pt x="527" y="516"/>
                </a:lnTo>
                <a:lnTo>
                  <a:pt x="521" y="516"/>
                </a:lnTo>
                <a:lnTo>
                  <a:pt x="521" y="505"/>
                </a:lnTo>
                <a:lnTo>
                  <a:pt x="521" y="499"/>
                </a:lnTo>
                <a:lnTo>
                  <a:pt x="521" y="494"/>
                </a:lnTo>
                <a:lnTo>
                  <a:pt x="521" y="488"/>
                </a:lnTo>
                <a:lnTo>
                  <a:pt x="527" y="482"/>
                </a:lnTo>
                <a:lnTo>
                  <a:pt x="527" y="477"/>
                </a:lnTo>
                <a:lnTo>
                  <a:pt x="521" y="477"/>
                </a:lnTo>
                <a:lnTo>
                  <a:pt x="515" y="477"/>
                </a:lnTo>
                <a:lnTo>
                  <a:pt x="510" y="471"/>
                </a:lnTo>
                <a:lnTo>
                  <a:pt x="504" y="471"/>
                </a:lnTo>
                <a:lnTo>
                  <a:pt x="493" y="471"/>
                </a:lnTo>
                <a:lnTo>
                  <a:pt x="487" y="471"/>
                </a:lnTo>
                <a:lnTo>
                  <a:pt x="476" y="465"/>
                </a:lnTo>
                <a:lnTo>
                  <a:pt x="470" y="465"/>
                </a:lnTo>
                <a:lnTo>
                  <a:pt x="459" y="460"/>
                </a:lnTo>
                <a:lnTo>
                  <a:pt x="453" y="460"/>
                </a:lnTo>
                <a:lnTo>
                  <a:pt x="447" y="460"/>
                </a:lnTo>
                <a:lnTo>
                  <a:pt x="442" y="460"/>
                </a:lnTo>
                <a:lnTo>
                  <a:pt x="430" y="454"/>
                </a:lnTo>
                <a:lnTo>
                  <a:pt x="425" y="454"/>
                </a:lnTo>
                <a:lnTo>
                  <a:pt x="413" y="454"/>
                </a:lnTo>
                <a:lnTo>
                  <a:pt x="408" y="454"/>
                </a:lnTo>
                <a:lnTo>
                  <a:pt x="402" y="448"/>
                </a:lnTo>
                <a:lnTo>
                  <a:pt x="396" y="448"/>
                </a:lnTo>
                <a:lnTo>
                  <a:pt x="391" y="448"/>
                </a:lnTo>
                <a:lnTo>
                  <a:pt x="391" y="454"/>
                </a:lnTo>
                <a:lnTo>
                  <a:pt x="385" y="460"/>
                </a:lnTo>
                <a:lnTo>
                  <a:pt x="379" y="460"/>
                </a:lnTo>
                <a:lnTo>
                  <a:pt x="379" y="465"/>
                </a:lnTo>
                <a:lnTo>
                  <a:pt x="374" y="465"/>
                </a:lnTo>
                <a:lnTo>
                  <a:pt x="368" y="471"/>
                </a:lnTo>
                <a:lnTo>
                  <a:pt x="368" y="477"/>
                </a:lnTo>
                <a:lnTo>
                  <a:pt x="379" y="477"/>
                </a:lnTo>
                <a:lnTo>
                  <a:pt x="385" y="477"/>
                </a:lnTo>
                <a:lnTo>
                  <a:pt x="391" y="477"/>
                </a:lnTo>
                <a:lnTo>
                  <a:pt x="396" y="482"/>
                </a:lnTo>
                <a:lnTo>
                  <a:pt x="396" y="488"/>
                </a:lnTo>
                <a:lnTo>
                  <a:pt x="396" y="494"/>
                </a:lnTo>
                <a:lnTo>
                  <a:pt x="396" y="499"/>
                </a:lnTo>
                <a:lnTo>
                  <a:pt x="396" y="505"/>
                </a:lnTo>
                <a:lnTo>
                  <a:pt x="391" y="505"/>
                </a:lnTo>
                <a:lnTo>
                  <a:pt x="385" y="511"/>
                </a:lnTo>
                <a:lnTo>
                  <a:pt x="379" y="516"/>
                </a:lnTo>
                <a:lnTo>
                  <a:pt x="368" y="516"/>
                </a:lnTo>
                <a:lnTo>
                  <a:pt x="368" y="511"/>
                </a:lnTo>
                <a:lnTo>
                  <a:pt x="362" y="511"/>
                </a:lnTo>
                <a:lnTo>
                  <a:pt x="351" y="511"/>
                </a:lnTo>
                <a:lnTo>
                  <a:pt x="340" y="511"/>
                </a:lnTo>
                <a:lnTo>
                  <a:pt x="328" y="516"/>
                </a:lnTo>
                <a:lnTo>
                  <a:pt x="323" y="516"/>
                </a:lnTo>
                <a:lnTo>
                  <a:pt x="317" y="516"/>
                </a:lnTo>
                <a:lnTo>
                  <a:pt x="311" y="528"/>
                </a:lnTo>
                <a:lnTo>
                  <a:pt x="306" y="528"/>
                </a:lnTo>
                <a:lnTo>
                  <a:pt x="306" y="533"/>
                </a:lnTo>
                <a:lnTo>
                  <a:pt x="294" y="539"/>
                </a:lnTo>
                <a:lnTo>
                  <a:pt x="294" y="545"/>
                </a:lnTo>
                <a:lnTo>
                  <a:pt x="289" y="545"/>
                </a:lnTo>
                <a:lnTo>
                  <a:pt x="283" y="545"/>
                </a:lnTo>
                <a:lnTo>
                  <a:pt x="283" y="539"/>
                </a:lnTo>
                <a:lnTo>
                  <a:pt x="283" y="533"/>
                </a:lnTo>
                <a:lnTo>
                  <a:pt x="277" y="533"/>
                </a:lnTo>
                <a:lnTo>
                  <a:pt x="277" y="528"/>
                </a:lnTo>
                <a:lnTo>
                  <a:pt x="277" y="522"/>
                </a:lnTo>
                <a:lnTo>
                  <a:pt x="272" y="516"/>
                </a:lnTo>
                <a:lnTo>
                  <a:pt x="266" y="516"/>
                </a:lnTo>
                <a:lnTo>
                  <a:pt x="266" y="505"/>
                </a:lnTo>
                <a:lnTo>
                  <a:pt x="260" y="505"/>
                </a:lnTo>
                <a:lnTo>
                  <a:pt x="260" y="499"/>
                </a:lnTo>
                <a:lnTo>
                  <a:pt x="255" y="499"/>
                </a:lnTo>
                <a:lnTo>
                  <a:pt x="255" y="494"/>
                </a:lnTo>
                <a:lnTo>
                  <a:pt x="249" y="494"/>
                </a:lnTo>
                <a:lnTo>
                  <a:pt x="243" y="494"/>
                </a:lnTo>
                <a:lnTo>
                  <a:pt x="238" y="494"/>
                </a:lnTo>
                <a:lnTo>
                  <a:pt x="238" y="499"/>
                </a:lnTo>
                <a:lnTo>
                  <a:pt x="232" y="499"/>
                </a:lnTo>
                <a:lnTo>
                  <a:pt x="226" y="499"/>
                </a:lnTo>
                <a:lnTo>
                  <a:pt x="215" y="505"/>
                </a:lnTo>
                <a:lnTo>
                  <a:pt x="209" y="511"/>
                </a:lnTo>
                <a:lnTo>
                  <a:pt x="198" y="516"/>
                </a:lnTo>
                <a:lnTo>
                  <a:pt x="187" y="516"/>
                </a:lnTo>
                <a:lnTo>
                  <a:pt x="181" y="516"/>
                </a:lnTo>
                <a:lnTo>
                  <a:pt x="175" y="516"/>
                </a:lnTo>
                <a:lnTo>
                  <a:pt x="170" y="516"/>
                </a:lnTo>
                <a:lnTo>
                  <a:pt x="164" y="522"/>
                </a:lnTo>
                <a:lnTo>
                  <a:pt x="164" y="528"/>
                </a:lnTo>
                <a:lnTo>
                  <a:pt x="158" y="533"/>
                </a:lnTo>
                <a:lnTo>
                  <a:pt x="158" y="545"/>
                </a:lnTo>
                <a:lnTo>
                  <a:pt x="158" y="556"/>
                </a:lnTo>
                <a:lnTo>
                  <a:pt x="158" y="562"/>
                </a:lnTo>
                <a:lnTo>
                  <a:pt x="158" y="567"/>
                </a:lnTo>
                <a:lnTo>
                  <a:pt x="158" y="573"/>
                </a:lnTo>
                <a:lnTo>
                  <a:pt x="153" y="579"/>
                </a:lnTo>
                <a:lnTo>
                  <a:pt x="153" y="584"/>
                </a:lnTo>
                <a:lnTo>
                  <a:pt x="147" y="584"/>
                </a:lnTo>
                <a:lnTo>
                  <a:pt x="141" y="584"/>
                </a:lnTo>
                <a:lnTo>
                  <a:pt x="141" y="579"/>
                </a:lnTo>
                <a:lnTo>
                  <a:pt x="136" y="579"/>
                </a:lnTo>
                <a:lnTo>
                  <a:pt x="130" y="573"/>
                </a:lnTo>
                <a:lnTo>
                  <a:pt x="124" y="567"/>
                </a:lnTo>
                <a:lnTo>
                  <a:pt x="119" y="562"/>
                </a:lnTo>
                <a:lnTo>
                  <a:pt x="113" y="562"/>
                </a:lnTo>
                <a:lnTo>
                  <a:pt x="113" y="556"/>
                </a:lnTo>
                <a:lnTo>
                  <a:pt x="107" y="550"/>
                </a:lnTo>
                <a:lnTo>
                  <a:pt x="107" y="545"/>
                </a:lnTo>
                <a:lnTo>
                  <a:pt x="107" y="533"/>
                </a:lnTo>
                <a:lnTo>
                  <a:pt x="113" y="533"/>
                </a:lnTo>
                <a:lnTo>
                  <a:pt x="113" y="528"/>
                </a:lnTo>
                <a:lnTo>
                  <a:pt x="113" y="522"/>
                </a:lnTo>
                <a:lnTo>
                  <a:pt x="119" y="516"/>
                </a:lnTo>
                <a:lnTo>
                  <a:pt x="124" y="511"/>
                </a:lnTo>
                <a:lnTo>
                  <a:pt x="124" y="505"/>
                </a:lnTo>
                <a:lnTo>
                  <a:pt x="124" y="499"/>
                </a:lnTo>
                <a:lnTo>
                  <a:pt x="124" y="494"/>
                </a:lnTo>
                <a:lnTo>
                  <a:pt x="124" y="488"/>
                </a:lnTo>
                <a:lnTo>
                  <a:pt x="119" y="477"/>
                </a:lnTo>
                <a:lnTo>
                  <a:pt x="113" y="471"/>
                </a:lnTo>
                <a:lnTo>
                  <a:pt x="113" y="465"/>
                </a:lnTo>
                <a:lnTo>
                  <a:pt x="107" y="465"/>
                </a:lnTo>
                <a:lnTo>
                  <a:pt x="102" y="460"/>
                </a:lnTo>
                <a:lnTo>
                  <a:pt x="102" y="454"/>
                </a:lnTo>
                <a:lnTo>
                  <a:pt x="96" y="454"/>
                </a:lnTo>
                <a:lnTo>
                  <a:pt x="90" y="454"/>
                </a:lnTo>
                <a:lnTo>
                  <a:pt x="85" y="454"/>
                </a:lnTo>
                <a:lnTo>
                  <a:pt x="79" y="460"/>
                </a:lnTo>
                <a:lnTo>
                  <a:pt x="73" y="460"/>
                </a:lnTo>
                <a:lnTo>
                  <a:pt x="68" y="460"/>
                </a:lnTo>
                <a:lnTo>
                  <a:pt x="68" y="465"/>
                </a:lnTo>
                <a:lnTo>
                  <a:pt x="62" y="465"/>
                </a:lnTo>
                <a:lnTo>
                  <a:pt x="51" y="465"/>
                </a:lnTo>
                <a:lnTo>
                  <a:pt x="45" y="465"/>
                </a:lnTo>
                <a:lnTo>
                  <a:pt x="39" y="460"/>
                </a:lnTo>
                <a:lnTo>
                  <a:pt x="34" y="454"/>
                </a:lnTo>
                <a:lnTo>
                  <a:pt x="28" y="448"/>
                </a:lnTo>
                <a:lnTo>
                  <a:pt x="28" y="443"/>
                </a:lnTo>
                <a:lnTo>
                  <a:pt x="22" y="437"/>
                </a:lnTo>
                <a:lnTo>
                  <a:pt x="17" y="437"/>
                </a:lnTo>
                <a:lnTo>
                  <a:pt x="17" y="431"/>
                </a:lnTo>
                <a:lnTo>
                  <a:pt x="11" y="431"/>
                </a:lnTo>
                <a:lnTo>
                  <a:pt x="11" y="426"/>
                </a:lnTo>
                <a:lnTo>
                  <a:pt x="5" y="420"/>
                </a:lnTo>
                <a:lnTo>
                  <a:pt x="0" y="420"/>
                </a:lnTo>
                <a:lnTo>
                  <a:pt x="0" y="414"/>
                </a:lnTo>
                <a:lnTo>
                  <a:pt x="0" y="409"/>
                </a:lnTo>
                <a:lnTo>
                  <a:pt x="0" y="40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59" name="Freeform 20"/>
          <p:cNvSpPr>
            <a:spLocks/>
          </p:cNvSpPr>
          <p:nvPr/>
        </p:nvSpPr>
        <p:spPr bwMode="gray">
          <a:xfrm>
            <a:off x="3926494" y="4946702"/>
            <a:ext cx="1007541" cy="1324951"/>
          </a:xfrm>
          <a:custGeom>
            <a:avLst/>
            <a:gdLst>
              <a:gd name="T0" fmla="*/ 2147483647 w 595"/>
              <a:gd name="T1" fmla="*/ 2147483647 h 783"/>
              <a:gd name="T2" fmla="*/ 2147483647 w 595"/>
              <a:gd name="T3" fmla="*/ 2147483647 h 783"/>
              <a:gd name="T4" fmla="*/ 2147483647 w 595"/>
              <a:gd name="T5" fmla="*/ 2147483647 h 783"/>
              <a:gd name="T6" fmla="*/ 2147483647 w 595"/>
              <a:gd name="T7" fmla="*/ 2147483647 h 783"/>
              <a:gd name="T8" fmla="*/ 2147483647 w 595"/>
              <a:gd name="T9" fmla="*/ 2147483647 h 783"/>
              <a:gd name="T10" fmla="*/ 2147483647 w 595"/>
              <a:gd name="T11" fmla="*/ 2147483647 h 783"/>
              <a:gd name="T12" fmla="*/ 2147483647 w 595"/>
              <a:gd name="T13" fmla="*/ 2147483647 h 783"/>
              <a:gd name="T14" fmla="*/ 2147483647 w 595"/>
              <a:gd name="T15" fmla="*/ 2147483647 h 783"/>
              <a:gd name="T16" fmla="*/ 2147483647 w 595"/>
              <a:gd name="T17" fmla="*/ 2147483647 h 783"/>
              <a:gd name="T18" fmla="*/ 2147483647 w 595"/>
              <a:gd name="T19" fmla="*/ 2147483647 h 783"/>
              <a:gd name="T20" fmla="*/ 2147483647 w 595"/>
              <a:gd name="T21" fmla="*/ 2147483647 h 783"/>
              <a:gd name="T22" fmla="*/ 2147483647 w 595"/>
              <a:gd name="T23" fmla="*/ 2147483647 h 783"/>
              <a:gd name="T24" fmla="*/ 2147483647 w 595"/>
              <a:gd name="T25" fmla="*/ 2147483647 h 783"/>
              <a:gd name="T26" fmla="*/ 2147483647 w 595"/>
              <a:gd name="T27" fmla="*/ 2147483647 h 783"/>
              <a:gd name="T28" fmla="*/ 2147483647 w 595"/>
              <a:gd name="T29" fmla="*/ 2147483647 h 783"/>
              <a:gd name="T30" fmla="*/ 2147483647 w 595"/>
              <a:gd name="T31" fmla="*/ 2147483647 h 783"/>
              <a:gd name="T32" fmla="*/ 2147483647 w 595"/>
              <a:gd name="T33" fmla="*/ 2147483647 h 783"/>
              <a:gd name="T34" fmla="*/ 2147483647 w 595"/>
              <a:gd name="T35" fmla="*/ 2147483647 h 783"/>
              <a:gd name="T36" fmla="*/ 2147483647 w 595"/>
              <a:gd name="T37" fmla="*/ 2147483647 h 783"/>
              <a:gd name="T38" fmla="*/ 2147483647 w 595"/>
              <a:gd name="T39" fmla="*/ 2147483647 h 783"/>
              <a:gd name="T40" fmla="*/ 2147483647 w 595"/>
              <a:gd name="T41" fmla="*/ 2147483647 h 783"/>
              <a:gd name="T42" fmla="*/ 2147483647 w 595"/>
              <a:gd name="T43" fmla="*/ 2147483647 h 783"/>
              <a:gd name="T44" fmla="*/ 2147483647 w 595"/>
              <a:gd name="T45" fmla="*/ 2147483647 h 783"/>
              <a:gd name="T46" fmla="*/ 2147483647 w 595"/>
              <a:gd name="T47" fmla="*/ 2147483647 h 783"/>
              <a:gd name="T48" fmla="*/ 2147483647 w 595"/>
              <a:gd name="T49" fmla="*/ 0 h 783"/>
              <a:gd name="T50" fmla="*/ 2147483647 w 595"/>
              <a:gd name="T51" fmla="*/ 2147483647 h 783"/>
              <a:gd name="T52" fmla="*/ 2147483647 w 595"/>
              <a:gd name="T53" fmla="*/ 2147483647 h 783"/>
              <a:gd name="T54" fmla="*/ 2147483647 w 595"/>
              <a:gd name="T55" fmla="*/ 2147483647 h 783"/>
              <a:gd name="T56" fmla="*/ 2147483647 w 595"/>
              <a:gd name="T57" fmla="*/ 2147483647 h 783"/>
              <a:gd name="T58" fmla="*/ 2147483647 w 595"/>
              <a:gd name="T59" fmla="*/ 2147483647 h 783"/>
              <a:gd name="T60" fmla="*/ 2147483647 w 595"/>
              <a:gd name="T61" fmla="*/ 2147483647 h 783"/>
              <a:gd name="T62" fmla="*/ 2147483647 w 595"/>
              <a:gd name="T63" fmla="*/ 2147483647 h 783"/>
              <a:gd name="T64" fmla="*/ 2147483647 w 595"/>
              <a:gd name="T65" fmla="*/ 2147483647 h 783"/>
              <a:gd name="T66" fmla="*/ 2147483647 w 595"/>
              <a:gd name="T67" fmla="*/ 2147483647 h 783"/>
              <a:gd name="T68" fmla="*/ 2147483647 w 595"/>
              <a:gd name="T69" fmla="*/ 2147483647 h 783"/>
              <a:gd name="T70" fmla="*/ 2147483647 w 595"/>
              <a:gd name="T71" fmla="*/ 2147483647 h 783"/>
              <a:gd name="T72" fmla="*/ 2147483647 w 595"/>
              <a:gd name="T73" fmla="*/ 2147483647 h 783"/>
              <a:gd name="T74" fmla="*/ 2147483647 w 595"/>
              <a:gd name="T75" fmla="*/ 2147483647 h 783"/>
              <a:gd name="T76" fmla="*/ 2147483647 w 595"/>
              <a:gd name="T77" fmla="*/ 2147483647 h 783"/>
              <a:gd name="T78" fmla="*/ 2147483647 w 595"/>
              <a:gd name="T79" fmla="*/ 2147483647 h 783"/>
              <a:gd name="T80" fmla="*/ 2147483647 w 595"/>
              <a:gd name="T81" fmla="*/ 2147483647 h 783"/>
              <a:gd name="T82" fmla="*/ 2147483647 w 595"/>
              <a:gd name="T83" fmla="*/ 2147483647 h 783"/>
              <a:gd name="T84" fmla="*/ 2147483647 w 595"/>
              <a:gd name="T85" fmla="*/ 2147483647 h 783"/>
              <a:gd name="T86" fmla="*/ 2147483647 w 595"/>
              <a:gd name="T87" fmla="*/ 2147483647 h 783"/>
              <a:gd name="T88" fmla="*/ 2147483647 w 595"/>
              <a:gd name="T89" fmla="*/ 2147483647 h 783"/>
              <a:gd name="T90" fmla="*/ 2147483647 w 595"/>
              <a:gd name="T91" fmla="*/ 2147483647 h 783"/>
              <a:gd name="T92" fmla="*/ 2147483647 w 595"/>
              <a:gd name="T93" fmla="*/ 2147483647 h 783"/>
              <a:gd name="T94" fmla="*/ 2147483647 w 595"/>
              <a:gd name="T95" fmla="*/ 2147483647 h 783"/>
              <a:gd name="T96" fmla="*/ 2147483647 w 595"/>
              <a:gd name="T97" fmla="*/ 2147483647 h 783"/>
              <a:gd name="T98" fmla="*/ 2147483647 w 595"/>
              <a:gd name="T99" fmla="*/ 2147483647 h 783"/>
              <a:gd name="T100" fmla="*/ 2147483647 w 595"/>
              <a:gd name="T101" fmla="*/ 2147483647 h 783"/>
              <a:gd name="T102" fmla="*/ 2147483647 w 595"/>
              <a:gd name="T103" fmla="*/ 2147483647 h 783"/>
              <a:gd name="T104" fmla="*/ 2147483647 w 595"/>
              <a:gd name="T105" fmla="*/ 2147483647 h 783"/>
              <a:gd name="T106" fmla="*/ 2147483647 w 595"/>
              <a:gd name="T107" fmla="*/ 2147483647 h 783"/>
              <a:gd name="T108" fmla="*/ 2147483647 w 595"/>
              <a:gd name="T109" fmla="*/ 2147483647 h 783"/>
              <a:gd name="T110" fmla="*/ 2147483647 w 595"/>
              <a:gd name="T111" fmla="*/ 2147483647 h 78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95"/>
              <a:gd name="T169" fmla="*/ 0 h 783"/>
              <a:gd name="T170" fmla="*/ 595 w 595"/>
              <a:gd name="T171" fmla="*/ 783 h 78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95" h="783">
                <a:moveTo>
                  <a:pt x="164" y="726"/>
                </a:moveTo>
                <a:lnTo>
                  <a:pt x="159" y="709"/>
                </a:lnTo>
                <a:lnTo>
                  <a:pt x="142" y="692"/>
                </a:lnTo>
                <a:lnTo>
                  <a:pt x="142" y="686"/>
                </a:lnTo>
                <a:lnTo>
                  <a:pt x="130" y="681"/>
                </a:lnTo>
                <a:lnTo>
                  <a:pt x="119" y="675"/>
                </a:lnTo>
                <a:lnTo>
                  <a:pt x="113" y="675"/>
                </a:lnTo>
                <a:lnTo>
                  <a:pt x="102" y="664"/>
                </a:lnTo>
                <a:lnTo>
                  <a:pt x="96" y="647"/>
                </a:lnTo>
                <a:lnTo>
                  <a:pt x="85" y="630"/>
                </a:lnTo>
                <a:lnTo>
                  <a:pt x="85" y="624"/>
                </a:lnTo>
                <a:lnTo>
                  <a:pt x="85" y="613"/>
                </a:lnTo>
                <a:lnTo>
                  <a:pt x="91" y="601"/>
                </a:lnTo>
                <a:lnTo>
                  <a:pt x="91" y="595"/>
                </a:lnTo>
                <a:lnTo>
                  <a:pt x="85" y="584"/>
                </a:lnTo>
                <a:lnTo>
                  <a:pt x="74" y="578"/>
                </a:lnTo>
                <a:lnTo>
                  <a:pt x="62" y="578"/>
                </a:lnTo>
                <a:lnTo>
                  <a:pt x="57" y="578"/>
                </a:lnTo>
                <a:lnTo>
                  <a:pt x="45" y="578"/>
                </a:lnTo>
                <a:lnTo>
                  <a:pt x="34" y="573"/>
                </a:lnTo>
                <a:lnTo>
                  <a:pt x="28" y="573"/>
                </a:lnTo>
                <a:lnTo>
                  <a:pt x="23" y="567"/>
                </a:lnTo>
                <a:lnTo>
                  <a:pt x="17" y="567"/>
                </a:lnTo>
                <a:lnTo>
                  <a:pt x="6" y="561"/>
                </a:lnTo>
                <a:lnTo>
                  <a:pt x="6" y="556"/>
                </a:lnTo>
                <a:lnTo>
                  <a:pt x="0" y="556"/>
                </a:lnTo>
                <a:lnTo>
                  <a:pt x="0" y="550"/>
                </a:lnTo>
                <a:lnTo>
                  <a:pt x="6" y="550"/>
                </a:lnTo>
                <a:lnTo>
                  <a:pt x="11" y="550"/>
                </a:lnTo>
                <a:lnTo>
                  <a:pt x="11" y="544"/>
                </a:lnTo>
                <a:lnTo>
                  <a:pt x="6" y="539"/>
                </a:lnTo>
                <a:lnTo>
                  <a:pt x="11" y="533"/>
                </a:lnTo>
                <a:lnTo>
                  <a:pt x="17" y="527"/>
                </a:lnTo>
                <a:lnTo>
                  <a:pt x="17" y="533"/>
                </a:lnTo>
                <a:lnTo>
                  <a:pt x="28" y="539"/>
                </a:lnTo>
                <a:lnTo>
                  <a:pt x="34" y="539"/>
                </a:lnTo>
                <a:lnTo>
                  <a:pt x="40" y="527"/>
                </a:lnTo>
                <a:lnTo>
                  <a:pt x="34" y="522"/>
                </a:lnTo>
                <a:lnTo>
                  <a:pt x="34" y="516"/>
                </a:lnTo>
                <a:lnTo>
                  <a:pt x="34" y="510"/>
                </a:lnTo>
                <a:lnTo>
                  <a:pt x="28" y="499"/>
                </a:lnTo>
                <a:lnTo>
                  <a:pt x="23" y="488"/>
                </a:lnTo>
                <a:lnTo>
                  <a:pt x="23" y="482"/>
                </a:lnTo>
                <a:lnTo>
                  <a:pt x="23" y="476"/>
                </a:lnTo>
                <a:lnTo>
                  <a:pt x="23" y="471"/>
                </a:lnTo>
                <a:lnTo>
                  <a:pt x="17" y="454"/>
                </a:lnTo>
                <a:lnTo>
                  <a:pt x="17" y="442"/>
                </a:lnTo>
                <a:lnTo>
                  <a:pt x="17" y="431"/>
                </a:lnTo>
                <a:lnTo>
                  <a:pt x="17" y="425"/>
                </a:lnTo>
                <a:lnTo>
                  <a:pt x="11" y="420"/>
                </a:lnTo>
                <a:lnTo>
                  <a:pt x="17" y="414"/>
                </a:lnTo>
                <a:lnTo>
                  <a:pt x="23" y="403"/>
                </a:lnTo>
                <a:lnTo>
                  <a:pt x="28" y="403"/>
                </a:lnTo>
                <a:lnTo>
                  <a:pt x="28" y="397"/>
                </a:lnTo>
                <a:lnTo>
                  <a:pt x="34" y="391"/>
                </a:lnTo>
                <a:lnTo>
                  <a:pt x="34" y="380"/>
                </a:lnTo>
                <a:lnTo>
                  <a:pt x="28" y="374"/>
                </a:lnTo>
                <a:lnTo>
                  <a:pt x="34" y="369"/>
                </a:lnTo>
                <a:lnTo>
                  <a:pt x="45" y="363"/>
                </a:lnTo>
                <a:lnTo>
                  <a:pt x="45" y="346"/>
                </a:lnTo>
                <a:lnTo>
                  <a:pt x="51" y="335"/>
                </a:lnTo>
                <a:lnTo>
                  <a:pt x="51" y="329"/>
                </a:lnTo>
                <a:lnTo>
                  <a:pt x="45" y="323"/>
                </a:lnTo>
                <a:lnTo>
                  <a:pt x="45" y="318"/>
                </a:lnTo>
                <a:lnTo>
                  <a:pt x="45" y="312"/>
                </a:lnTo>
                <a:lnTo>
                  <a:pt x="57" y="306"/>
                </a:lnTo>
                <a:lnTo>
                  <a:pt x="74" y="306"/>
                </a:lnTo>
                <a:lnTo>
                  <a:pt x="74" y="318"/>
                </a:lnTo>
                <a:lnTo>
                  <a:pt x="79" y="312"/>
                </a:lnTo>
                <a:lnTo>
                  <a:pt x="85" y="312"/>
                </a:lnTo>
                <a:lnTo>
                  <a:pt x="91" y="312"/>
                </a:lnTo>
                <a:lnTo>
                  <a:pt x="91" y="318"/>
                </a:lnTo>
                <a:lnTo>
                  <a:pt x="96" y="318"/>
                </a:lnTo>
                <a:lnTo>
                  <a:pt x="102" y="329"/>
                </a:lnTo>
                <a:lnTo>
                  <a:pt x="108" y="335"/>
                </a:lnTo>
                <a:lnTo>
                  <a:pt x="113" y="335"/>
                </a:lnTo>
                <a:lnTo>
                  <a:pt x="119" y="335"/>
                </a:lnTo>
                <a:lnTo>
                  <a:pt x="125" y="335"/>
                </a:lnTo>
                <a:lnTo>
                  <a:pt x="125" y="329"/>
                </a:lnTo>
                <a:lnTo>
                  <a:pt x="130" y="329"/>
                </a:lnTo>
                <a:lnTo>
                  <a:pt x="130" y="323"/>
                </a:lnTo>
                <a:lnTo>
                  <a:pt x="142" y="318"/>
                </a:lnTo>
                <a:lnTo>
                  <a:pt x="147" y="312"/>
                </a:lnTo>
                <a:lnTo>
                  <a:pt x="153" y="306"/>
                </a:lnTo>
                <a:lnTo>
                  <a:pt x="159" y="306"/>
                </a:lnTo>
                <a:lnTo>
                  <a:pt x="159" y="312"/>
                </a:lnTo>
                <a:lnTo>
                  <a:pt x="170" y="318"/>
                </a:lnTo>
                <a:lnTo>
                  <a:pt x="170" y="312"/>
                </a:lnTo>
                <a:lnTo>
                  <a:pt x="170" y="306"/>
                </a:lnTo>
                <a:lnTo>
                  <a:pt x="176" y="306"/>
                </a:lnTo>
                <a:lnTo>
                  <a:pt x="176" y="301"/>
                </a:lnTo>
                <a:lnTo>
                  <a:pt x="176" y="295"/>
                </a:lnTo>
                <a:lnTo>
                  <a:pt x="176" y="289"/>
                </a:lnTo>
                <a:lnTo>
                  <a:pt x="170" y="284"/>
                </a:lnTo>
                <a:lnTo>
                  <a:pt x="170" y="278"/>
                </a:lnTo>
                <a:lnTo>
                  <a:pt x="170" y="272"/>
                </a:lnTo>
                <a:lnTo>
                  <a:pt x="170" y="267"/>
                </a:lnTo>
                <a:lnTo>
                  <a:pt x="176" y="261"/>
                </a:lnTo>
                <a:lnTo>
                  <a:pt x="181" y="261"/>
                </a:lnTo>
                <a:lnTo>
                  <a:pt x="181" y="255"/>
                </a:lnTo>
                <a:lnTo>
                  <a:pt x="187" y="250"/>
                </a:lnTo>
                <a:lnTo>
                  <a:pt x="193" y="244"/>
                </a:lnTo>
                <a:lnTo>
                  <a:pt x="198" y="244"/>
                </a:lnTo>
                <a:lnTo>
                  <a:pt x="198" y="238"/>
                </a:lnTo>
                <a:lnTo>
                  <a:pt x="204" y="238"/>
                </a:lnTo>
                <a:lnTo>
                  <a:pt x="204" y="233"/>
                </a:lnTo>
                <a:lnTo>
                  <a:pt x="210" y="233"/>
                </a:lnTo>
                <a:lnTo>
                  <a:pt x="210" y="227"/>
                </a:lnTo>
                <a:lnTo>
                  <a:pt x="210" y="221"/>
                </a:lnTo>
                <a:lnTo>
                  <a:pt x="215" y="221"/>
                </a:lnTo>
                <a:lnTo>
                  <a:pt x="215" y="216"/>
                </a:lnTo>
                <a:lnTo>
                  <a:pt x="221" y="210"/>
                </a:lnTo>
                <a:lnTo>
                  <a:pt x="227" y="210"/>
                </a:lnTo>
                <a:lnTo>
                  <a:pt x="232" y="210"/>
                </a:lnTo>
                <a:lnTo>
                  <a:pt x="238" y="210"/>
                </a:lnTo>
                <a:lnTo>
                  <a:pt x="244" y="210"/>
                </a:lnTo>
                <a:lnTo>
                  <a:pt x="249" y="210"/>
                </a:lnTo>
                <a:lnTo>
                  <a:pt x="255" y="204"/>
                </a:lnTo>
                <a:lnTo>
                  <a:pt x="255" y="199"/>
                </a:lnTo>
                <a:lnTo>
                  <a:pt x="255" y="193"/>
                </a:lnTo>
                <a:lnTo>
                  <a:pt x="249" y="193"/>
                </a:lnTo>
                <a:lnTo>
                  <a:pt x="249" y="187"/>
                </a:lnTo>
                <a:lnTo>
                  <a:pt x="244" y="187"/>
                </a:lnTo>
                <a:lnTo>
                  <a:pt x="244" y="182"/>
                </a:lnTo>
                <a:lnTo>
                  <a:pt x="238" y="182"/>
                </a:lnTo>
                <a:lnTo>
                  <a:pt x="238" y="176"/>
                </a:lnTo>
                <a:lnTo>
                  <a:pt x="238" y="170"/>
                </a:lnTo>
                <a:lnTo>
                  <a:pt x="238" y="165"/>
                </a:lnTo>
                <a:lnTo>
                  <a:pt x="232" y="165"/>
                </a:lnTo>
                <a:lnTo>
                  <a:pt x="232" y="159"/>
                </a:lnTo>
                <a:lnTo>
                  <a:pt x="227" y="159"/>
                </a:lnTo>
                <a:lnTo>
                  <a:pt x="227" y="153"/>
                </a:lnTo>
                <a:lnTo>
                  <a:pt x="227" y="148"/>
                </a:lnTo>
                <a:lnTo>
                  <a:pt x="227" y="142"/>
                </a:lnTo>
                <a:lnTo>
                  <a:pt x="221" y="136"/>
                </a:lnTo>
                <a:lnTo>
                  <a:pt x="215" y="131"/>
                </a:lnTo>
                <a:lnTo>
                  <a:pt x="215" y="125"/>
                </a:lnTo>
                <a:lnTo>
                  <a:pt x="198" y="114"/>
                </a:lnTo>
                <a:lnTo>
                  <a:pt x="198" y="108"/>
                </a:lnTo>
                <a:lnTo>
                  <a:pt x="193" y="102"/>
                </a:lnTo>
                <a:lnTo>
                  <a:pt x="187" y="97"/>
                </a:lnTo>
                <a:lnTo>
                  <a:pt x="193" y="97"/>
                </a:lnTo>
                <a:lnTo>
                  <a:pt x="198" y="97"/>
                </a:lnTo>
                <a:lnTo>
                  <a:pt x="198" y="91"/>
                </a:lnTo>
                <a:lnTo>
                  <a:pt x="210" y="85"/>
                </a:lnTo>
                <a:lnTo>
                  <a:pt x="210" y="80"/>
                </a:lnTo>
                <a:lnTo>
                  <a:pt x="215" y="80"/>
                </a:lnTo>
                <a:lnTo>
                  <a:pt x="221" y="68"/>
                </a:lnTo>
                <a:lnTo>
                  <a:pt x="227" y="68"/>
                </a:lnTo>
                <a:lnTo>
                  <a:pt x="232" y="68"/>
                </a:lnTo>
                <a:lnTo>
                  <a:pt x="244" y="63"/>
                </a:lnTo>
                <a:lnTo>
                  <a:pt x="255" y="63"/>
                </a:lnTo>
                <a:lnTo>
                  <a:pt x="266" y="63"/>
                </a:lnTo>
                <a:lnTo>
                  <a:pt x="272" y="63"/>
                </a:lnTo>
                <a:lnTo>
                  <a:pt x="272" y="68"/>
                </a:lnTo>
                <a:lnTo>
                  <a:pt x="283" y="68"/>
                </a:lnTo>
                <a:lnTo>
                  <a:pt x="289" y="63"/>
                </a:lnTo>
                <a:lnTo>
                  <a:pt x="295" y="57"/>
                </a:lnTo>
                <a:lnTo>
                  <a:pt x="300" y="57"/>
                </a:lnTo>
                <a:lnTo>
                  <a:pt x="300" y="51"/>
                </a:lnTo>
                <a:lnTo>
                  <a:pt x="300" y="46"/>
                </a:lnTo>
                <a:lnTo>
                  <a:pt x="300" y="40"/>
                </a:lnTo>
                <a:lnTo>
                  <a:pt x="300" y="34"/>
                </a:lnTo>
                <a:lnTo>
                  <a:pt x="295" y="29"/>
                </a:lnTo>
                <a:lnTo>
                  <a:pt x="289" y="29"/>
                </a:lnTo>
                <a:lnTo>
                  <a:pt x="283" y="29"/>
                </a:lnTo>
                <a:lnTo>
                  <a:pt x="272" y="29"/>
                </a:lnTo>
                <a:lnTo>
                  <a:pt x="272" y="23"/>
                </a:lnTo>
                <a:lnTo>
                  <a:pt x="278" y="17"/>
                </a:lnTo>
                <a:lnTo>
                  <a:pt x="283" y="17"/>
                </a:lnTo>
                <a:lnTo>
                  <a:pt x="283" y="12"/>
                </a:lnTo>
                <a:lnTo>
                  <a:pt x="289" y="12"/>
                </a:lnTo>
                <a:lnTo>
                  <a:pt x="295" y="6"/>
                </a:lnTo>
                <a:lnTo>
                  <a:pt x="295" y="0"/>
                </a:lnTo>
                <a:lnTo>
                  <a:pt x="300" y="0"/>
                </a:lnTo>
                <a:lnTo>
                  <a:pt x="306" y="0"/>
                </a:lnTo>
                <a:lnTo>
                  <a:pt x="312" y="6"/>
                </a:lnTo>
                <a:lnTo>
                  <a:pt x="317" y="6"/>
                </a:lnTo>
                <a:lnTo>
                  <a:pt x="329" y="6"/>
                </a:lnTo>
                <a:lnTo>
                  <a:pt x="334" y="6"/>
                </a:lnTo>
                <a:lnTo>
                  <a:pt x="346" y="12"/>
                </a:lnTo>
                <a:lnTo>
                  <a:pt x="351" y="12"/>
                </a:lnTo>
                <a:lnTo>
                  <a:pt x="357" y="12"/>
                </a:lnTo>
                <a:lnTo>
                  <a:pt x="363" y="12"/>
                </a:lnTo>
                <a:lnTo>
                  <a:pt x="374" y="17"/>
                </a:lnTo>
                <a:lnTo>
                  <a:pt x="380" y="17"/>
                </a:lnTo>
                <a:lnTo>
                  <a:pt x="391" y="23"/>
                </a:lnTo>
                <a:lnTo>
                  <a:pt x="397" y="23"/>
                </a:lnTo>
                <a:lnTo>
                  <a:pt x="408" y="23"/>
                </a:lnTo>
                <a:lnTo>
                  <a:pt x="414" y="23"/>
                </a:lnTo>
                <a:lnTo>
                  <a:pt x="419" y="29"/>
                </a:lnTo>
                <a:lnTo>
                  <a:pt x="425" y="29"/>
                </a:lnTo>
                <a:lnTo>
                  <a:pt x="431" y="29"/>
                </a:lnTo>
                <a:lnTo>
                  <a:pt x="431" y="34"/>
                </a:lnTo>
                <a:lnTo>
                  <a:pt x="425" y="40"/>
                </a:lnTo>
                <a:lnTo>
                  <a:pt x="425" y="46"/>
                </a:lnTo>
                <a:lnTo>
                  <a:pt x="425" y="51"/>
                </a:lnTo>
                <a:lnTo>
                  <a:pt x="425" y="57"/>
                </a:lnTo>
                <a:lnTo>
                  <a:pt x="425" y="68"/>
                </a:lnTo>
                <a:lnTo>
                  <a:pt x="431" y="68"/>
                </a:lnTo>
                <a:lnTo>
                  <a:pt x="436" y="80"/>
                </a:lnTo>
                <a:lnTo>
                  <a:pt x="442" y="80"/>
                </a:lnTo>
                <a:lnTo>
                  <a:pt x="448" y="80"/>
                </a:lnTo>
                <a:lnTo>
                  <a:pt x="448" y="85"/>
                </a:lnTo>
                <a:lnTo>
                  <a:pt x="453" y="85"/>
                </a:lnTo>
                <a:lnTo>
                  <a:pt x="453" y="91"/>
                </a:lnTo>
                <a:lnTo>
                  <a:pt x="459" y="91"/>
                </a:lnTo>
                <a:lnTo>
                  <a:pt x="465" y="91"/>
                </a:lnTo>
                <a:lnTo>
                  <a:pt x="470" y="85"/>
                </a:lnTo>
                <a:lnTo>
                  <a:pt x="476" y="85"/>
                </a:lnTo>
                <a:lnTo>
                  <a:pt x="476" y="80"/>
                </a:lnTo>
                <a:lnTo>
                  <a:pt x="482" y="80"/>
                </a:lnTo>
                <a:lnTo>
                  <a:pt x="487" y="80"/>
                </a:lnTo>
                <a:lnTo>
                  <a:pt x="493" y="74"/>
                </a:lnTo>
                <a:lnTo>
                  <a:pt x="504" y="74"/>
                </a:lnTo>
                <a:lnTo>
                  <a:pt x="510" y="74"/>
                </a:lnTo>
                <a:lnTo>
                  <a:pt x="521" y="74"/>
                </a:lnTo>
                <a:lnTo>
                  <a:pt x="527" y="74"/>
                </a:lnTo>
                <a:lnTo>
                  <a:pt x="533" y="74"/>
                </a:lnTo>
                <a:lnTo>
                  <a:pt x="538" y="74"/>
                </a:lnTo>
                <a:lnTo>
                  <a:pt x="544" y="80"/>
                </a:lnTo>
                <a:lnTo>
                  <a:pt x="550" y="80"/>
                </a:lnTo>
                <a:lnTo>
                  <a:pt x="550" y="85"/>
                </a:lnTo>
                <a:lnTo>
                  <a:pt x="550" y="91"/>
                </a:lnTo>
                <a:lnTo>
                  <a:pt x="550" y="97"/>
                </a:lnTo>
                <a:lnTo>
                  <a:pt x="555" y="97"/>
                </a:lnTo>
                <a:lnTo>
                  <a:pt x="555" y="102"/>
                </a:lnTo>
                <a:lnTo>
                  <a:pt x="561" y="108"/>
                </a:lnTo>
                <a:lnTo>
                  <a:pt x="561" y="114"/>
                </a:lnTo>
                <a:lnTo>
                  <a:pt x="567" y="114"/>
                </a:lnTo>
                <a:lnTo>
                  <a:pt x="572" y="119"/>
                </a:lnTo>
                <a:lnTo>
                  <a:pt x="572" y="125"/>
                </a:lnTo>
                <a:lnTo>
                  <a:pt x="584" y="125"/>
                </a:lnTo>
                <a:lnTo>
                  <a:pt x="589" y="131"/>
                </a:lnTo>
                <a:lnTo>
                  <a:pt x="589" y="136"/>
                </a:lnTo>
                <a:lnTo>
                  <a:pt x="595" y="136"/>
                </a:lnTo>
                <a:lnTo>
                  <a:pt x="595" y="142"/>
                </a:lnTo>
                <a:lnTo>
                  <a:pt x="595" y="159"/>
                </a:lnTo>
                <a:lnTo>
                  <a:pt x="584" y="153"/>
                </a:lnTo>
                <a:lnTo>
                  <a:pt x="584" y="159"/>
                </a:lnTo>
                <a:lnTo>
                  <a:pt x="584" y="165"/>
                </a:lnTo>
                <a:lnTo>
                  <a:pt x="578" y="165"/>
                </a:lnTo>
                <a:lnTo>
                  <a:pt x="584" y="170"/>
                </a:lnTo>
                <a:lnTo>
                  <a:pt x="578" y="170"/>
                </a:lnTo>
                <a:lnTo>
                  <a:pt x="578" y="176"/>
                </a:lnTo>
                <a:lnTo>
                  <a:pt x="578" y="182"/>
                </a:lnTo>
                <a:lnTo>
                  <a:pt x="578" y="187"/>
                </a:lnTo>
                <a:lnTo>
                  <a:pt x="572" y="204"/>
                </a:lnTo>
                <a:lnTo>
                  <a:pt x="567" y="204"/>
                </a:lnTo>
                <a:lnTo>
                  <a:pt x="555" y="199"/>
                </a:lnTo>
                <a:lnTo>
                  <a:pt x="555" y="193"/>
                </a:lnTo>
                <a:lnTo>
                  <a:pt x="550" y="193"/>
                </a:lnTo>
                <a:lnTo>
                  <a:pt x="544" y="193"/>
                </a:lnTo>
                <a:lnTo>
                  <a:pt x="538" y="193"/>
                </a:lnTo>
                <a:lnTo>
                  <a:pt x="538" y="199"/>
                </a:lnTo>
                <a:lnTo>
                  <a:pt x="538" y="204"/>
                </a:lnTo>
                <a:lnTo>
                  <a:pt x="538" y="210"/>
                </a:lnTo>
                <a:lnTo>
                  <a:pt x="538" y="216"/>
                </a:lnTo>
                <a:lnTo>
                  <a:pt x="533" y="216"/>
                </a:lnTo>
                <a:lnTo>
                  <a:pt x="527" y="221"/>
                </a:lnTo>
                <a:lnTo>
                  <a:pt x="521" y="233"/>
                </a:lnTo>
                <a:lnTo>
                  <a:pt x="521" y="238"/>
                </a:lnTo>
                <a:lnTo>
                  <a:pt x="510" y="250"/>
                </a:lnTo>
                <a:lnTo>
                  <a:pt x="504" y="250"/>
                </a:lnTo>
                <a:lnTo>
                  <a:pt x="499" y="255"/>
                </a:lnTo>
                <a:lnTo>
                  <a:pt x="493" y="255"/>
                </a:lnTo>
                <a:lnTo>
                  <a:pt x="482" y="261"/>
                </a:lnTo>
                <a:lnTo>
                  <a:pt x="482" y="267"/>
                </a:lnTo>
                <a:lnTo>
                  <a:pt x="476" y="267"/>
                </a:lnTo>
                <a:lnTo>
                  <a:pt x="476" y="278"/>
                </a:lnTo>
                <a:lnTo>
                  <a:pt x="470" y="284"/>
                </a:lnTo>
                <a:lnTo>
                  <a:pt x="465" y="289"/>
                </a:lnTo>
                <a:lnTo>
                  <a:pt x="453" y="301"/>
                </a:lnTo>
                <a:lnTo>
                  <a:pt x="442" y="306"/>
                </a:lnTo>
                <a:lnTo>
                  <a:pt x="442" y="312"/>
                </a:lnTo>
                <a:lnTo>
                  <a:pt x="431" y="318"/>
                </a:lnTo>
                <a:lnTo>
                  <a:pt x="419" y="329"/>
                </a:lnTo>
                <a:lnTo>
                  <a:pt x="414" y="335"/>
                </a:lnTo>
                <a:lnTo>
                  <a:pt x="408" y="335"/>
                </a:lnTo>
                <a:lnTo>
                  <a:pt x="408" y="340"/>
                </a:lnTo>
                <a:lnTo>
                  <a:pt x="391" y="352"/>
                </a:lnTo>
                <a:lnTo>
                  <a:pt x="385" y="352"/>
                </a:lnTo>
                <a:lnTo>
                  <a:pt x="385" y="357"/>
                </a:lnTo>
                <a:lnTo>
                  <a:pt x="380" y="363"/>
                </a:lnTo>
                <a:lnTo>
                  <a:pt x="368" y="369"/>
                </a:lnTo>
                <a:lnTo>
                  <a:pt x="363" y="374"/>
                </a:lnTo>
                <a:lnTo>
                  <a:pt x="363" y="380"/>
                </a:lnTo>
                <a:lnTo>
                  <a:pt x="363" y="386"/>
                </a:lnTo>
                <a:lnTo>
                  <a:pt x="368" y="386"/>
                </a:lnTo>
                <a:lnTo>
                  <a:pt x="368" y="391"/>
                </a:lnTo>
                <a:lnTo>
                  <a:pt x="363" y="397"/>
                </a:lnTo>
                <a:lnTo>
                  <a:pt x="368" y="403"/>
                </a:lnTo>
                <a:lnTo>
                  <a:pt x="363" y="408"/>
                </a:lnTo>
                <a:lnTo>
                  <a:pt x="357" y="420"/>
                </a:lnTo>
                <a:lnTo>
                  <a:pt x="351" y="414"/>
                </a:lnTo>
                <a:lnTo>
                  <a:pt x="351" y="420"/>
                </a:lnTo>
                <a:lnTo>
                  <a:pt x="351" y="425"/>
                </a:lnTo>
                <a:lnTo>
                  <a:pt x="357" y="431"/>
                </a:lnTo>
                <a:lnTo>
                  <a:pt x="363" y="437"/>
                </a:lnTo>
                <a:lnTo>
                  <a:pt x="368" y="442"/>
                </a:lnTo>
                <a:lnTo>
                  <a:pt x="374" y="448"/>
                </a:lnTo>
                <a:lnTo>
                  <a:pt x="380" y="454"/>
                </a:lnTo>
                <a:lnTo>
                  <a:pt x="385" y="459"/>
                </a:lnTo>
                <a:lnTo>
                  <a:pt x="385" y="465"/>
                </a:lnTo>
                <a:lnTo>
                  <a:pt x="385" y="471"/>
                </a:lnTo>
                <a:lnTo>
                  <a:pt x="380" y="471"/>
                </a:lnTo>
                <a:lnTo>
                  <a:pt x="380" y="476"/>
                </a:lnTo>
                <a:lnTo>
                  <a:pt x="374" y="488"/>
                </a:lnTo>
                <a:lnTo>
                  <a:pt x="368" y="488"/>
                </a:lnTo>
                <a:lnTo>
                  <a:pt x="368" y="493"/>
                </a:lnTo>
                <a:lnTo>
                  <a:pt x="368" y="499"/>
                </a:lnTo>
                <a:lnTo>
                  <a:pt x="368" y="505"/>
                </a:lnTo>
                <a:lnTo>
                  <a:pt x="363" y="510"/>
                </a:lnTo>
                <a:lnTo>
                  <a:pt x="357" y="516"/>
                </a:lnTo>
                <a:lnTo>
                  <a:pt x="363" y="522"/>
                </a:lnTo>
                <a:lnTo>
                  <a:pt x="363" y="527"/>
                </a:lnTo>
                <a:lnTo>
                  <a:pt x="363" y="533"/>
                </a:lnTo>
                <a:lnTo>
                  <a:pt x="357" y="539"/>
                </a:lnTo>
                <a:lnTo>
                  <a:pt x="357" y="550"/>
                </a:lnTo>
                <a:lnTo>
                  <a:pt x="351" y="556"/>
                </a:lnTo>
                <a:lnTo>
                  <a:pt x="351" y="567"/>
                </a:lnTo>
                <a:lnTo>
                  <a:pt x="351" y="578"/>
                </a:lnTo>
                <a:lnTo>
                  <a:pt x="351" y="584"/>
                </a:lnTo>
                <a:lnTo>
                  <a:pt x="351" y="590"/>
                </a:lnTo>
                <a:lnTo>
                  <a:pt x="351" y="595"/>
                </a:lnTo>
                <a:lnTo>
                  <a:pt x="351" y="601"/>
                </a:lnTo>
                <a:lnTo>
                  <a:pt x="351" y="607"/>
                </a:lnTo>
                <a:lnTo>
                  <a:pt x="346" y="613"/>
                </a:lnTo>
                <a:lnTo>
                  <a:pt x="346" y="618"/>
                </a:lnTo>
                <a:lnTo>
                  <a:pt x="340" y="624"/>
                </a:lnTo>
                <a:lnTo>
                  <a:pt x="340" y="630"/>
                </a:lnTo>
                <a:lnTo>
                  <a:pt x="334" y="630"/>
                </a:lnTo>
                <a:lnTo>
                  <a:pt x="329" y="635"/>
                </a:lnTo>
                <a:lnTo>
                  <a:pt x="329" y="641"/>
                </a:lnTo>
                <a:lnTo>
                  <a:pt x="323" y="641"/>
                </a:lnTo>
                <a:lnTo>
                  <a:pt x="317" y="647"/>
                </a:lnTo>
                <a:lnTo>
                  <a:pt x="317" y="652"/>
                </a:lnTo>
                <a:lnTo>
                  <a:pt x="312" y="658"/>
                </a:lnTo>
                <a:lnTo>
                  <a:pt x="317" y="658"/>
                </a:lnTo>
                <a:lnTo>
                  <a:pt x="312" y="658"/>
                </a:lnTo>
                <a:lnTo>
                  <a:pt x="312" y="664"/>
                </a:lnTo>
                <a:lnTo>
                  <a:pt x="306" y="669"/>
                </a:lnTo>
                <a:lnTo>
                  <a:pt x="306" y="675"/>
                </a:lnTo>
                <a:lnTo>
                  <a:pt x="312" y="675"/>
                </a:lnTo>
                <a:lnTo>
                  <a:pt x="306" y="675"/>
                </a:lnTo>
                <a:lnTo>
                  <a:pt x="306" y="681"/>
                </a:lnTo>
                <a:lnTo>
                  <a:pt x="300" y="686"/>
                </a:lnTo>
                <a:lnTo>
                  <a:pt x="295" y="692"/>
                </a:lnTo>
                <a:lnTo>
                  <a:pt x="295" y="698"/>
                </a:lnTo>
                <a:lnTo>
                  <a:pt x="295" y="703"/>
                </a:lnTo>
                <a:lnTo>
                  <a:pt x="283" y="703"/>
                </a:lnTo>
                <a:lnTo>
                  <a:pt x="278" y="709"/>
                </a:lnTo>
                <a:lnTo>
                  <a:pt x="278" y="715"/>
                </a:lnTo>
                <a:lnTo>
                  <a:pt x="278" y="720"/>
                </a:lnTo>
                <a:lnTo>
                  <a:pt x="283" y="726"/>
                </a:lnTo>
                <a:lnTo>
                  <a:pt x="283" y="732"/>
                </a:lnTo>
                <a:lnTo>
                  <a:pt x="278" y="737"/>
                </a:lnTo>
                <a:lnTo>
                  <a:pt x="272" y="743"/>
                </a:lnTo>
                <a:lnTo>
                  <a:pt x="266" y="743"/>
                </a:lnTo>
                <a:lnTo>
                  <a:pt x="266" y="737"/>
                </a:lnTo>
                <a:lnTo>
                  <a:pt x="261" y="737"/>
                </a:lnTo>
                <a:lnTo>
                  <a:pt x="255" y="743"/>
                </a:lnTo>
                <a:lnTo>
                  <a:pt x="249" y="754"/>
                </a:lnTo>
                <a:lnTo>
                  <a:pt x="249" y="760"/>
                </a:lnTo>
                <a:lnTo>
                  <a:pt x="249" y="771"/>
                </a:lnTo>
                <a:lnTo>
                  <a:pt x="249" y="777"/>
                </a:lnTo>
                <a:lnTo>
                  <a:pt x="244" y="777"/>
                </a:lnTo>
                <a:lnTo>
                  <a:pt x="244" y="783"/>
                </a:lnTo>
                <a:lnTo>
                  <a:pt x="238" y="783"/>
                </a:lnTo>
                <a:lnTo>
                  <a:pt x="232" y="783"/>
                </a:lnTo>
                <a:lnTo>
                  <a:pt x="232" y="777"/>
                </a:lnTo>
                <a:lnTo>
                  <a:pt x="227" y="777"/>
                </a:lnTo>
                <a:lnTo>
                  <a:pt x="227" y="771"/>
                </a:lnTo>
                <a:lnTo>
                  <a:pt x="227" y="766"/>
                </a:lnTo>
                <a:lnTo>
                  <a:pt x="232" y="771"/>
                </a:lnTo>
                <a:lnTo>
                  <a:pt x="232" y="766"/>
                </a:lnTo>
                <a:lnTo>
                  <a:pt x="227" y="760"/>
                </a:lnTo>
                <a:lnTo>
                  <a:pt x="221" y="766"/>
                </a:lnTo>
                <a:lnTo>
                  <a:pt x="215" y="766"/>
                </a:lnTo>
                <a:lnTo>
                  <a:pt x="215" y="771"/>
                </a:lnTo>
                <a:lnTo>
                  <a:pt x="210" y="771"/>
                </a:lnTo>
                <a:lnTo>
                  <a:pt x="210" y="766"/>
                </a:lnTo>
                <a:lnTo>
                  <a:pt x="204" y="766"/>
                </a:lnTo>
                <a:lnTo>
                  <a:pt x="198" y="760"/>
                </a:lnTo>
                <a:lnTo>
                  <a:pt x="204" y="754"/>
                </a:lnTo>
                <a:lnTo>
                  <a:pt x="204" y="749"/>
                </a:lnTo>
                <a:lnTo>
                  <a:pt x="198" y="749"/>
                </a:lnTo>
                <a:lnTo>
                  <a:pt x="193" y="749"/>
                </a:lnTo>
                <a:lnTo>
                  <a:pt x="187" y="743"/>
                </a:lnTo>
                <a:lnTo>
                  <a:pt x="181" y="737"/>
                </a:lnTo>
                <a:lnTo>
                  <a:pt x="181" y="732"/>
                </a:lnTo>
                <a:lnTo>
                  <a:pt x="176" y="732"/>
                </a:lnTo>
                <a:lnTo>
                  <a:pt x="170" y="726"/>
                </a:lnTo>
                <a:lnTo>
                  <a:pt x="164" y="72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0" name="Freeform 21"/>
          <p:cNvSpPr>
            <a:spLocks/>
          </p:cNvSpPr>
          <p:nvPr/>
        </p:nvSpPr>
        <p:spPr bwMode="gray">
          <a:xfrm>
            <a:off x="2206223" y="5176705"/>
            <a:ext cx="1065855" cy="902198"/>
          </a:xfrm>
          <a:custGeom>
            <a:avLst/>
            <a:gdLst>
              <a:gd name="T0" fmla="*/ 2147483647 w 629"/>
              <a:gd name="T1" fmla="*/ 2147483647 h 533"/>
              <a:gd name="T2" fmla="*/ 2147483647 w 629"/>
              <a:gd name="T3" fmla="*/ 2147483647 h 533"/>
              <a:gd name="T4" fmla="*/ 2147483647 w 629"/>
              <a:gd name="T5" fmla="*/ 2147483647 h 533"/>
              <a:gd name="T6" fmla="*/ 2147483647 w 629"/>
              <a:gd name="T7" fmla="*/ 2147483647 h 533"/>
              <a:gd name="T8" fmla="*/ 2147483647 w 629"/>
              <a:gd name="T9" fmla="*/ 2147483647 h 533"/>
              <a:gd name="T10" fmla="*/ 2147483647 w 629"/>
              <a:gd name="T11" fmla="*/ 2147483647 h 533"/>
              <a:gd name="T12" fmla="*/ 2147483647 w 629"/>
              <a:gd name="T13" fmla="*/ 2147483647 h 533"/>
              <a:gd name="T14" fmla="*/ 2147483647 w 629"/>
              <a:gd name="T15" fmla="*/ 2147483647 h 533"/>
              <a:gd name="T16" fmla="*/ 2147483647 w 629"/>
              <a:gd name="T17" fmla="*/ 2147483647 h 533"/>
              <a:gd name="T18" fmla="*/ 2147483647 w 629"/>
              <a:gd name="T19" fmla="*/ 2147483647 h 533"/>
              <a:gd name="T20" fmla="*/ 2147483647 w 629"/>
              <a:gd name="T21" fmla="*/ 2147483647 h 533"/>
              <a:gd name="T22" fmla="*/ 2147483647 w 629"/>
              <a:gd name="T23" fmla="*/ 2147483647 h 533"/>
              <a:gd name="T24" fmla="*/ 2147483647 w 629"/>
              <a:gd name="T25" fmla="*/ 2147483647 h 533"/>
              <a:gd name="T26" fmla="*/ 2147483647 w 629"/>
              <a:gd name="T27" fmla="*/ 2147483647 h 533"/>
              <a:gd name="T28" fmla="*/ 2147483647 w 629"/>
              <a:gd name="T29" fmla="*/ 2147483647 h 533"/>
              <a:gd name="T30" fmla="*/ 2147483647 w 629"/>
              <a:gd name="T31" fmla="*/ 2147483647 h 533"/>
              <a:gd name="T32" fmla="*/ 2147483647 w 629"/>
              <a:gd name="T33" fmla="*/ 2147483647 h 533"/>
              <a:gd name="T34" fmla="*/ 2147483647 w 629"/>
              <a:gd name="T35" fmla="*/ 2147483647 h 533"/>
              <a:gd name="T36" fmla="*/ 2147483647 w 629"/>
              <a:gd name="T37" fmla="*/ 2147483647 h 533"/>
              <a:gd name="T38" fmla="*/ 2147483647 w 629"/>
              <a:gd name="T39" fmla="*/ 2147483647 h 533"/>
              <a:gd name="T40" fmla="*/ 2147483647 w 629"/>
              <a:gd name="T41" fmla="*/ 2147483647 h 533"/>
              <a:gd name="T42" fmla="*/ 2147483647 w 629"/>
              <a:gd name="T43" fmla="*/ 2147483647 h 533"/>
              <a:gd name="T44" fmla="*/ 2147483647 w 629"/>
              <a:gd name="T45" fmla="*/ 2147483647 h 533"/>
              <a:gd name="T46" fmla="*/ 2147483647 w 629"/>
              <a:gd name="T47" fmla="*/ 2147483647 h 533"/>
              <a:gd name="T48" fmla="*/ 2147483647 w 629"/>
              <a:gd name="T49" fmla="*/ 2147483647 h 533"/>
              <a:gd name="T50" fmla="*/ 2147483647 w 629"/>
              <a:gd name="T51" fmla="*/ 2147483647 h 533"/>
              <a:gd name="T52" fmla="*/ 2147483647 w 629"/>
              <a:gd name="T53" fmla="*/ 2147483647 h 533"/>
              <a:gd name="T54" fmla="*/ 2147483647 w 629"/>
              <a:gd name="T55" fmla="*/ 2147483647 h 533"/>
              <a:gd name="T56" fmla="*/ 2147483647 w 629"/>
              <a:gd name="T57" fmla="*/ 2147483647 h 533"/>
              <a:gd name="T58" fmla="*/ 2147483647 w 629"/>
              <a:gd name="T59" fmla="*/ 2147483647 h 533"/>
              <a:gd name="T60" fmla="*/ 2147483647 w 629"/>
              <a:gd name="T61" fmla="*/ 2147483647 h 533"/>
              <a:gd name="T62" fmla="*/ 2147483647 w 629"/>
              <a:gd name="T63" fmla="*/ 2147483647 h 533"/>
              <a:gd name="T64" fmla="*/ 2147483647 w 629"/>
              <a:gd name="T65" fmla="*/ 2147483647 h 533"/>
              <a:gd name="T66" fmla="*/ 2147483647 w 629"/>
              <a:gd name="T67" fmla="*/ 2147483647 h 533"/>
              <a:gd name="T68" fmla="*/ 2147483647 w 629"/>
              <a:gd name="T69" fmla="*/ 2147483647 h 533"/>
              <a:gd name="T70" fmla="*/ 2147483647 w 629"/>
              <a:gd name="T71" fmla="*/ 2147483647 h 533"/>
              <a:gd name="T72" fmla="*/ 2147483647 w 629"/>
              <a:gd name="T73" fmla="*/ 2147483647 h 533"/>
              <a:gd name="T74" fmla="*/ 2147483647 w 629"/>
              <a:gd name="T75" fmla="*/ 2147483647 h 533"/>
              <a:gd name="T76" fmla="*/ 2147483647 w 629"/>
              <a:gd name="T77" fmla="*/ 2147483647 h 533"/>
              <a:gd name="T78" fmla="*/ 2147483647 w 629"/>
              <a:gd name="T79" fmla="*/ 2147483647 h 533"/>
              <a:gd name="T80" fmla="*/ 2147483647 w 629"/>
              <a:gd name="T81" fmla="*/ 2147483647 h 533"/>
              <a:gd name="T82" fmla="*/ 2147483647 w 629"/>
              <a:gd name="T83" fmla="*/ 2147483647 h 533"/>
              <a:gd name="T84" fmla="*/ 2147483647 w 629"/>
              <a:gd name="T85" fmla="*/ 2147483647 h 533"/>
              <a:gd name="T86" fmla="*/ 2147483647 w 629"/>
              <a:gd name="T87" fmla="*/ 2147483647 h 533"/>
              <a:gd name="T88" fmla="*/ 2147483647 w 629"/>
              <a:gd name="T89" fmla="*/ 2147483647 h 533"/>
              <a:gd name="T90" fmla="*/ 2147483647 w 629"/>
              <a:gd name="T91" fmla="*/ 2147483647 h 533"/>
              <a:gd name="T92" fmla="*/ 2147483647 w 629"/>
              <a:gd name="T93" fmla="*/ 2147483647 h 533"/>
              <a:gd name="T94" fmla="*/ 2147483647 w 629"/>
              <a:gd name="T95" fmla="*/ 2147483647 h 533"/>
              <a:gd name="T96" fmla="*/ 2147483647 w 629"/>
              <a:gd name="T97" fmla="*/ 2147483647 h 533"/>
              <a:gd name="T98" fmla="*/ 2147483647 w 629"/>
              <a:gd name="T99" fmla="*/ 2147483647 h 533"/>
              <a:gd name="T100" fmla="*/ 2147483647 w 629"/>
              <a:gd name="T101" fmla="*/ 2147483647 h 533"/>
              <a:gd name="T102" fmla="*/ 2147483647 w 629"/>
              <a:gd name="T103" fmla="*/ 2147483647 h 533"/>
              <a:gd name="T104" fmla="*/ 2147483647 w 629"/>
              <a:gd name="T105" fmla="*/ 2147483647 h 533"/>
              <a:gd name="T106" fmla="*/ 2147483647 w 629"/>
              <a:gd name="T107" fmla="*/ 2147483647 h 533"/>
              <a:gd name="T108" fmla="*/ 2147483647 w 629"/>
              <a:gd name="T109" fmla="*/ 2147483647 h 533"/>
              <a:gd name="T110" fmla="*/ 2147483647 w 629"/>
              <a:gd name="T111" fmla="*/ 2147483647 h 533"/>
              <a:gd name="T112" fmla="*/ 2147483647 w 629"/>
              <a:gd name="T113" fmla="*/ 2147483647 h 533"/>
              <a:gd name="T114" fmla="*/ 2147483647 w 629"/>
              <a:gd name="T115" fmla="*/ 2147483647 h 533"/>
              <a:gd name="T116" fmla="*/ 2147483647 w 629"/>
              <a:gd name="T117" fmla="*/ 2147483647 h 533"/>
              <a:gd name="T118" fmla="*/ 2147483647 w 629"/>
              <a:gd name="T119" fmla="*/ 2147483647 h 533"/>
              <a:gd name="T120" fmla="*/ 2147483647 w 629"/>
              <a:gd name="T121" fmla="*/ 2147483647 h 53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29"/>
              <a:gd name="T184" fmla="*/ 0 h 533"/>
              <a:gd name="T185" fmla="*/ 629 w 629"/>
              <a:gd name="T186" fmla="*/ 533 h 53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29" h="533">
                <a:moveTo>
                  <a:pt x="0" y="221"/>
                </a:moveTo>
                <a:lnTo>
                  <a:pt x="0" y="216"/>
                </a:lnTo>
                <a:lnTo>
                  <a:pt x="12" y="204"/>
                </a:lnTo>
                <a:lnTo>
                  <a:pt x="17" y="199"/>
                </a:lnTo>
                <a:lnTo>
                  <a:pt x="17" y="193"/>
                </a:lnTo>
                <a:lnTo>
                  <a:pt x="17" y="187"/>
                </a:lnTo>
                <a:lnTo>
                  <a:pt x="23" y="182"/>
                </a:lnTo>
                <a:lnTo>
                  <a:pt x="29" y="176"/>
                </a:lnTo>
                <a:lnTo>
                  <a:pt x="29" y="170"/>
                </a:lnTo>
                <a:lnTo>
                  <a:pt x="29" y="165"/>
                </a:lnTo>
                <a:lnTo>
                  <a:pt x="34" y="159"/>
                </a:lnTo>
                <a:lnTo>
                  <a:pt x="34" y="153"/>
                </a:lnTo>
                <a:lnTo>
                  <a:pt x="40" y="153"/>
                </a:lnTo>
                <a:lnTo>
                  <a:pt x="40" y="142"/>
                </a:lnTo>
                <a:lnTo>
                  <a:pt x="40" y="136"/>
                </a:lnTo>
                <a:lnTo>
                  <a:pt x="46" y="136"/>
                </a:lnTo>
                <a:lnTo>
                  <a:pt x="46" y="131"/>
                </a:lnTo>
                <a:lnTo>
                  <a:pt x="51" y="131"/>
                </a:lnTo>
                <a:lnTo>
                  <a:pt x="51" y="125"/>
                </a:lnTo>
                <a:lnTo>
                  <a:pt x="57" y="125"/>
                </a:lnTo>
                <a:lnTo>
                  <a:pt x="63" y="125"/>
                </a:lnTo>
                <a:lnTo>
                  <a:pt x="68" y="131"/>
                </a:lnTo>
                <a:lnTo>
                  <a:pt x="74" y="131"/>
                </a:lnTo>
                <a:lnTo>
                  <a:pt x="74" y="136"/>
                </a:lnTo>
                <a:lnTo>
                  <a:pt x="80" y="136"/>
                </a:lnTo>
                <a:lnTo>
                  <a:pt x="80" y="142"/>
                </a:lnTo>
                <a:lnTo>
                  <a:pt x="85" y="142"/>
                </a:lnTo>
                <a:lnTo>
                  <a:pt x="91" y="148"/>
                </a:lnTo>
                <a:lnTo>
                  <a:pt x="91" y="153"/>
                </a:lnTo>
                <a:lnTo>
                  <a:pt x="91" y="159"/>
                </a:lnTo>
                <a:lnTo>
                  <a:pt x="97" y="159"/>
                </a:lnTo>
                <a:lnTo>
                  <a:pt x="102" y="165"/>
                </a:lnTo>
                <a:lnTo>
                  <a:pt x="102" y="170"/>
                </a:lnTo>
                <a:lnTo>
                  <a:pt x="97" y="170"/>
                </a:lnTo>
                <a:lnTo>
                  <a:pt x="97" y="182"/>
                </a:lnTo>
                <a:lnTo>
                  <a:pt x="97" y="187"/>
                </a:lnTo>
                <a:lnTo>
                  <a:pt x="97" y="193"/>
                </a:lnTo>
                <a:lnTo>
                  <a:pt x="97" y="199"/>
                </a:lnTo>
                <a:lnTo>
                  <a:pt x="102" y="199"/>
                </a:lnTo>
                <a:lnTo>
                  <a:pt x="102" y="204"/>
                </a:lnTo>
                <a:lnTo>
                  <a:pt x="108" y="210"/>
                </a:lnTo>
                <a:lnTo>
                  <a:pt x="114" y="210"/>
                </a:lnTo>
                <a:lnTo>
                  <a:pt x="119" y="210"/>
                </a:lnTo>
                <a:lnTo>
                  <a:pt x="119" y="204"/>
                </a:lnTo>
                <a:lnTo>
                  <a:pt x="125" y="199"/>
                </a:lnTo>
                <a:lnTo>
                  <a:pt x="131" y="199"/>
                </a:lnTo>
                <a:lnTo>
                  <a:pt x="136" y="199"/>
                </a:lnTo>
                <a:lnTo>
                  <a:pt x="136" y="193"/>
                </a:lnTo>
                <a:lnTo>
                  <a:pt x="136" y="187"/>
                </a:lnTo>
                <a:lnTo>
                  <a:pt x="136" y="182"/>
                </a:lnTo>
                <a:lnTo>
                  <a:pt x="131" y="182"/>
                </a:lnTo>
                <a:lnTo>
                  <a:pt x="131" y="176"/>
                </a:lnTo>
                <a:lnTo>
                  <a:pt x="131" y="170"/>
                </a:lnTo>
                <a:lnTo>
                  <a:pt x="136" y="170"/>
                </a:lnTo>
                <a:lnTo>
                  <a:pt x="142" y="170"/>
                </a:lnTo>
                <a:lnTo>
                  <a:pt x="148" y="170"/>
                </a:lnTo>
                <a:lnTo>
                  <a:pt x="153" y="170"/>
                </a:lnTo>
                <a:lnTo>
                  <a:pt x="153" y="176"/>
                </a:lnTo>
                <a:lnTo>
                  <a:pt x="159" y="176"/>
                </a:lnTo>
                <a:lnTo>
                  <a:pt x="165" y="176"/>
                </a:lnTo>
                <a:lnTo>
                  <a:pt x="165" y="170"/>
                </a:lnTo>
                <a:lnTo>
                  <a:pt x="170" y="170"/>
                </a:lnTo>
                <a:lnTo>
                  <a:pt x="176" y="170"/>
                </a:lnTo>
                <a:lnTo>
                  <a:pt x="176" y="176"/>
                </a:lnTo>
                <a:lnTo>
                  <a:pt x="182" y="170"/>
                </a:lnTo>
                <a:lnTo>
                  <a:pt x="193" y="170"/>
                </a:lnTo>
                <a:lnTo>
                  <a:pt x="193" y="176"/>
                </a:lnTo>
                <a:lnTo>
                  <a:pt x="199" y="182"/>
                </a:lnTo>
                <a:lnTo>
                  <a:pt x="204" y="182"/>
                </a:lnTo>
                <a:lnTo>
                  <a:pt x="210" y="182"/>
                </a:lnTo>
                <a:lnTo>
                  <a:pt x="216" y="182"/>
                </a:lnTo>
                <a:lnTo>
                  <a:pt x="216" y="176"/>
                </a:lnTo>
                <a:lnTo>
                  <a:pt x="221" y="176"/>
                </a:lnTo>
                <a:lnTo>
                  <a:pt x="221" y="170"/>
                </a:lnTo>
                <a:lnTo>
                  <a:pt x="227" y="170"/>
                </a:lnTo>
                <a:lnTo>
                  <a:pt x="233" y="170"/>
                </a:lnTo>
                <a:lnTo>
                  <a:pt x="238" y="165"/>
                </a:lnTo>
                <a:lnTo>
                  <a:pt x="244" y="165"/>
                </a:lnTo>
                <a:lnTo>
                  <a:pt x="244" y="159"/>
                </a:lnTo>
                <a:lnTo>
                  <a:pt x="250" y="159"/>
                </a:lnTo>
                <a:lnTo>
                  <a:pt x="261" y="165"/>
                </a:lnTo>
                <a:lnTo>
                  <a:pt x="261" y="170"/>
                </a:lnTo>
                <a:lnTo>
                  <a:pt x="267" y="170"/>
                </a:lnTo>
                <a:lnTo>
                  <a:pt x="272" y="176"/>
                </a:lnTo>
                <a:lnTo>
                  <a:pt x="278" y="176"/>
                </a:lnTo>
                <a:lnTo>
                  <a:pt x="278" y="182"/>
                </a:lnTo>
                <a:lnTo>
                  <a:pt x="284" y="182"/>
                </a:lnTo>
                <a:lnTo>
                  <a:pt x="289" y="182"/>
                </a:lnTo>
                <a:lnTo>
                  <a:pt x="295" y="187"/>
                </a:lnTo>
                <a:lnTo>
                  <a:pt x="306" y="193"/>
                </a:lnTo>
                <a:lnTo>
                  <a:pt x="306" y="199"/>
                </a:lnTo>
                <a:lnTo>
                  <a:pt x="312" y="199"/>
                </a:lnTo>
                <a:lnTo>
                  <a:pt x="312" y="204"/>
                </a:lnTo>
                <a:lnTo>
                  <a:pt x="318" y="210"/>
                </a:lnTo>
                <a:lnTo>
                  <a:pt x="323" y="210"/>
                </a:lnTo>
                <a:lnTo>
                  <a:pt x="329" y="216"/>
                </a:lnTo>
                <a:lnTo>
                  <a:pt x="335" y="221"/>
                </a:lnTo>
                <a:lnTo>
                  <a:pt x="340" y="221"/>
                </a:lnTo>
                <a:lnTo>
                  <a:pt x="340" y="227"/>
                </a:lnTo>
                <a:lnTo>
                  <a:pt x="340" y="233"/>
                </a:lnTo>
                <a:lnTo>
                  <a:pt x="335" y="238"/>
                </a:lnTo>
                <a:lnTo>
                  <a:pt x="329" y="244"/>
                </a:lnTo>
                <a:lnTo>
                  <a:pt x="329" y="250"/>
                </a:lnTo>
                <a:lnTo>
                  <a:pt x="329" y="255"/>
                </a:lnTo>
                <a:lnTo>
                  <a:pt x="335" y="255"/>
                </a:lnTo>
                <a:lnTo>
                  <a:pt x="335" y="267"/>
                </a:lnTo>
                <a:lnTo>
                  <a:pt x="340" y="267"/>
                </a:lnTo>
                <a:lnTo>
                  <a:pt x="346" y="272"/>
                </a:lnTo>
                <a:lnTo>
                  <a:pt x="352" y="272"/>
                </a:lnTo>
                <a:lnTo>
                  <a:pt x="357" y="267"/>
                </a:lnTo>
                <a:lnTo>
                  <a:pt x="363" y="267"/>
                </a:lnTo>
                <a:lnTo>
                  <a:pt x="369" y="267"/>
                </a:lnTo>
                <a:lnTo>
                  <a:pt x="374" y="267"/>
                </a:lnTo>
                <a:lnTo>
                  <a:pt x="374" y="261"/>
                </a:lnTo>
                <a:lnTo>
                  <a:pt x="380" y="261"/>
                </a:lnTo>
                <a:lnTo>
                  <a:pt x="386" y="255"/>
                </a:lnTo>
                <a:lnTo>
                  <a:pt x="391" y="255"/>
                </a:lnTo>
                <a:lnTo>
                  <a:pt x="397" y="255"/>
                </a:lnTo>
                <a:lnTo>
                  <a:pt x="397" y="250"/>
                </a:lnTo>
                <a:lnTo>
                  <a:pt x="403" y="250"/>
                </a:lnTo>
                <a:lnTo>
                  <a:pt x="408" y="244"/>
                </a:lnTo>
                <a:lnTo>
                  <a:pt x="408" y="238"/>
                </a:lnTo>
                <a:lnTo>
                  <a:pt x="414" y="238"/>
                </a:lnTo>
                <a:lnTo>
                  <a:pt x="414" y="233"/>
                </a:lnTo>
                <a:lnTo>
                  <a:pt x="420" y="233"/>
                </a:lnTo>
                <a:lnTo>
                  <a:pt x="420" y="227"/>
                </a:lnTo>
                <a:lnTo>
                  <a:pt x="425" y="227"/>
                </a:lnTo>
                <a:lnTo>
                  <a:pt x="431" y="221"/>
                </a:lnTo>
                <a:lnTo>
                  <a:pt x="437" y="221"/>
                </a:lnTo>
                <a:lnTo>
                  <a:pt x="442" y="216"/>
                </a:lnTo>
                <a:lnTo>
                  <a:pt x="442" y="210"/>
                </a:lnTo>
                <a:lnTo>
                  <a:pt x="448" y="204"/>
                </a:lnTo>
                <a:lnTo>
                  <a:pt x="448" y="199"/>
                </a:lnTo>
                <a:lnTo>
                  <a:pt x="454" y="193"/>
                </a:lnTo>
                <a:lnTo>
                  <a:pt x="454" y="187"/>
                </a:lnTo>
                <a:lnTo>
                  <a:pt x="459" y="182"/>
                </a:lnTo>
                <a:lnTo>
                  <a:pt x="459" y="176"/>
                </a:lnTo>
                <a:lnTo>
                  <a:pt x="459" y="170"/>
                </a:lnTo>
                <a:lnTo>
                  <a:pt x="448" y="170"/>
                </a:lnTo>
                <a:lnTo>
                  <a:pt x="448" y="165"/>
                </a:lnTo>
                <a:lnTo>
                  <a:pt x="442" y="165"/>
                </a:lnTo>
                <a:lnTo>
                  <a:pt x="437" y="159"/>
                </a:lnTo>
                <a:lnTo>
                  <a:pt x="437" y="153"/>
                </a:lnTo>
                <a:lnTo>
                  <a:pt x="431" y="153"/>
                </a:lnTo>
                <a:lnTo>
                  <a:pt x="431" y="148"/>
                </a:lnTo>
                <a:lnTo>
                  <a:pt x="425" y="142"/>
                </a:lnTo>
                <a:lnTo>
                  <a:pt x="420" y="142"/>
                </a:lnTo>
                <a:lnTo>
                  <a:pt x="420" y="136"/>
                </a:lnTo>
                <a:lnTo>
                  <a:pt x="420" y="131"/>
                </a:lnTo>
                <a:lnTo>
                  <a:pt x="414" y="131"/>
                </a:lnTo>
                <a:lnTo>
                  <a:pt x="414" y="125"/>
                </a:lnTo>
                <a:lnTo>
                  <a:pt x="414" y="114"/>
                </a:lnTo>
                <a:lnTo>
                  <a:pt x="414" y="102"/>
                </a:lnTo>
                <a:lnTo>
                  <a:pt x="408" y="97"/>
                </a:lnTo>
                <a:lnTo>
                  <a:pt x="403" y="91"/>
                </a:lnTo>
                <a:lnTo>
                  <a:pt x="397" y="91"/>
                </a:lnTo>
                <a:lnTo>
                  <a:pt x="391" y="85"/>
                </a:lnTo>
                <a:lnTo>
                  <a:pt x="391" y="80"/>
                </a:lnTo>
                <a:lnTo>
                  <a:pt x="397" y="74"/>
                </a:lnTo>
                <a:lnTo>
                  <a:pt x="403" y="68"/>
                </a:lnTo>
                <a:lnTo>
                  <a:pt x="403" y="63"/>
                </a:lnTo>
                <a:lnTo>
                  <a:pt x="403" y="57"/>
                </a:lnTo>
                <a:lnTo>
                  <a:pt x="408" y="57"/>
                </a:lnTo>
                <a:lnTo>
                  <a:pt x="414" y="57"/>
                </a:lnTo>
                <a:lnTo>
                  <a:pt x="420" y="57"/>
                </a:lnTo>
                <a:lnTo>
                  <a:pt x="425" y="57"/>
                </a:lnTo>
                <a:lnTo>
                  <a:pt x="431" y="57"/>
                </a:lnTo>
                <a:lnTo>
                  <a:pt x="437" y="63"/>
                </a:lnTo>
                <a:lnTo>
                  <a:pt x="437" y="68"/>
                </a:lnTo>
                <a:lnTo>
                  <a:pt x="442" y="68"/>
                </a:lnTo>
                <a:lnTo>
                  <a:pt x="442" y="74"/>
                </a:lnTo>
                <a:lnTo>
                  <a:pt x="442" y="80"/>
                </a:lnTo>
                <a:lnTo>
                  <a:pt x="448" y="80"/>
                </a:lnTo>
                <a:lnTo>
                  <a:pt x="448" y="74"/>
                </a:lnTo>
                <a:lnTo>
                  <a:pt x="454" y="68"/>
                </a:lnTo>
                <a:lnTo>
                  <a:pt x="459" y="68"/>
                </a:lnTo>
                <a:lnTo>
                  <a:pt x="459" y="63"/>
                </a:lnTo>
                <a:lnTo>
                  <a:pt x="471" y="57"/>
                </a:lnTo>
                <a:lnTo>
                  <a:pt x="476" y="57"/>
                </a:lnTo>
                <a:lnTo>
                  <a:pt x="476" y="51"/>
                </a:lnTo>
                <a:lnTo>
                  <a:pt x="482" y="51"/>
                </a:lnTo>
                <a:lnTo>
                  <a:pt x="488" y="46"/>
                </a:lnTo>
                <a:lnTo>
                  <a:pt x="493" y="46"/>
                </a:lnTo>
                <a:lnTo>
                  <a:pt x="499" y="40"/>
                </a:lnTo>
                <a:lnTo>
                  <a:pt x="505" y="40"/>
                </a:lnTo>
                <a:lnTo>
                  <a:pt x="510" y="40"/>
                </a:lnTo>
                <a:lnTo>
                  <a:pt x="510" y="34"/>
                </a:lnTo>
                <a:lnTo>
                  <a:pt x="516" y="29"/>
                </a:lnTo>
                <a:lnTo>
                  <a:pt x="522" y="29"/>
                </a:lnTo>
                <a:lnTo>
                  <a:pt x="527" y="29"/>
                </a:lnTo>
                <a:lnTo>
                  <a:pt x="527" y="23"/>
                </a:lnTo>
                <a:lnTo>
                  <a:pt x="533" y="23"/>
                </a:lnTo>
                <a:lnTo>
                  <a:pt x="539" y="17"/>
                </a:lnTo>
                <a:lnTo>
                  <a:pt x="544" y="17"/>
                </a:lnTo>
                <a:lnTo>
                  <a:pt x="550" y="17"/>
                </a:lnTo>
                <a:lnTo>
                  <a:pt x="556" y="6"/>
                </a:lnTo>
                <a:lnTo>
                  <a:pt x="561" y="6"/>
                </a:lnTo>
                <a:lnTo>
                  <a:pt x="567" y="6"/>
                </a:lnTo>
                <a:lnTo>
                  <a:pt x="584" y="6"/>
                </a:lnTo>
                <a:lnTo>
                  <a:pt x="590" y="6"/>
                </a:lnTo>
                <a:lnTo>
                  <a:pt x="601" y="0"/>
                </a:lnTo>
                <a:lnTo>
                  <a:pt x="601" y="6"/>
                </a:lnTo>
                <a:lnTo>
                  <a:pt x="601" y="17"/>
                </a:lnTo>
                <a:lnTo>
                  <a:pt x="607" y="29"/>
                </a:lnTo>
                <a:lnTo>
                  <a:pt x="612" y="46"/>
                </a:lnTo>
                <a:lnTo>
                  <a:pt x="612" y="51"/>
                </a:lnTo>
                <a:lnTo>
                  <a:pt x="618" y="68"/>
                </a:lnTo>
                <a:lnTo>
                  <a:pt x="624" y="80"/>
                </a:lnTo>
                <a:lnTo>
                  <a:pt x="624" y="91"/>
                </a:lnTo>
                <a:lnTo>
                  <a:pt x="624" y="97"/>
                </a:lnTo>
                <a:lnTo>
                  <a:pt x="624" y="114"/>
                </a:lnTo>
                <a:lnTo>
                  <a:pt x="629" y="125"/>
                </a:lnTo>
                <a:lnTo>
                  <a:pt x="629" y="131"/>
                </a:lnTo>
                <a:lnTo>
                  <a:pt x="624" y="142"/>
                </a:lnTo>
                <a:lnTo>
                  <a:pt x="618" y="153"/>
                </a:lnTo>
                <a:lnTo>
                  <a:pt x="618" y="165"/>
                </a:lnTo>
                <a:lnTo>
                  <a:pt x="612" y="170"/>
                </a:lnTo>
                <a:lnTo>
                  <a:pt x="612" y="182"/>
                </a:lnTo>
                <a:lnTo>
                  <a:pt x="612" y="193"/>
                </a:lnTo>
                <a:lnTo>
                  <a:pt x="607" y="199"/>
                </a:lnTo>
                <a:lnTo>
                  <a:pt x="601" y="210"/>
                </a:lnTo>
                <a:lnTo>
                  <a:pt x="601" y="216"/>
                </a:lnTo>
                <a:lnTo>
                  <a:pt x="595" y="221"/>
                </a:lnTo>
                <a:lnTo>
                  <a:pt x="595" y="227"/>
                </a:lnTo>
                <a:lnTo>
                  <a:pt x="595" y="238"/>
                </a:lnTo>
                <a:lnTo>
                  <a:pt x="590" y="250"/>
                </a:lnTo>
                <a:lnTo>
                  <a:pt x="590" y="261"/>
                </a:lnTo>
                <a:lnTo>
                  <a:pt x="584" y="267"/>
                </a:lnTo>
                <a:lnTo>
                  <a:pt x="590" y="267"/>
                </a:lnTo>
                <a:lnTo>
                  <a:pt x="584" y="267"/>
                </a:lnTo>
                <a:lnTo>
                  <a:pt x="578" y="278"/>
                </a:lnTo>
                <a:lnTo>
                  <a:pt x="573" y="284"/>
                </a:lnTo>
                <a:lnTo>
                  <a:pt x="573" y="295"/>
                </a:lnTo>
                <a:lnTo>
                  <a:pt x="573" y="301"/>
                </a:lnTo>
                <a:lnTo>
                  <a:pt x="573" y="312"/>
                </a:lnTo>
                <a:lnTo>
                  <a:pt x="573" y="318"/>
                </a:lnTo>
                <a:lnTo>
                  <a:pt x="567" y="323"/>
                </a:lnTo>
                <a:lnTo>
                  <a:pt x="556" y="335"/>
                </a:lnTo>
                <a:lnTo>
                  <a:pt x="550" y="340"/>
                </a:lnTo>
                <a:lnTo>
                  <a:pt x="550" y="352"/>
                </a:lnTo>
                <a:lnTo>
                  <a:pt x="556" y="363"/>
                </a:lnTo>
                <a:lnTo>
                  <a:pt x="556" y="374"/>
                </a:lnTo>
                <a:lnTo>
                  <a:pt x="550" y="380"/>
                </a:lnTo>
                <a:lnTo>
                  <a:pt x="544" y="380"/>
                </a:lnTo>
                <a:lnTo>
                  <a:pt x="539" y="391"/>
                </a:lnTo>
                <a:lnTo>
                  <a:pt x="539" y="403"/>
                </a:lnTo>
                <a:lnTo>
                  <a:pt x="544" y="408"/>
                </a:lnTo>
                <a:lnTo>
                  <a:pt x="544" y="414"/>
                </a:lnTo>
                <a:lnTo>
                  <a:pt x="539" y="420"/>
                </a:lnTo>
                <a:lnTo>
                  <a:pt x="527" y="420"/>
                </a:lnTo>
                <a:lnTo>
                  <a:pt x="527" y="425"/>
                </a:lnTo>
                <a:lnTo>
                  <a:pt x="522" y="431"/>
                </a:lnTo>
                <a:lnTo>
                  <a:pt x="510" y="431"/>
                </a:lnTo>
                <a:lnTo>
                  <a:pt x="505" y="431"/>
                </a:lnTo>
                <a:lnTo>
                  <a:pt x="499" y="431"/>
                </a:lnTo>
                <a:lnTo>
                  <a:pt x="488" y="431"/>
                </a:lnTo>
                <a:lnTo>
                  <a:pt x="476" y="431"/>
                </a:lnTo>
                <a:lnTo>
                  <a:pt x="471" y="437"/>
                </a:lnTo>
                <a:lnTo>
                  <a:pt x="459" y="437"/>
                </a:lnTo>
                <a:lnTo>
                  <a:pt x="459" y="448"/>
                </a:lnTo>
                <a:lnTo>
                  <a:pt x="454" y="454"/>
                </a:lnTo>
                <a:lnTo>
                  <a:pt x="448" y="448"/>
                </a:lnTo>
                <a:lnTo>
                  <a:pt x="442" y="448"/>
                </a:lnTo>
                <a:lnTo>
                  <a:pt x="437" y="448"/>
                </a:lnTo>
                <a:lnTo>
                  <a:pt x="431" y="454"/>
                </a:lnTo>
                <a:lnTo>
                  <a:pt x="431" y="459"/>
                </a:lnTo>
                <a:lnTo>
                  <a:pt x="431" y="465"/>
                </a:lnTo>
                <a:lnTo>
                  <a:pt x="431" y="471"/>
                </a:lnTo>
                <a:lnTo>
                  <a:pt x="431" y="477"/>
                </a:lnTo>
                <a:lnTo>
                  <a:pt x="420" y="482"/>
                </a:lnTo>
                <a:lnTo>
                  <a:pt x="420" y="488"/>
                </a:lnTo>
                <a:lnTo>
                  <a:pt x="414" y="488"/>
                </a:lnTo>
                <a:lnTo>
                  <a:pt x="408" y="488"/>
                </a:lnTo>
                <a:lnTo>
                  <a:pt x="403" y="482"/>
                </a:lnTo>
                <a:lnTo>
                  <a:pt x="397" y="482"/>
                </a:lnTo>
                <a:lnTo>
                  <a:pt x="391" y="488"/>
                </a:lnTo>
                <a:lnTo>
                  <a:pt x="386" y="488"/>
                </a:lnTo>
                <a:lnTo>
                  <a:pt x="386" y="494"/>
                </a:lnTo>
                <a:lnTo>
                  <a:pt x="380" y="494"/>
                </a:lnTo>
                <a:lnTo>
                  <a:pt x="374" y="499"/>
                </a:lnTo>
                <a:lnTo>
                  <a:pt x="369" y="499"/>
                </a:lnTo>
                <a:lnTo>
                  <a:pt x="363" y="494"/>
                </a:lnTo>
                <a:lnTo>
                  <a:pt x="357" y="488"/>
                </a:lnTo>
                <a:lnTo>
                  <a:pt x="352" y="482"/>
                </a:lnTo>
                <a:lnTo>
                  <a:pt x="346" y="477"/>
                </a:lnTo>
                <a:lnTo>
                  <a:pt x="340" y="482"/>
                </a:lnTo>
                <a:lnTo>
                  <a:pt x="335" y="482"/>
                </a:lnTo>
                <a:lnTo>
                  <a:pt x="335" y="488"/>
                </a:lnTo>
                <a:lnTo>
                  <a:pt x="335" y="494"/>
                </a:lnTo>
                <a:lnTo>
                  <a:pt x="329" y="494"/>
                </a:lnTo>
                <a:lnTo>
                  <a:pt x="329" y="499"/>
                </a:lnTo>
                <a:lnTo>
                  <a:pt x="318" y="505"/>
                </a:lnTo>
                <a:lnTo>
                  <a:pt x="312" y="505"/>
                </a:lnTo>
                <a:lnTo>
                  <a:pt x="306" y="511"/>
                </a:lnTo>
                <a:lnTo>
                  <a:pt x="306" y="516"/>
                </a:lnTo>
                <a:lnTo>
                  <a:pt x="301" y="516"/>
                </a:lnTo>
                <a:lnTo>
                  <a:pt x="295" y="516"/>
                </a:lnTo>
                <a:lnTo>
                  <a:pt x="289" y="522"/>
                </a:lnTo>
                <a:lnTo>
                  <a:pt x="278" y="528"/>
                </a:lnTo>
                <a:lnTo>
                  <a:pt x="267" y="528"/>
                </a:lnTo>
                <a:lnTo>
                  <a:pt x="267" y="533"/>
                </a:lnTo>
                <a:lnTo>
                  <a:pt x="261" y="533"/>
                </a:lnTo>
                <a:lnTo>
                  <a:pt x="255" y="533"/>
                </a:lnTo>
                <a:lnTo>
                  <a:pt x="250" y="533"/>
                </a:lnTo>
                <a:lnTo>
                  <a:pt x="244" y="528"/>
                </a:lnTo>
                <a:lnTo>
                  <a:pt x="238" y="528"/>
                </a:lnTo>
                <a:lnTo>
                  <a:pt x="233" y="522"/>
                </a:lnTo>
                <a:lnTo>
                  <a:pt x="227" y="522"/>
                </a:lnTo>
                <a:lnTo>
                  <a:pt x="221" y="516"/>
                </a:lnTo>
                <a:lnTo>
                  <a:pt x="210" y="516"/>
                </a:lnTo>
                <a:lnTo>
                  <a:pt x="204" y="511"/>
                </a:lnTo>
                <a:lnTo>
                  <a:pt x="199" y="511"/>
                </a:lnTo>
                <a:lnTo>
                  <a:pt x="193" y="511"/>
                </a:lnTo>
                <a:lnTo>
                  <a:pt x="193" y="505"/>
                </a:lnTo>
                <a:lnTo>
                  <a:pt x="176" y="494"/>
                </a:lnTo>
                <a:lnTo>
                  <a:pt x="170" y="488"/>
                </a:lnTo>
                <a:lnTo>
                  <a:pt x="165" y="488"/>
                </a:lnTo>
                <a:lnTo>
                  <a:pt x="159" y="488"/>
                </a:lnTo>
                <a:lnTo>
                  <a:pt x="153" y="488"/>
                </a:lnTo>
                <a:lnTo>
                  <a:pt x="142" y="488"/>
                </a:lnTo>
                <a:lnTo>
                  <a:pt x="142" y="482"/>
                </a:lnTo>
                <a:lnTo>
                  <a:pt x="136" y="477"/>
                </a:lnTo>
                <a:lnTo>
                  <a:pt x="136" y="471"/>
                </a:lnTo>
                <a:lnTo>
                  <a:pt x="136" y="459"/>
                </a:lnTo>
                <a:lnTo>
                  <a:pt x="136" y="448"/>
                </a:lnTo>
                <a:lnTo>
                  <a:pt x="131" y="442"/>
                </a:lnTo>
                <a:lnTo>
                  <a:pt x="125" y="425"/>
                </a:lnTo>
                <a:lnTo>
                  <a:pt x="125" y="420"/>
                </a:lnTo>
                <a:lnTo>
                  <a:pt x="125" y="414"/>
                </a:lnTo>
                <a:lnTo>
                  <a:pt x="125" y="408"/>
                </a:lnTo>
                <a:lnTo>
                  <a:pt x="125" y="403"/>
                </a:lnTo>
                <a:lnTo>
                  <a:pt x="131" y="408"/>
                </a:lnTo>
                <a:lnTo>
                  <a:pt x="136" y="408"/>
                </a:lnTo>
                <a:lnTo>
                  <a:pt x="142" y="408"/>
                </a:lnTo>
                <a:lnTo>
                  <a:pt x="148" y="403"/>
                </a:lnTo>
                <a:lnTo>
                  <a:pt x="148" y="397"/>
                </a:lnTo>
                <a:lnTo>
                  <a:pt x="142" y="397"/>
                </a:lnTo>
                <a:lnTo>
                  <a:pt x="136" y="391"/>
                </a:lnTo>
                <a:lnTo>
                  <a:pt x="131" y="391"/>
                </a:lnTo>
                <a:lnTo>
                  <a:pt x="125" y="391"/>
                </a:lnTo>
                <a:lnTo>
                  <a:pt x="119" y="386"/>
                </a:lnTo>
                <a:lnTo>
                  <a:pt x="114" y="386"/>
                </a:lnTo>
                <a:lnTo>
                  <a:pt x="108" y="386"/>
                </a:lnTo>
                <a:lnTo>
                  <a:pt x="102" y="380"/>
                </a:lnTo>
                <a:lnTo>
                  <a:pt x="97" y="380"/>
                </a:lnTo>
                <a:lnTo>
                  <a:pt x="97" y="374"/>
                </a:lnTo>
                <a:lnTo>
                  <a:pt x="80" y="357"/>
                </a:lnTo>
                <a:lnTo>
                  <a:pt x="74" y="357"/>
                </a:lnTo>
                <a:lnTo>
                  <a:pt x="74" y="352"/>
                </a:lnTo>
                <a:lnTo>
                  <a:pt x="74" y="346"/>
                </a:lnTo>
                <a:lnTo>
                  <a:pt x="74" y="340"/>
                </a:lnTo>
                <a:lnTo>
                  <a:pt x="74" y="329"/>
                </a:lnTo>
                <a:lnTo>
                  <a:pt x="63" y="318"/>
                </a:lnTo>
                <a:lnTo>
                  <a:pt x="57" y="312"/>
                </a:lnTo>
                <a:lnTo>
                  <a:pt x="51" y="312"/>
                </a:lnTo>
                <a:lnTo>
                  <a:pt x="51" y="306"/>
                </a:lnTo>
                <a:lnTo>
                  <a:pt x="46" y="295"/>
                </a:lnTo>
                <a:lnTo>
                  <a:pt x="40" y="284"/>
                </a:lnTo>
                <a:lnTo>
                  <a:pt x="34" y="284"/>
                </a:lnTo>
                <a:lnTo>
                  <a:pt x="34" y="278"/>
                </a:lnTo>
                <a:lnTo>
                  <a:pt x="34" y="272"/>
                </a:lnTo>
                <a:lnTo>
                  <a:pt x="34" y="267"/>
                </a:lnTo>
                <a:lnTo>
                  <a:pt x="34" y="261"/>
                </a:lnTo>
                <a:lnTo>
                  <a:pt x="29" y="261"/>
                </a:lnTo>
                <a:lnTo>
                  <a:pt x="23" y="261"/>
                </a:lnTo>
                <a:lnTo>
                  <a:pt x="12" y="244"/>
                </a:lnTo>
                <a:lnTo>
                  <a:pt x="12" y="233"/>
                </a:lnTo>
                <a:lnTo>
                  <a:pt x="6" y="233"/>
                </a:lnTo>
                <a:lnTo>
                  <a:pt x="6" y="221"/>
                </a:lnTo>
                <a:lnTo>
                  <a:pt x="0" y="22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1" name="Freeform 22"/>
          <p:cNvSpPr>
            <a:spLocks/>
          </p:cNvSpPr>
          <p:nvPr/>
        </p:nvSpPr>
        <p:spPr bwMode="gray">
          <a:xfrm>
            <a:off x="2235380" y="4525568"/>
            <a:ext cx="1036698" cy="1111145"/>
          </a:xfrm>
          <a:custGeom>
            <a:avLst/>
            <a:gdLst>
              <a:gd name="T0" fmla="*/ 2147483647 w 612"/>
              <a:gd name="T1" fmla="*/ 2147483647 h 657"/>
              <a:gd name="T2" fmla="*/ 0 w 612"/>
              <a:gd name="T3" fmla="*/ 2147483647 h 657"/>
              <a:gd name="T4" fmla="*/ 2147483647 w 612"/>
              <a:gd name="T5" fmla="*/ 2147483647 h 657"/>
              <a:gd name="T6" fmla="*/ 2147483647 w 612"/>
              <a:gd name="T7" fmla="*/ 2147483647 h 657"/>
              <a:gd name="T8" fmla="*/ 2147483647 w 612"/>
              <a:gd name="T9" fmla="*/ 2147483647 h 657"/>
              <a:gd name="T10" fmla="*/ 2147483647 w 612"/>
              <a:gd name="T11" fmla="*/ 2147483647 h 657"/>
              <a:gd name="T12" fmla="*/ 2147483647 w 612"/>
              <a:gd name="T13" fmla="*/ 2147483647 h 657"/>
              <a:gd name="T14" fmla="*/ 2147483647 w 612"/>
              <a:gd name="T15" fmla="*/ 2147483647 h 657"/>
              <a:gd name="T16" fmla="*/ 2147483647 w 612"/>
              <a:gd name="T17" fmla="*/ 2147483647 h 657"/>
              <a:gd name="T18" fmla="*/ 2147483647 w 612"/>
              <a:gd name="T19" fmla="*/ 2147483647 h 657"/>
              <a:gd name="T20" fmla="*/ 2147483647 w 612"/>
              <a:gd name="T21" fmla="*/ 2147483647 h 657"/>
              <a:gd name="T22" fmla="*/ 2147483647 w 612"/>
              <a:gd name="T23" fmla="*/ 2147483647 h 657"/>
              <a:gd name="T24" fmla="*/ 2147483647 w 612"/>
              <a:gd name="T25" fmla="*/ 2147483647 h 657"/>
              <a:gd name="T26" fmla="*/ 2147483647 w 612"/>
              <a:gd name="T27" fmla="*/ 2147483647 h 657"/>
              <a:gd name="T28" fmla="*/ 2147483647 w 612"/>
              <a:gd name="T29" fmla="*/ 2147483647 h 657"/>
              <a:gd name="T30" fmla="*/ 2147483647 w 612"/>
              <a:gd name="T31" fmla="*/ 2147483647 h 657"/>
              <a:gd name="T32" fmla="*/ 2147483647 w 612"/>
              <a:gd name="T33" fmla="*/ 2147483647 h 657"/>
              <a:gd name="T34" fmla="*/ 2147483647 w 612"/>
              <a:gd name="T35" fmla="*/ 2147483647 h 657"/>
              <a:gd name="T36" fmla="*/ 2147483647 w 612"/>
              <a:gd name="T37" fmla="*/ 2147483647 h 657"/>
              <a:gd name="T38" fmla="*/ 2147483647 w 612"/>
              <a:gd name="T39" fmla="*/ 2147483647 h 657"/>
              <a:gd name="T40" fmla="*/ 2147483647 w 612"/>
              <a:gd name="T41" fmla="*/ 2147483647 h 657"/>
              <a:gd name="T42" fmla="*/ 2147483647 w 612"/>
              <a:gd name="T43" fmla="*/ 2147483647 h 657"/>
              <a:gd name="T44" fmla="*/ 2147483647 w 612"/>
              <a:gd name="T45" fmla="*/ 2147483647 h 657"/>
              <a:gd name="T46" fmla="*/ 2147483647 w 612"/>
              <a:gd name="T47" fmla="*/ 2147483647 h 657"/>
              <a:gd name="T48" fmla="*/ 2147483647 w 612"/>
              <a:gd name="T49" fmla="*/ 2147483647 h 657"/>
              <a:gd name="T50" fmla="*/ 2147483647 w 612"/>
              <a:gd name="T51" fmla="*/ 2147483647 h 657"/>
              <a:gd name="T52" fmla="*/ 2147483647 w 612"/>
              <a:gd name="T53" fmla="*/ 2147483647 h 657"/>
              <a:gd name="T54" fmla="*/ 2147483647 w 612"/>
              <a:gd name="T55" fmla="*/ 2147483647 h 657"/>
              <a:gd name="T56" fmla="*/ 2147483647 w 612"/>
              <a:gd name="T57" fmla="*/ 2147483647 h 657"/>
              <a:gd name="T58" fmla="*/ 2147483647 w 612"/>
              <a:gd name="T59" fmla="*/ 2147483647 h 657"/>
              <a:gd name="T60" fmla="*/ 2147483647 w 612"/>
              <a:gd name="T61" fmla="*/ 2147483647 h 657"/>
              <a:gd name="T62" fmla="*/ 2147483647 w 612"/>
              <a:gd name="T63" fmla="*/ 2147483647 h 657"/>
              <a:gd name="T64" fmla="*/ 2147483647 w 612"/>
              <a:gd name="T65" fmla="*/ 2147483647 h 657"/>
              <a:gd name="T66" fmla="*/ 2147483647 w 612"/>
              <a:gd name="T67" fmla="*/ 2147483647 h 657"/>
              <a:gd name="T68" fmla="*/ 2147483647 w 612"/>
              <a:gd name="T69" fmla="*/ 2147483647 h 657"/>
              <a:gd name="T70" fmla="*/ 2147483647 w 612"/>
              <a:gd name="T71" fmla="*/ 2147483647 h 657"/>
              <a:gd name="T72" fmla="*/ 2147483647 w 612"/>
              <a:gd name="T73" fmla="*/ 2147483647 h 657"/>
              <a:gd name="T74" fmla="*/ 2147483647 w 612"/>
              <a:gd name="T75" fmla="*/ 2147483647 h 657"/>
              <a:gd name="T76" fmla="*/ 2147483647 w 612"/>
              <a:gd name="T77" fmla="*/ 2147483647 h 657"/>
              <a:gd name="T78" fmla="*/ 2147483647 w 612"/>
              <a:gd name="T79" fmla="*/ 2147483647 h 657"/>
              <a:gd name="T80" fmla="*/ 2147483647 w 612"/>
              <a:gd name="T81" fmla="*/ 2147483647 h 657"/>
              <a:gd name="T82" fmla="*/ 2147483647 w 612"/>
              <a:gd name="T83" fmla="*/ 2147483647 h 657"/>
              <a:gd name="T84" fmla="*/ 2147483647 w 612"/>
              <a:gd name="T85" fmla="*/ 2147483647 h 657"/>
              <a:gd name="T86" fmla="*/ 2147483647 w 612"/>
              <a:gd name="T87" fmla="*/ 2147483647 h 657"/>
              <a:gd name="T88" fmla="*/ 2147483647 w 612"/>
              <a:gd name="T89" fmla="*/ 2147483647 h 657"/>
              <a:gd name="T90" fmla="*/ 2147483647 w 612"/>
              <a:gd name="T91" fmla="*/ 2147483647 h 657"/>
              <a:gd name="T92" fmla="*/ 2147483647 w 612"/>
              <a:gd name="T93" fmla="*/ 2147483647 h 657"/>
              <a:gd name="T94" fmla="*/ 2147483647 w 612"/>
              <a:gd name="T95" fmla="*/ 2147483647 h 657"/>
              <a:gd name="T96" fmla="*/ 2147483647 w 612"/>
              <a:gd name="T97" fmla="*/ 2147483647 h 657"/>
              <a:gd name="T98" fmla="*/ 2147483647 w 612"/>
              <a:gd name="T99" fmla="*/ 2147483647 h 657"/>
              <a:gd name="T100" fmla="*/ 2147483647 w 612"/>
              <a:gd name="T101" fmla="*/ 2147483647 h 657"/>
              <a:gd name="T102" fmla="*/ 2147483647 w 612"/>
              <a:gd name="T103" fmla="*/ 2147483647 h 657"/>
              <a:gd name="T104" fmla="*/ 2147483647 w 612"/>
              <a:gd name="T105" fmla="*/ 2147483647 h 657"/>
              <a:gd name="T106" fmla="*/ 2147483647 w 612"/>
              <a:gd name="T107" fmla="*/ 2147483647 h 657"/>
              <a:gd name="T108" fmla="*/ 2147483647 w 612"/>
              <a:gd name="T109" fmla="*/ 2147483647 h 657"/>
              <a:gd name="T110" fmla="*/ 2147483647 w 612"/>
              <a:gd name="T111" fmla="*/ 2147483647 h 657"/>
              <a:gd name="T112" fmla="*/ 2147483647 w 612"/>
              <a:gd name="T113" fmla="*/ 2147483647 h 657"/>
              <a:gd name="T114" fmla="*/ 2147483647 w 612"/>
              <a:gd name="T115" fmla="*/ 2147483647 h 657"/>
              <a:gd name="T116" fmla="*/ 2147483647 w 612"/>
              <a:gd name="T117" fmla="*/ 2147483647 h 657"/>
              <a:gd name="T118" fmla="*/ 2147483647 w 612"/>
              <a:gd name="T119" fmla="*/ 2147483647 h 657"/>
              <a:gd name="T120" fmla="*/ 2147483647 w 612"/>
              <a:gd name="T121" fmla="*/ 2147483647 h 657"/>
              <a:gd name="T122" fmla="*/ 2147483647 w 612"/>
              <a:gd name="T123" fmla="*/ 2147483647 h 65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12"/>
              <a:gd name="T187" fmla="*/ 0 h 657"/>
              <a:gd name="T188" fmla="*/ 612 w 612"/>
              <a:gd name="T189" fmla="*/ 657 h 65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12" h="657">
                <a:moveTo>
                  <a:pt x="40" y="510"/>
                </a:moveTo>
                <a:lnTo>
                  <a:pt x="40" y="504"/>
                </a:lnTo>
                <a:lnTo>
                  <a:pt x="34" y="499"/>
                </a:lnTo>
                <a:lnTo>
                  <a:pt x="29" y="493"/>
                </a:lnTo>
                <a:lnTo>
                  <a:pt x="23" y="487"/>
                </a:lnTo>
                <a:lnTo>
                  <a:pt x="17" y="487"/>
                </a:lnTo>
                <a:lnTo>
                  <a:pt x="12" y="487"/>
                </a:lnTo>
                <a:lnTo>
                  <a:pt x="12" y="482"/>
                </a:lnTo>
                <a:lnTo>
                  <a:pt x="6" y="482"/>
                </a:lnTo>
                <a:lnTo>
                  <a:pt x="6" y="476"/>
                </a:lnTo>
                <a:lnTo>
                  <a:pt x="0" y="470"/>
                </a:lnTo>
                <a:lnTo>
                  <a:pt x="0" y="465"/>
                </a:lnTo>
                <a:lnTo>
                  <a:pt x="0" y="459"/>
                </a:lnTo>
                <a:lnTo>
                  <a:pt x="0" y="453"/>
                </a:lnTo>
                <a:lnTo>
                  <a:pt x="6" y="453"/>
                </a:lnTo>
                <a:lnTo>
                  <a:pt x="6" y="448"/>
                </a:lnTo>
                <a:lnTo>
                  <a:pt x="6" y="442"/>
                </a:lnTo>
                <a:lnTo>
                  <a:pt x="6" y="436"/>
                </a:lnTo>
                <a:lnTo>
                  <a:pt x="17" y="436"/>
                </a:lnTo>
                <a:lnTo>
                  <a:pt x="23" y="436"/>
                </a:lnTo>
                <a:lnTo>
                  <a:pt x="23" y="431"/>
                </a:lnTo>
                <a:lnTo>
                  <a:pt x="29" y="425"/>
                </a:lnTo>
                <a:lnTo>
                  <a:pt x="29" y="419"/>
                </a:lnTo>
                <a:lnTo>
                  <a:pt x="29" y="414"/>
                </a:lnTo>
                <a:lnTo>
                  <a:pt x="34" y="408"/>
                </a:lnTo>
                <a:lnTo>
                  <a:pt x="34" y="402"/>
                </a:lnTo>
                <a:lnTo>
                  <a:pt x="40" y="397"/>
                </a:lnTo>
                <a:lnTo>
                  <a:pt x="46" y="391"/>
                </a:lnTo>
                <a:lnTo>
                  <a:pt x="46" y="385"/>
                </a:lnTo>
                <a:lnTo>
                  <a:pt x="51" y="380"/>
                </a:lnTo>
                <a:lnTo>
                  <a:pt x="51" y="374"/>
                </a:lnTo>
                <a:lnTo>
                  <a:pt x="51" y="368"/>
                </a:lnTo>
                <a:lnTo>
                  <a:pt x="51" y="363"/>
                </a:lnTo>
                <a:lnTo>
                  <a:pt x="46" y="363"/>
                </a:lnTo>
                <a:lnTo>
                  <a:pt x="46" y="357"/>
                </a:lnTo>
                <a:lnTo>
                  <a:pt x="40" y="357"/>
                </a:lnTo>
                <a:lnTo>
                  <a:pt x="34" y="351"/>
                </a:lnTo>
                <a:lnTo>
                  <a:pt x="34" y="346"/>
                </a:lnTo>
                <a:lnTo>
                  <a:pt x="34" y="334"/>
                </a:lnTo>
                <a:lnTo>
                  <a:pt x="40" y="329"/>
                </a:lnTo>
                <a:lnTo>
                  <a:pt x="40" y="317"/>
                </a:lnTo>
                <a:lnTo>
                  <a:pt x="46" y="317"/>
                </a:lnTo>
                <a:lnTo>
                  <a:pt x="46" y="306"/>
                </a:lnTo>
                <a:lnTo>
                  <a:pt x="46" y="300"/>
                </a:lnTo>
                <a:lnTo>
                  <a:pt x="51" y="300"/>
                </a:lnTo>
                <a:lnTo>
                  <a:pt x="57" y="300"/>
                </a:lnTo>
                <a:lnTo>
                  <a:pt x="57" y="295"/>
                </a:lnTo>
                <a:lnTo>
                  <a:pt x="63" y="295"/>
                </a:lnTo>
                <a:lnTo>
                  <a:pt x="63" y="289"/>
                </a:lnTo>
                <a:lnTo>
                  <a:pt x="63" y="278"/>
                </a:lnTo>
                <a:lnTo>
                  <a:pt x="68" y="278"/>
                </a:lnTo>
                <a:lnTo>
                  <a:pt x="74" y="272"/>
                </a:lnTo>
                <a:lnTo>
                  <a:pt x="74" y="266"/>
                </a:lnTo>
                <a:lnTo>
                  <a:pt x="80" y="261"/>
                </a:lnTo>
                <a:lnTo>
                  <a:pt x="85" y="249"/>
                </a:lnTo>
                <a:lnTo>
                  <a:pt x="91" y="249"/>
                </a:lnTo>
                <a:lnTo>
                  <a:pt x="97" y="249"/>
                </a:lnTo>
                <a:lnTo>
                  <a:pt x="108" y="249"/>
                </a:lnTo>
                <a:lnTo>
                  <a:pt x="136" y="255"/>
                </a:lnTo>
                <a:lnTo>
                  <a:pt x="148" y="255"/>
                </a:lnTo>
                <a:lnTo>
                  <a:pt x="159" y="255"/>
                </a:lnTo>
                <a:lnTo>
                  <a:pt x="165" y="255"/>
                </a:lnTo>
                <a:lnTo>
                  <a:pt x="176" y="255"/>
                </a:lnTo>
                <a:lnTo>
                  <a:pt x="187" y="255"/>
                </a:lnTo>
                <a:lnTo>
                  <a:pt x="187" y="261"/>
                </a:lnTo>
                <a:lnTo>
                  <a:pt x="193" y="261"/>
                </a:lnTo>
                <a:lnTo>
                  <a:pt x="199" y="261"/>
                </a:lnTo>
                <a:lnTo>
                  <a:pt x="199" y="266"/>
                </a:lnTo>
                <a:lnTo>
                  <a:pt x="199" y="272"/>
                </a:lnTo>
                <a:lnTo>
                  <a:pt x="187" y="272"/>
                </a:lnTo>
                <a:lnTo>
                  <a:pt x="182" y="272"/>
                </a:lnTo>
                <a:lnTo>
                  <a:pt x="182" y="278"/>
                </a:lnTo>
                <a:lnTo>
                  <a:pt x="187" y="283"/>
                </a:lnTo>
                <a:lnTo>
                  <a:pt x="187" y="289"/>
                </a:lnTo>
                <a:lnTo>
                  <a:pt x="193" y="295"/>
                </a:lnTo>
                <a:lnTo>
                  <a:pt x="193" y="300"/>
                </a:lnTo>
                <a:lnTo>
                  <a:pt x="199" y="306"/>
                </a:lnTo>
                <a:lnTo>
                  <a:pt x="199" y="312"/>
                </a:lnTo>
                <a:lnTo>
                  <a:pt x="204" y="312"/>
                </a:lnTo>
                <a:lnTo>
                  <a:pt x="204" y="306"/>
                </a:lnTo>
                <a:lnTo>
                  <a:pt x="210" y="306"/>
                </a:lnTo>
                <a:lnTo>
                  <a:pt x="210" y="300"/>
                </a:lnTo>
                <a:lnTo>
                  <a:pt x="216" y="300"/>
                </a:lnTo>
                <a:lnTo>
                  <a:pt x="221" y="300"/>
                </a:lnTo>
                <a:lnTo>
                  <a:pt x="227" y="295"/>
                </a:lnTo>
                <a:lnTo>
                  <a:pt x="233" y="300"/>
                </a:lnTo>
                <a:lnTo>
                  <a:pt x="238" y="306"/>
                </a:lnTo>
                <a:lnTo>
                  <a:pt x="244" y="306"/>
                </a:lnTo>
                <a:lnTo>
                  <a:pt x="250" y="300"/>
                </a:lnTo>
                <a:lnTo>
                  <a:pt x="255" y="295"/>
                </a:lnTo>
                <a:lnTo>
                  <a:pt x="255" y="289"/>
                </a:lnTo>
                <a:lnTo>
                  <a:pt x="261" y="289"/>
                </a:lnTo>
                <a:lnTo>
                  <a:pt x="261" y="283"/>
                </a:lnTo>
                <a:lnTo>
                  <a:pt x="261" y="278"/>
                </a:lnTo>
                <a:lnTo>
                  <a:pt x="261" y="272"/>
                </a:lnTo>
                <a:lnTo>
                  <a:pt x="261" y="266"/>
                </a:lnTo>
                <a:lnTo>
                  <a:pt x="261" y="261"/>
                </a:lnTo>
                <a:lnTo>
                  <a:pt x="267" y="261"/>
                </a:lnTo>
                <a:lnTo>
                  <a:pt x="272" y="261"/>
                </a:lnTo>
                <a:lnTo>
                  <a:pt x="272" y="255"/>
                </a:lnTo>
                <a:lnTo>
                  <a:pt x="272" y="249"/>
                </a:lnTo>
                <a:lnTo>
                  <a:pt x="278" y="244"/>
                </a:lnTo>
                <a:lnTo>
                  <a:pt x="284" y="238"/>
                </a:lnTo>
                <a:lnTo>
                  <a:pt x="284" y="232"/>
                </a:lnTo>
                <a:lnTo>
                  <a:pt x="284" y="227"/>
                </a:lnTo>
                <a:lnTo>
                  <a:pt x="284" y="221"/>
                </a:lnTo>
                <a:lnTo>
                  <a:pt x="284" y="215"/>
                </a:lnTo>
                <a:lnTo>
                  <a:pt x="284" y="210"/>
                </a:lnTo>
                <a:lnTo>
                  <a:pt x="284" y="204"/>
                </a:lnTo>
                <a:lnTo>
                  <a:pt x="289" y="198"/>
                </a:lnTo>
                <a:lnTo>
                  <a:pt x="289" y="193"/>
                </a:lnTo>
                <a:lnTo>
                  <a:pt x="295" y="193"/>
                </a:lnTo>
                <a:lnTo>
                  <a:pt x="295" y="187"/>
                </a:lnTo>
                <a:lnTo>
                  <a:pt x="301" y="181"/>
                </a:lnTo>
                <a:lnTo>
                  <a:pt x="301" y="176"/>
                </a:lnTo>
                <a:lnTo>
                  <a:pt x="306" y="176"/>
                </a:lnTo>
                <a:lnTo>
                  <a:pt x="306" y="170"/>
                </a:lnTo>
                <a:lnTo>
                  <a:pt x="312" y="159"/>
                </a:lnTo>
                <a:lnTo>
                  <a:pt x="312" y="153"/>
                </a:lnTo>
                <a:lnTo>
                  <a:pt x="312" y="147"/>
                </a:lnTo>
                <a:lnTo>
                  <a:pt x="318" y="142"/>
                </a:lnTo>
                <a:lnTo>
                  <a:pt x="318" y="136"/>
                </a:lnTo>
                <a:lnTo>
                  <a:pt x="318" y="130"/>
                </a:lnTo>
                <a:lnTo>
                  <a:pt x="318" y="125"/>
                </a:lnTo>
                <a:lnTo>
                  <a:pt x="318" y="119"/>
                </a:lnTo>
                <a:lnTo>
                  <a:pt x="323" y="119"/>
                </a:lnTo>
                <a:lnTo>
                  <a:pt x="329" y="108"/>
                </a:lnTo>
                <a:lnTo>
                  <a:pt x="329" y="102"/>
                </a:lnTo>
                <a:lnTo>
                  <a:pt x="329" y="96"/>
                </a:lnTo>
                <a:lnTo>
                  <a:pt x="335" y="96"/>
                </a:lnTo>
                <a:lnTo>
                  <a:pt x="340" y="91"/>
                </a:lnTo>
                <a:lnTo>
                  <a:pt x="346" y="91"/>
                </a:lnTo>
                <a:lnTo>
                  <a:pt x="346" y="85"/>
                </a:lnTo>
                <a:lnTo>
                  <a:pt x="346" y="79"/>
                </a:lnTo>
                <a:lnTo>
                  <a:pt x="346" y="74"/>
                </a:lnTo>
                <a:lnTo>
                  <a:pt x="346" y="68"/>
                </a:lnTo>
                <a:lnTo>
                  <a:pt x="346" y="62"/>
                </a:lnTo>
                <a:lnTo>
                  <a:pt x="346" y="57"/>
                </a:lnTo>
                <a:lnTo>
                  <a:pt x="352" y="57"/>
                </a:lnTo>
                <a:lnTo>
                  <a:pt x="352" y="51"/>
                </a:lnTo>
                <a:lnTo>
                  <a:pt x="346" y="51"/>
                </a:lnTo>
                <a:lnTo>
                  <a:pt x="346" y="45"/>
                </a:lnTo>
                <a:lnTo>
                  <a:pt x="340" y="45"/>
                </a:lnTo>
                <a:lnTo>
                  <a:pt x="340" y="40"/>
                </a:lnTo>
                <a:lnTo>
                  <a:pt x="340" y="34"/>
                </a:lnTo>
                <a:lnTo>
                  <a:pt x="340" y="28"/>
                </a:lnTo>
                <a:lnTo>
                  <a:pt x="346" y="28"/>
                </a:lnTo>
                <a:lnTo>
                  <a:pt x="346" y="23"/>
                </a:lnTo>
                <a:lnTo>
                  <a:pt x="352" y="23"/>
                </a:lnTo>
                <a:lnTo>
                  <a:pt x="357" y="23"/>
                </a:lnTo>
                <a:lnTo>
                  <a:pt x="363" y="17"/>
                </a:lnTo>
                <a:lnTo>
                  <a:pt x="363" y="11"/>
                </a:lnTo>
                <a:lnTo>
                  <a:pt x="369" y="11"/>
                </a:lnTo>
                <a:lnTo>
                  <a:pt x="369" y="6"/>
                </a:lnTo>
                <a:lnTo>
                  <a:pt x="374" y="6"/>
                </a:lnTo>
                <a:lnTo>
                  <a:pt x="380" y="0"/>
                </a:lnTo>
                <a:lnTo>
                  <a:pt x="386" y="0"/>
                </a:lnTo>
                <a:lnTo>
                  <a:pt x="386" y="6"/>
                </a:lnTo>
                <a:lnTo>
                  <a:pt x="386" y="11"/>
                </a:lnTo>
                <a:lnTo>
                  <a:pt x="391" y="11"/>
                </a:lnTo>
                <a:lnTo>
                  <a:pt x="391" y="17"/>
                </a:lnTo>
                <a:lnTo>
                  <a:pt x="397" y="17"/>
                </a:lnTo>
                <a:lnTo>
                  <a:pt x="403" y="11"/>
                </a:lnTo>
                <a:lnTo>
                  <a:pt x="408" y="17"/>
                </a:lnTo>
                <a:lnTo>
                  <a:pt x="408" y="23"/>
                </a:lnTo>
                <a:lnTo>
                  <a:pt x="403" y="28"/>
                </a:lnTo>
                <a:lnTo>
                  <a:pt x="397" y="28"/>
                </a:lnTo>
                <a:lnTo>
                  <a:pt x="397" y="40"/>
                </a:lnTo>
                <a:lnTo>
                  <a:pt x="397" y="45"/>
                </a:lnTo>
                <a:lnTo>
                  <a:pt x="397" y="51"/>
                </a:lnTo>
                <a:lnTo>
                  <a:pt x="403" y="51"/>
                </a:lnTo>
                <a:lnTo>
                  <a:pt x="408" y="51"/>
                </a:lnTo>
                <a:lnTo>
                  <a:pt x="414" y="51"/>
                </a:lnTo>
                <a:lnTo>
                  <a:pt x="420" y="51"/>
                </a:lnTo>
                <a:lnTo>
                  <a:pt x="425" y="51"/>
                </a:lnTo>
                <a:lnTo>
                  <a:pt x="431" y="51"/>
                </a:lnTo>
                <a:lnTo>
                  <a:pt x="437" y="45"/>
                </a:lnTo>
                <a:lnTo>
                  <a:pt x="442" y="40"/>
                </a:lnTo>
                <a:lnTo>
                  <a:pt x="454" y="40"/>
                </a:lnTo>
                <a:lnTo>
                  <a:pt x="459" y="45"/>
                </a:lnTo>
                <a:lnTo>
                  <a:pt x="465" y="51"/>
                </a:lnTo>
                <a:lnTo>
                  <a:pt x="471" y="51"/>
                </a:lnTo>
                <a:lnTo>
                  <a:pt x="471" y="57"/>
                </a:lnTo>
                <a:lnTo>
                  <a:pt x="471" y="62"/>
                </a:lnTo>
                <a:lnTo>
                  <a:pt x="476" y="62"/>
                </a:lnTo>
                <a:lnTo>
                  <a:pt x="476" y="68"/>
                </a:lnTo>
                <a:lnTo>
                  <a:pt x="482" y="68"/>
                </a:lnTo>
                <a:lnTo>
                  <a:pt x="488" y="68"/>
                </a:lnTo>
                <a:lnTo>
                  <a:pt x="493" y="68"/>
                </a:lnTo>
                <a:lnTo>
                  <a:pt x="499" y="68"/>
                </a:lnTo>
                <a:lnTo>
                  <a:pt x="499" y="74"/>
                </a:lnTo>
                <a:lnTo>
                  <a:pt x="499" y="79"/>
                </a:lnTo>
                <a:lnTo>
                  <a:pt x="499" y="85"/>
                </a:lnTo>
                <a:lnTo>
                  <a:pt x="505" y="85"/>
                </a:lnTo>
                <a:lnTo>
                  <a:pt x="510" y="85"/>
                </a:lnTo>
                <a:lnTo>
                  <a:pt x="516" y="85"/>
                </a:lnTo>
                <a:lnTo>
                  <a:pt x="522" y="79"/>
                </a:lnTo>
                <a:lnTo>
                  <a:pt x="522" y="85"/>
                </a:lnTo>
                <a:lnTo>
                  <a:pt x="522" y="91"/>
                </a:lnTo>
                <a:lnTo>
                  <a:pt x="527" y="96"/>
                </a:lnTo>
                <a:lnTo>
                  <a:pt x="527" y="102"/>
                </a:lnTo>
                <a:lnTo>
                  <a:pt x="527" y="108"/>
                </a:lnTo>
                <a:lnTo>
                  <a:pt x="533" y="108"/>
                </a:lnTo>
                <a:lnTo>
                  <a:pt x="533" y="113"/>
                </a:lnTo>
                <a:lnTo>
                  <a:pt x="539" y="113"/>
                </a:lnTo>
                <a:lnTo>
                  <a:pt x="544" y="113"/>
                </a:lnTo>
                <a:lnTo>
                  <a:pt x="550" y="113"/>
                </a:lnTo>
                <a:lnTo>
                  <a:pt x="550" y="108"/>
                </a:lnTo>
                <a:lnTo>
                  <a:pt x="556" y="108"/>
                </a:lnTo>
                <a:lnTo>
                  <a:pt x="567" y="108"/>
                </a:lnTo>
                <a:lnTo>
                  <a:pt x="573" y="108"/>
                </a:lnTo>
                <a:lnTo>
                  <a:pt x="578" y="102"/>
                </a:lnTo>
                <a:lnTo>
                  <a:pt x="584" y="108"/>
                </a:lnTo>
                <a:lnTo>
                  <a:pt x="590" y="108"/>
                </a:lnTo>
                <a:lnTo>
                  <a:pt x="595" y="108"/>
                </a:lnTo>
                <a:lnTo>
                  <a:pt x="595" y="113"/>
                </a:lnTo>
                <a:lnTo>
                  <a:pt x="595" y="119"/>
                </a:lnTo>
                <a:lnTo>
                  <a:pt x="601" y="125"/>
                </a:lnTo>
                <a:lnTo>
                  <a:pt x="601" y="130"/>
                </a:lnTo>
                <a:lnTo>
                  <a:pt x="607" y="130"/>
                </a:lnTo>
                <a:lnTo>
                  <a:pt x="607" y="136"/>
                </a:lnTo>
                <a:lnTo>
                  <a:pt x="607" y="142"/>
                </a:lnTo>
                <a:lnTo>
                  <a:pt x="607" y="147"/>
                </a:lnTo>
                <a:lnTo>
                  <a:pt x="612" y="153"/>
                </a:lnTo>
                <a:lnTo>
                  <a:pt x="612" y="159"/>
                </a:lnTo>
                <a:lnTo>
                  <a:pt x="607" y="164"/>
                </a:lnTo>
                <a:lnTo>
                  <a:pt x="607" y="176"/>
                </a:lnTo>
                <a:lnTo>
                  <a:pt x="607" y="181"/>
                </a:lnTo>
                <a:lnTo>
                  <a:pt x="607" y="187"/>
                </a:lnTo>
                <a:lnTo>
                  <a:pt x="601" y="187"/>
                </a:lnTo>
                <a:lnTo>
                  <a:pt x="601" y="193"/>
                </a:lnTo>
                <a:lnTo>
                  <a:pt x="595" y="204"/>
                </a:lnTo>
                <a:lnTo>
                  <a:pt x="595" y="210"/>
                </a:lnTo>
                <a:lnTo>
                  <a:pt x="595" y="221"/>
                </a:lnTo>
                <a:lnTo>
                  <a:pt x="595" y="232"/>
                </a:lnTo>
                <a:lnTo>
                  <a:pt x="590" y="238"/>
                </a:lnTo>
                <a:lnTo>
                  <a:pt x="590" y="244"/>
                </a:lnTo>
                <a:lnTo>
                  <a:pt x="584" y="249"/>
                </a:lnTo>
                <a:lnTo>
                  <a:pt x="584" y="255"/>
                </a:lnTo>
                <a:lnTo>
                  <a:pt x="578" y="261"/>
                </a:lnTo>
                <a:lnTo>
                  <a:pt x="578" y="266"/>
                </a:lnTo>
                <a:lnTo>
                  <a:pt x="578" y="272"/>
                </a:lnTo>
                <a:lnTo>
                  <a:pt x="578" y="278"/>
                </a:lnTo>
                <a:lnTo>
                  <a:pt x="578" y="283"/>
                </a:lnTo>
                <a:lnTo>
                  <a:pt x="578" y="289"/>
                </a:lnTo>
                <a:lnTo>
                  <a:pt x="578" y="300"/>
                </a:lnTo>
                <a:lnTo>
                  <a:pt x="578" y="306"/>
                </a:lnTo>
                <a:lnTo>
                  <a:pt x="578" y="317"/>
                </a:lnTo>
                <a:lnTo>
                  <a:pt x="584" y="329"/>
                </a:lnTo>
                <a:lnTo>
                  <a:pt x="584" y="334"/>
                </a:lnTo>
                <a:lnTo>
                  <a:pt x="584" y="340"/>
                </a:lnTo>
                <a:lnTo>
                  <a:pt x="590" y="346"/>
                </a:lnTo>
                <a:lnTo>
                  <a:pt x="590" y="351"/>
                </a:lnTo>
                <a:lnTo>
                  <a:pt x="590" y="357"/>
                </a:lnTo>
                <a:lnTo>
                  <a:pt x="590" y="368"/>
                </a:lnTo>
                <a:lnTo>
                  <a:pt x="590" y="374"/>
                </a:lnTo>
                <a:lnTo>
                  <a:pt x="595" y="385"/>
                </a:lnTo>
                <a:lnTo>
                  <a:pt x="590" y="385"/>
                </a:lnTo>
                <a:lnTo>
                  <a:pt x="584" y="385"/>
                </a:lnTo>
                <a:lnTo>
                  <a:pt x="573" y="391"/>
                </a:lnTo>
                <a:lnTo>
                  <a:pt x="567" y="391"/>
                </a:lnTo>
                <a:lnTo>
                  <a:pt x="550" y="391"/>
                </a:lnTo>
                <a:lnTo>
                  <a:pt x="544" y="391"/>
                </a:lnTo>
                <a:lnTo>
                  <a:pt x="539" y="391"/>
                </a:lnTo>
                <a:lnTo>
                  <a:pt x="533" y="402"/>
                </a:lnTo>
                <a:lnTo>
                  <a:pt x="527" y="402"/>
                </a:lnTo>
                <a:lnTo>
                  <a:pt x="522" y="402"/>
                </a:lnTo>
                <a:lnTo>
                  <a:pt x="516" y="408"/>
                </a:lnTo>
                <a:lnTo>
                  <a:pt x="510" y="408"/>
                </a:lnTo>
                <a:lnTo>
                  <a:pt x="510" y="414"/>
                </a:lnTo>
                <a:lnTo>
                  <a:pt x="505" y="414"/>
                </a:lnTo>
                <a:lnTo>
                  <a:pt x="499" y="414"/>
                </a:lnTo>
                <a:lnTo>
                  <a:pt x="493" y="419"/>
                </a:lnTo>
                <a:lnTo>
                  <a:pt x="493" y="425"/>
                </a:lnTo>
                <a:lnTo>
                  <a:pt x="488" y="425"/>
                </a:lnTo>
                <a:lnTo>
                  <a:pt x="482" y="425"/>
                </a:lnTo>
                <a:lnTo>
                  <a:pt x="476" y="431"/>
                </a:lnTo>
                <a:lnTo>
                  <a:pt x="471" y="431"/>
                </a:lnTo>
                <a:lnTo>
                  <a:pt x="465" y="436"/>
                </a:lnTo>
                <a:lnTo>
                  <a:pt x="459" y="436"/>
                </a:lnTo>
                <a:lnTo>
                  <a:pt x="459" y="442"/>
                </a:lnTo>
                <a:lnTo>
                  <a:pt x="454" y="442"/>
                </a:lnTo>
                <a:lnTo>
                  <a:pt x="442" y="448"/>
                </a:lnTo>
                <a:lnTo>
                  <a:pt x="442" y="453"/>
                </a:lnTo>
                <a:lnTo>
                  <a:pt x="437" y="453"/>
                </a:lnTo>
                <a:lnTo>
                  <a:pt x="431" y="459"/>
                </a:lnTo>
                <a:lnTo>
                  <a:pt x="431" y="465"/>
                </a:lnTo>
                <a:lnTo>
                  <a:pt x="425" y="465"/>
                </a:lnTo>
                <a:lnTo>
                  <a:pt x="425" y="459"/>
                </a:lnTo>
                <a:lnTo>
                  <a:pt x="425" y="453"/>
                </a:lnTo>
                <a:lnTo>
                  <a:pt x="420" y="453"/>
                </a:lnTo>
                <a:lnTo>
                  <a:pt x="420" y="448"/>
                </a:lnTo>
                <a:lnTo>
                  <a:pt x="414" y="442"/>
                </a:lnTo>
                <a:lnTo>
                  <a:pt x="408" y="442"/>
                </a:lnTo>
                <a:lnTo>
                  <a:pt x="403" y="442"/>
                </a:lnTo>
                <a:lnTo>
                  <a:pt x="397" y="442"/>
                </a:lnTo>
                <a:lnTo>
                  <a:pt x="391" y="442"/>
                </a:lnTo>
                <a:lnTo>
                  <a:pt x="386" y="442"/>
                </a:lnTo>
                <a:lnTo>
                  <a:pt x="386" y="448"/>
                </a:lnTo>
                <a:lnTo>
                  <a:pt x="386" y="453"/>
                </a:lnTo>
                <a:lnTo>
                  <a:pt x="380" y="459"/>
                </a:lnTo>
                <a:lnTo>
                  <a:pt x="374" y="465"/>
                </a:lnTo>
                <a:lnTo>
                  <a:pt x="374" y="470"/>
                </a:lnTo>
                <a:lnTo>
                  <a:pt x="380" y="476"/>
                </a:lnTo>
                <a:lnTo>
                  <a:pt x="386" y="476"/>
                </a:lnTo>
                <a:lnTo>
                  <a:pt x="391" y="482"/>
                </a:lnTo>
                <a:lnTo>
                  <a:pt x="397" y="487"/>
                </a:lnTo>
                <a:lnTo>
                  <a:pt x="397" y="499"/>
                </a:lnTo>
                <a:lnTo>
                  <a:pt x="397" y="510"/>
                </a:lnTo>
                <a:lnTo>
                  <a:pt x="397" y="516"/>
                </a:lnTo>
                <a:lnTo>
                  <a:pt x="403" y="516"/>
                </a:lnTo>
                <a:lnTo>
                  <a:pt x="403" y="521"/>
                </a:lnTo>
                <a:lnTo>
                  <a:pt x="403" y="527"/>
                </a:lnTo>
                <a:lnTo>
                  <a:pt x="408" y="527"/>
                </a:lnTo>
                <a:lnTo>
                  <a:pt x="414" y="533"/>
                </a:lnTo>
                <a:lnTo>
                  <a:pt x="414" y="538"/>
                </a:lnTo>
                <a:lnTo>
                  <a:pt x="420" y="538"/>
                </a:lnTo>
                <a:lnTo>
                  <a:pt x="420" y="544"/>
                </a:lnTo>
                <a:lnTo>
                  <a:pt x="425" y="550"/>
                </a:lnTo>
                <a:lnTo>
                  <a:pt x="431" y="550"/>
                </a:lnTo>
                <a:lnTo>
                  <a:pt x="431" y="555"/>
                </a:lnTo>
                <a:lnTo>
                  <a:pt x="442" y="555"/>
                </a:lnTo>
                <a:lnTo>
                  <a:pt x="442" y="561"/>
                </a:lnTo>
                <a:lnTo>
                  <a:pt x="442" y="567"/>
                </a:lnTo>
                <a:lnTo>
                  <a:pt x="437" y="572"/>
                </a:lnTo>
                <a:lnTo>
                  <a:pt x="437" y="578"/>
                </a:lnTo>
                <a:lnTo>
                  <a:pt x="431" y="584"/>
                </a:lnTo>
                <a:lnTo>
                  <a:pt x="431" y="589"/>
                </a:lnTo>
                <a:lnTo>
                  <a:pt x="425" y="595"/>
                </a:lnTo>
                <a:lnTo>
                  <a:pt x="425" y="601"/>
                </a:lnTo>
                <a:lnTo>
                  <a:pt x="420" y="606"/>
                </a:lnTo>
                <a:lnTo>
                  <a:pt x="414" y="606"/>
                </a:lnTo>
                <a:lnTo>
                  <a:pt x="408" y="612"/>
                </a:lnTo>
                <a:lnTo>
                  <a:pt x="403" y="612"/>
                </a:lnTo>
                <a:lnTo>
                  <a:pt x="403" y="618"/>
                </a:lnTo>
                <a:lnTo>
                  <a:pt x="397" y="618"/>
                </a:lnTo>
                <a:lnTo>
                  <a:pt x="397" y="623"/>
                </a:lnTo>
                <a:lnTo>
                  <a:pt x="391" y="623"/>
                </a:lnTo>
                <a:lnTo>
                  <a:pt x="391" y="629"/>
                </a:lnTo>
                <a:lnTo>
                  <a:pt x="386" y="635"/>
                </a:lnTo>
                <a:lnTo>
                  <a:pt x="380" y="635"/>
                </a:lnTo>
                <a:lnTo>
                  <a:pt x="380" y="640"/>
                </a:lnTo>
                <a:lnTo>
                  <a:pt x="374" y="640"/>
                </a:lnTo>
                <a:lnTo>
                  <a:pt x="369" y="640"/>
                </a:lnTo>
                <a:lnTo>
                  <a:pt x="363" y="646"/>
                </a:lnTo>
                <a:lnTo>
                  <a:pt x="357" y="646"/>
                </a:lnTo>
                <a:lnTo>
                  <a:pt x="357" y="652"/>
                </a:lnTo>
                <a:lnTo>
                  <a:pt x="352" y="652"/>
                </a:lnTo>
                <a:lnTo>
                  <a:pt x="346" y="652"/>
                </a:lnTo>
                <a:lnTo>
                  <a:pt x="340" y="652"/>
                </a:lnTo>
                <a:lnTo>
                  <a:pt x="335" y="657"/>
                </a:lnTo>
                <a:lnTo>
                  <a:pt x="329" y="657"/>
                </a:lnTo>
                <a:lnTo>
                  <a:pt x="323" y="652"/>
                </a:lnTo>
                <a:lnTo>
                  <a:pt x="318" y="652"/>
                </a:lnTo>
                <a:lnTo>
                  <a:pt x="318" y="640"/>
                </a:lnTo>
                <a:lnTo>
                  <a:pt x="312" y="640"/>
                </a:lnTo>
                <a:lnTo>
                  <a:pt x="312" y="635"/>
                </a:lnTo>
                <a:lnTo>
                  <a:pt x="312" y="629"/>
                </a:lnTo>
                <a:lnTo>
                  <a:pt x="318" y="623"/>
                </a:lnTo>
                <a:lnTo>
                  <a:pt x="323" y="618"/>
                </a:lnTo>
                <a:lnTo>
                  <a:pt x="323" y="612"/>
                </a:lnTo>
                <a:lnTo>
                  <a:pt x="323" y="606"/>
                </a:lnTo>
                <a:lnTo>
                  <a:pt x="318" y="606"/>
                </a:lnTo>
                <a:lnTo>
                  <a:pt x="312" y="601"/>
                </a:lnTo>
                <a:lnTo>
                  <a:pt x="306" y="595"/>
                </a:lnTo>
                <a:lnTo>
                  <a:pt x="301" y="595"/>
                </a:lnTo>
                <a:lnTo>
                  <a:pt x="295" y="589"/>
                </a:lnTo>
                <a:lnTo>
                  <a:pt x="295" y="584"/>
                </a:lnTo>
                <a:lnTo>
                  <a:pt x="289" y="584"/>
                </a:lnTo>
                <a:lnTo>
                  <a:pt x="289" y="578"/>
                </a:lnTo>
                <a:lnTo>
                  <a:pt x="278" y="572"/>
                </a:lnTo>
                <a:lnTo>
                  <a:pt x="272" y="567"/>
                </a:lnTo>
                <a:lnTo>
                  <a:pt x="267" y="567"/>
                </a:lnTo>
                <a:lnTo>
                  <a:pt x="261" y="567"/>
                </a:lnTo>
                <a:lnTo>
                  <a:pt x="261" y="561"/>
                </a:lnTo>
                <a:lnTo>
                  <a:pt x="255" y="561"/>
                </a:lnTo>
                <a:lnTo>
                  <a:pt x="250" y="555"/>
                </a:lnTo>
                <a:lnTo>
                  <a:pt x="244" y="555"/>
                </a:lnTo>
                <a:lnTo>
                  <a:pt x="244" y="550"/>
                </a:lnTo>
                <a:lnTo>
                  <a:pt x="233" y="544"/>
                </a:lnTo>
                <a:lnTo>
                  <a:pt x="227" y="544"/>
                </a:lnTo>
                <a:lnTo>
                  <a:pt x="227" y="550"/>
                </a:lnTo>
                <a:lnTo>
                  <a:pt x="221" y="550"/>
                </a:lnTo>
                <a:lnTo>
                  <a:pt x="216" y="555"/>
                </a:lnTo>
                <a:lnTo>
                  <a:pt x="210" y="555"/>
                </a:lnTo>
                <a:lnTo>
                  <a:pt x="204" y="555"/>
                </a:lnTo>
                <a:lnTo>
                  <a:pt x="204" y="561"/>
                </a:lnTo>
                <a:lnTo>
                  <a:pt x="199" y="561"/>
                </a:lnTo>
                <a:lnTo>
                  <a:pt x="199" y="567"/>
                </a:lnTo>
                <a:lnTo>
                  <a:pt x="193" y="567"/>
                </a:lnTo>
                <a:lnTo>
                  <a:pt x="187" y="567"/>
                </a:lnTo>
                <a:lnTo>
                  <a:pt x="182" y="567"/>
                </a:lnTo>
                <a:lnTo>
                  <a:pt x="176" y="561"/>
                </a:lnTo>
                <a:lnTo>
                  <a:pt x="176" y="555"/>
                </a:lnTo>
                <a:lnTo>
                  <a:pt x="165" y="555"/>
                </a:lnTo>
                <a:lnTo>
                  <a:pt x="159" y="561"/>
                </a:lnTo>
                <a:lnTo>
                  <a:pt x="159" y="555"/>
                </a:lnTo>
                <a:lnTo>
                  <a:pt x="153" y="555"/>
                </a:lnTo>
                <a:lnTo>
                  <a:pt x="148" y="555"/>
                </a:lnTo>
                <a:lnTo>
                  <a:pt x="148" y="561"/>
                </a:lnTo>
                <a:lnTo>
                  <a:pt x="142" y="561"/>
                </a:lnTo>
                <a:lnTo>
                  <a:pt x="136" y="561"/>
                </a:lnTo>
                <a:lnTo>
                  <a:pt x="136" y="555"/>
                </a:lnTo>
                <a:lnTo>
                  <a:pt x="131" y="555"/>
                </a:lnTo>
                <a:lnTo>
                  <a:pt x="125" y="555"/>
                </a:lnTo>
                <a:lnTo>
                  <a:pt x="119" y="555"/>
                </a:lnTo>
                <a:lnTo>
                  <a:pt x="114" y="555"/>
                </a:lnTo>
                <a:lnTo>
                  <a:pt x="114" y="561"/>
                </a:lnTo>
                <a:lnTo>
                  <a:pt x="114" y="567"/>
                </a:lnTo>
                <a:lnTo>
                  <a:pt x="119" y="567"/>
                </a:lnTo>
                <a:lnTo>
                  <a:pt x="119" y="572"/>
                </a:lnTo>
                <a:lnTo>
                  <a:pt x="119" y="578"/>
                </a:lnTo>
                <a:lnTo>
                  <a:pt x="119" y="584"/>
                </a:lnTo>
                <a:lnTo>
                  <a:pt x="114" y="584"/>
                </a:lnTo>
                <a:lnTo>
                  <a:pt x="108" y="584"/>
                </a:lnTo>
                <a:lnTo>
                  <a:pt x="102" y="589"/>
                </a:lnTo>
                <a:lnTo>
                  <a:pt x="102" y="595"/>
                </a:lnTo>
                <a:lnTo>
                  <a:pt x="97" y="595"/>
                </a:lnTo>
                <a:lnTo>
                  <a:pt x="91" y="595"/>
                </a:lnTo>
                <a:lnTo>
                  <a:pt x="85" y="589"/>
                </a:lnTo>
                <a:lnTo>
                  <a:pt x="85" y="584"/>
                </a:lnTo>
                <a:lnTo>
                  <a:pt x="80" y="584"/>
                </a:lnTo>
                <a:lnTo>
                  <a:pt x="80" y="578"/>
                </a:lnTo>
                <a:lnTo>
                  <a:pt x="80" y="572"/>
                </a:lnTo>
                <a:lnTo>
                  <a:pt x="80" y="567"/>
                </a:lnTo>
                <a:lnTo>
                  <a:pt x="80" y="555"/>
                </a:lnTo>
                <a:lnTo>
                  <a:pt x="85" y="555"/>
                </a:lnTo>
                <a:lnTo>
                  <a:pt x="85" y="550"/>
                </a:lnTo>
                <a:lnTo>
                  <a:pt x="80" y="544"/>
                </a:lnTo>
                <a:lnTo>
                  <a:pt x="74" y="544"/>
                </a:lnTo>
                <a:lnTo>
                  <a:pt x="74" y="538"/>
                </a:lnTo>
                <a:lnTo>
                  <a:pt x="74" y="533"/>
                </a:lnTo>
                <a:lnTo>
                  <a:pt x="68" y="527"/>
                </a:lnTo>
                <a:lnTo>
                  <a:pt x="63" y="527"/>
                </a:lnTo>
                <a:lnTo>
                  <a:pt x="63" y="521"/>
                </a:lnTo>
                <a:lnTo>
                  <a:pt x="57" y="521"/>
                </a:lnTo>
                <a:lnTo>
                  <a:pt x="57" y="516"/>
                </a:lnTo>
                <a:lnTo>
                  <a:pt x="51" y="516"/>
                </a:lnTo>
                <a:lnTo>
                  <a:pt x="46" y="510"/>
                </a:lnTo>
                <a:lnTo>
                  <a:pt x="40" y="51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2" name="Freeform 23"/>
          <p:cNvSpPr>
            <a:spLocks/>
          </p:cNvSpPr>
          <p:nvPr/>
        </p:nvSpPr>
        <p:spPr bwMode="gray">
          <a:xfrm>
            <a:off x="3387087" y="4823601"/>
            <a:ext cx="971904" cy="709448"/>
          </a:xfrm>
          <a:custGeom>
            <a:avLst/>
            <a:gdLst>
              <a:gd name="T0" fmla="*/ 2147483647 w 573"/>
              <a:gd name="T1" fmla="*/ 2147483647 h 419"/>
              <a:gd name="T2" fmla="*/ 2147483647 w 573"/>
              <a:gd name="T3" fmla="*/ 2147483647 h 419"/>
              <a:gd name="T4" fmla="*/ 2147483647 w 573"/>
              <a:gd name="T5" fmla="*/ 2147483647 h 419"/>
              <a:gd name="T6" fmla="*/ 2147483647 w 573"/>
              <a:gd name="T7" fmla="*/ 2147483647 h 419"/>
              <a:gd name="T8" fmla="*/ 2147483647 w 573"/>
              <a:gd name="T9" fmla="*/ 2147483647 h 419"/>
              <a:gd name="T10" fmla="*/ 2147483647 w 573"/>
              <a:gd name="T11" fmla="*/ 2147483647 h 419"/>
              <a:gd name="T12" fmla="*/ 2147483647 w 573"/>
              <a:gd name="T13" fmla="*/ 2147483647 h 419"/>
              <a:gd name="T14" fmla="*/ 2147483647 w 573"/>
              <a:gd name="T15" fmla="*/ 2147483647 h 419"/>
              <a:gd name="T16" fmla="*/ 2147483647 w 573"/>
              <a:gd name="T17" fmla="*/ 2147483647 h 419"/>
              <a:gd name="T18" fmla="*/ 2147483647 w 573"/>
              <a:gd name="T19" fmla="*/ 2147483647 h 419"/>
              <a:gd name="T20" fmla="*/ 2147483647 w 573"/>
              <a:gd name="T21" fmla="*/ 2147483647 h 419"/>
              <a:gd name="T22" fmla="*/ 0 w 573"/>
              <a:gd name="T23" fmla="*/ 2147483647 h 419"/>
              <a:gd name="T24" fmla="*/ 2147483647 w 573"/>
              <a:gd name="T25" fmla="*/ 2147483647 h 419"/>
              <a:gd name="T26" fmla="*/ 2147483647 w 573"/>
              <a:gd name="T27" fmla="*/ 2147483647 h 419"/>
              <a:gd name="T28" fmla="*/ 2147483647 w 573"/>
              <a:gd name="T29" fmla="*/ 2147483647 h 419"/>
              <a:gd name="T30" fmla="*/ 2147483647 w 573"/>
              <a:gd name="T31" fmla="*/ 2147483647 h 419"/>
              <a:gd name="T32" fmla="*/ 2147483647 w 573"/>
              <a:gd name="T33" fmla="*/ 2147483647 h 419"/>
              <a:gd name="T34" fmla="*/ 2147483647 w 573"/>
              <a:gd name="T35" fmla="*/ 2147483647 h 419"/>
              <a:gd name="T36" fmla="*/ 2147483647 w 573"/>
              <a:gd name="T37" fmla="*/ 2147483647 h 419"/>
              <a:gd name="T38" fmla="*/ 2147483647 w 573"/>
              <a:gd name="T39" fmla="*/ 0 h 419"/>
              <a:gd name="T40" fmla="*/ 2147483647 w 573"/>
              <a:gd name="T41" fmla="*/ 2147483647 h 419"/>
              <a:gd name="T42" fmla="*/ 2147483647 w 573"/>
              <a:gd name="T43" fmla="*/ 2147483647 h 419"/>
              <a:gd name="T44" fmla="*/ 2147483647 w 573"/>
              <a:gd name="T45" fmla="*/ 2147483647 h 419"/>
              <a:gd name="T46" fmla="*/ 2147483647 w 573"/>
              <a:gd name="T47" fmla="*/ 2147483647 h 419"/>
              <a:gd name="T48" fmla="*/ 2147483647 w 573"/>
              <a:gd name="T49" fmla="*/ 2147483647 h 419"/>
              <a:gd name="T50" fmla="*/ 2147483647 w 573"/>
              <a:gd name="T51" fmla="*/ 2147483647 h 419"/>
              <a:gd name="T52" fmla="*/ 2147483647 w 573"/>
              <a:gd name="T53" fmla="*/ 2147483647 h 419"/>
              <a:gd name="T54" fmla="*/ 2147483647 w 573"/>
              <a:gd name="T55" fmla="*/ 2147483647 h 419"/>
              <a:gd name="T56" fmla="*/ 2147483647 w 573"/>
              <a:gd name="T57" fmla="*/ 2147483647 h 419"/>
              <a:gd name="T58" fmla="*/ 2147483647 w 573"/>
              <a:gd name="T59" fmla="*/ 2147483647 h 419"/>
              <a:gd name="T60" fmla="*/ 2147483647 w 573"/>
              <a:gd name="T61" fmla="*/ 2147483647 h 419"/>
              <a:gd name="T62" fmla="*/ 2147483647 w 573"/>
              <a:gd name="T63" fmla="*/ 2147483647 h 419"/>
              <a:gd name="T64" fmla="*/ 2147483647 w 573"/>
              <a:gd name="T65" fmla="*/ 2147483647 h 419"/>
              <a:gd name="T66" fmla="*/ 2147483647 w 573"/>
              <a:gd name="T67" fmla="*/ 2147483647 h 419"/>
              <a:gd name="T68" fmla="*/ 2147483647 w 573"/>
              <a:gd name="T69" fmla="*/ 2147483647 h 419"/>
              <a:gd name="T70" fmla="*/ 2147483647 w 573"/>
              <a:gd name="T71" fmla="*/ 2147483647 h 419"/>
              <a:gd name="T72" fmla="*/ 2147483647 w 573"/>
              <a:gd name="T73" fmla="*/ 2147483647 h 419"/>
              <a:gd name="T74" fmla="*/ 2147483647 w 573"/>
              <a:gd name="T75" fmla="*/ 2147483647 h 419"/>
              <a:gd name="T76" fmla="*/ 2147483647 w 573"/>
              <a:gd name="T77" fmla="*/ 2147483647 h 419"/>
              <a:gd name="T78" fmla="*/ 2147483647 w 573"/>
              <a:gd name="T79" fmla="*/ 2147483647 h 419"/>
              <a:gd name="T80" fmla="*/ 2147483647 w 573"/>
              <a:gd name="T81" fmla="*/ 2147483647 h 419"/>
              <a:gd name="T82" fmla="*/ 2147483647 w 573"/>
              <a:gd name="T83" fmla="*/ 2147483647 h 419"/>
              <a:gd name="T84" fmla="*/ 2147483647 w 573"/>
              <a:gd name="T85" fmla="*/ 2147483647 h 419"/>
              <a:gd name="T86" fmla="*/ 2147483647 w 573"/>
              <a:gd name="T87" fmla="*/ 2147483647 h 419"/>
              <a:gd name="T88" fmla="*/ 2147483647 w 573"/>
              <a:gd name="T89" fmla="*/ 2147483647 h 419"/>
              <a:gd name="T90" fmla="*/ 2147483647 w 573"/>
              <a:gd name="T91" fmla="*/ 2147483647 h 419"/>
              <a:gd name="T92" fmla="*/ 2147483647 w 573"/>
              <a:gd name="T93" fmla="*/ 2147483647 h 419"/>
              <a:gd name="T94" fmla="*/ 2147483647 w 573"/>
              <a:gd name="T95" fmla="*/ 2147483647 h 419"/>
              <a:gd name="T96" fmla="*/ 2147483647 w 573"/>
              <a:gd name="T97" fmla="*/ 2147483647 h 419"/>
              <a:gd name="T98" fmla="*/ 2147483647 w 573"/>
              <a:gd name="T99" fmla="*/ 2147483647 h 419"/>
              <a:gd name="T100" fmla="*/ 2147483647 w 573"/>
              <a:gd name="T101" fmla="*/ 2147483647 h 419"/>
              <a:gd name="T102" fmla="*/ 2147483647 w 573"/>
              <a:gd name="T103" fmla="*/ 2147483647 h 419"/>
              <a:gd name="T104" fmla="*/ 2147483647 w 573"/>
              <a:gd name="T105" fmla="*/ 2147483647 h 419"/>
              <a:gd name="T106" fmla="*/ 2147483647 w 573"/>
              <a:gd name="T107" fmla="*/ 2147483647 h 419"/>
              <a:gd name="T108" fmla="*/ 2147483647 w 573"/>
              <a:gd name="T109" fmla="*/ 2147483647 h 419"/>
              <a:gd name="T110" fmla="*/ 2147483647 w 573"/>
              <a:gd name="T111" fmla="*/ 2147483647 h 419"/>
              <a:gd name="T112" fmla="*/ 2147483647 w 573"/>
              <a:gd name="T113" fmla="*/ 2147483647 h 419"/>
              <a:gd name="T114" fmla="*/ 2147483647 w 573"/>
              <a:gd name="T115" fmla="*/ 2147483647 h 419"/>
              <a:gd name="T116" fmla="*/ 2147483647 w 573"/>
              <a:gd name="T117" fmla="*/ 2147483647 h 419"/>
              <a:gd name="T118" fmla="*/ 2147483647 w 573"/>
              <a:gd name="T119" fmla="*/ 2147483647 h 41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73"/>
              <a:gd name="T181" fmla="*/ 0 h 419"/>
              <a:gd name="T182" fmla="*/ 573 w 573"/>
              <a:gd name="T183" fmla="*/ 419 h 41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73" h="419">
                <a:moveTo>
                  <a:pt x="153" y="374"/>
                </a:moveTo>
                <a:lnTo>
                  <a:pt x="148" y="374"/>
                </a:lnTo>
                <a:lnTo>
                  <a:pt x="142" y="374"/>
                </a:lnTo>
                <a:lnTo>
                  <a:pt x="136" y="374"/>
                </a:lnTo>
                <a:lnTo>
                  <a:pt x="131" y="374"/>
                </a:lnTo>
                <a:lnTo>
                  <a:pt x="125" y="374"/>
                </a:lnTo>
                <a:lnTo>
                  <a:pt x="125" y="368"/>
                </a:lnTo>
                <a:lnTo>
                  <a:pt x="119" y="368"/>
                </a:lnTo>
                <a:lnTo>
                  <a:pt x="114" y="362"/>
                </a:lnTo>
                <a:lnTo>
                  <a:pt x="114" y="351"/>
                </a:lnTo>
                <a:lnTo>
                  <a:pt x="108" y="345"/>
                </a:lnTo>
                <a:lnTo>
                  <a:pt x="108" y="340"/>
                </a:lnTo>
                <a:lnTo>
                  <a:pt x="108" y="328"/>
                </a:lnTo>
                <a:lnTo>
                  <a:pt x="108" y="323"/>
                </a:lnTo>
                <a:lnTo>
                  <a:pt x="102" y="323"/>
                </a:lnTo>
                <a:lnTo>
                  <a:pt x="97" y="323"/>
                </a:lnTo>
                <a:lnTo>
                  <a:pt x="97" y="317"/>
                </a:lnTo>
                <a:lnTo>
                  <a:pt x="97" y="311"/>
                </a:lnTo>
                <a:lnTo>
                  <a:pt x="97" y="306"/>
                </a:lnTo>
                <a:lnTo>
                  <a:pt x="91" y="306"/>
                </a:lnTo>
                <a:lnTo>
                  <a:pt x="85" y="306"/>
                </a:lnTo>
                <a:lnTo>
                  <a:pt x="80" y="306"/>
                </a:lnTo>
                <a:lnTo>
                  <a:pt x="80" y="300"/>
                </a:lnTo>
                <a:lnTo>
                  <a:pt x="80" y="294"/>
                </a:lnTo>
                <a:lnTo>
                  <a:pt x="80" y="289"/>
                </a:lnTo>
                <a:lnTo>
                  <a:pt x="85" y="283"/>
                </a:lnTo>
                <a:lnTo>
                  <a:pt x="85" y="277"/>
                </a:lnTo>
                <a:lnTo>
                  <a:pt x="80" y="277"/>
                </a:lnTo>
                <a:lnTo>
                  <a:pt x="80" y="266"/>
                </a:lnTo>
                <a:lnTo>
                  <a:pt x="80" y="260"/>
                </a:lnTo>
                <a:lnTo>
                  <a:pt x="74" y="255"/>
                </a:lnTo>
                <a:lnTo>
                  <a:pt x="68" y="255"/>
                </a:lnTo>
                <a:lnTo>
                  <a:pt x="68" y="249"/>
                </a:lnTo>
                <a:lnTo>
                  <a:pt x="63" y="249"/>
                </a:lnTo>
                <a:lnTo>
                  <a:pt x="57" y="243"/>
                </a:lnTo>
                <a:lnTo>
                  <a:pt x="57" y="238"/>
                </a:lnTo>
                <a:lnTo>
                  <a:pt x="51" y="238"/>
                </a:lnTo>
                <a:lnTo>
                  <a:pt x="46" y="238"/>
                </a:lnTo>
                <a:lnTo>
                  <a:pt x="40" y="238"/>
                </a:lnTo>
                <a:lnTo>
                  <a:pt x="40" y="232"/>
                </a:lnTo>
                <a:lnTo>
                  <a:pt x="40" y="226"/>
                </a:lnTo>
                <a:lnTo>
                  <a:pt x="40" y="221"/>
                </a:lnTo>
                <a:lnTo>
                  <a:pt x="46" y="221"/>
                </a:lnTo>
                <a:lnTo>
                  <a:pt x="40" y="215"/>
                </a:lnTo>
                <a:lnTo>
                  <a:pt x="40" y="209"/>
                </a:lnTo>
                <a:lnTo>
                  <a:pt x="46" y="204"/>
                </a:lnTo>
                <a:lnTo>
                  <a:pt x="46" y="198"/>
                </a:lnTo>
                <a:lnTo>
                  <a:pt x="51" y="192"/>
                </a:lnTo>
                <a:lnTo>
                  <a:pt x="57" y="187"/>
                </a:lnTo>
                <a:lnTo>
                  <a:pt x="63" y="187"/>
                </a:lnTo>
                <a:lnTo>
                  <a:pt x="63" y="181"/>
                </a:lnTo>
                <a:lnTo>
                  <a:pt x="68" y="181"/>
                </a:lnTo>
                <a:lnTo>
                  <a:pt x="68" y="175"/>
                </a:lnTo>
                <a:lnTo>
                  <a:pt x="68" y="170"/>
                </a:lnTo>
                <a:lnTo>
                  <a:pt x="74" y="164"/>
                </a:lnTo>
                <a:lnTo>
                  <a:pt x="74" y="158"/>
                </a:lnTo>
                <a:lnTo>
                  <a:pt x="68" y="153"/>
                </a:lnTo>
                <a:lnTo>
                  <a:pt x="63" y="153"/>
                </a:lnTo>
                <a:lnTo>
                  <a:pt x="57" y="147"/>
                </a:lnTo>
                <a:lnTo>
                  <a:pt x="51" y="147"/>
                </a:lnTo>
                <a:lnTo>
                  <a:pt x="46" y="147"/>
                </a:lnTo>
                <a:lnTo>
                  <a:pt x="40" y="141"/>
                </a:lnTo>
                <a:lnTo>
                  <a:pt x="34" y="141"/>
                </a:lnTo>
                <a:lnTo>
                  <a:pt x="29" y="136"/>
                </a:lnTo>
                <a:lnTo>
                  <a:pt x="23" y="136"/>
                </a:lnTo>
                <a:lnTo>
                  <a:pt x="17" y="136"/>
                </a:lnTo>
                <a:lnTo>
                  <a:pt x="12" y="136"/>
                </a:lnTo>
                <a:lnTo>
                  <a:pt x="12" y="141"/>
                </a:lnTo>
                <a:lnTo>
                  <a:pt x="6" y="141"/>
                </a:lnTo>
                <a:lnTo>
                  <a:pt x="0" y="141"/>
                </a:lnTo>
                <a:lnTo>
                  <a:pt x="0" y="136"/>
                </a:lnTo>
                <a:lnTo>
                  <a:pt x="0" y="130"/>
                </a:lnTo>
                <a:lnTo>
                  <a:pt x="0" y="124"/>
                </a:lnTo>
                <a:lnTo>
                  <a:pt x="0" y="119"/>
                </a:lnTo>
                <a:lnTo>
                  <a:pt x="0" y="113"/>
                </a:lnTo>
                <a:lnTo>
                  <a:pt x="6" y="113"/>
                </a:lnTo>
                <a:lnTo>
                  <a:pt x="6" y="107"/>
                </a:lnTo>
                <a:lnTo>
                  <a:pt x="12" y="102"/>
                </a:lnTo>
                <a:lnTo>
                  <a:pt x="12" y="96"/>
                </a:lnTo>
                <a:lnTo>
                  <a:pt x="12" y="90"/>
                </a:lnTo>
                <a:lnTo>
                  <a:pt x="12" y="85"/>
                </a:lnTo>
                <a:lnTo>
                  <a:pt x="17" y="85"/>
                </a:lnTo>
                <a:lnTo>
                  <a:pt x="23" y="90"/>
                </a:lnTo>
                <a:lnTo>
                  <a:pt x="23" y="96"/>
                </a:lnTo>
                <a:lnTo>
                  <a:pt x="23" y="102"/>
                </a:lnTo>
                <a:lnTo>
                  <a:pt x="29" y="102"/>
                </a:lnTo>
                <a:lnTo>
                  <a:pt x="29" y="107"/>
                </a:lnTo>
                <a:lnTo>
                  <a:pt x="29" y="113"/>
                </a:lnTo>
                <a:lnTo>
                  <a:pt x="34" y="113"/>
                </a:lnTo>
                <a:lnTo>
                  <a:pt x="40" y="113"/>
                </a:lnTo>
                <a:lnTo>
                  <a:pt x="46" y="113"/>
                </a:lnTo>
                <a:lnTo>
                  <a:pt x="51" y="107"/>
                </a:lnTo>
                <a:lnTo>
                  <a:pt x="57" y="102"/>
                </a:lnTo>
                <a:lnTo>
                  <a:pt x="63" y="96"/>
                </a:lnTo>
                <a:lnTo>
                  <a:pt x="68" y="96"/>
                </a:lnTo>
                <a:lnTo>
                  <a:pt x="68" y="90"/>
                </a:lnTo>
                <a:lnTo>
                  <a:pt x="80" y="85"/>
                </a:lnTo>
                <a:lnTo>
                  <a:pt x="85" y="79"/>
                </a:lnTo>
                <a:lnTo>
                  <a:pt x="91" y="73"/>
                </a:lnTo>
                <a:lnTo>
                  <a:pt x="97" y="73"/>
                </a:lnTo>
                <a:lnTo>
                  <a:pt x="97" y="62"/>
                </a:lnTo>
                <a:lnTo>
                  <a:pt x="102" y="62"/>
                </a:lnTo>
                <a:lnTo>
                  <a:pt x="108" y="56"/>
                </a:lnTo>
                <a:lnTo>
                  <a:pt x="114" y="56"/>
                </a:lnTo>
                <a:lnTo>
                  <a:pt x="114" y="51"/>
                </a:lnTo>
                <a:lnTo>
                  <a:pt x="125" y="45"/>
                </a:lnTo>
                <a:lnTo>
                  <a:pt x="125" y="39"/>
                </a:lnTo>
                <a:lnTo>
                  <a:pt x="125" y="34"/>
                </a:lnTo>
                <a:lnTo>
                  <a:pt x="131" y="34"/>
                </a:lnTo>
                <a:lnTo>
                  <a:pt x="136" y="28"/>
                </a:lnTo>
                <a:lnTo>
                  <a:pt x="142" y="28"/>
                </a:lnTo>
                <a:lnTo>
                  <a:pt x="142" y="22"/>
                </a:lnTo>
                <a:lnTo>
                  <a:pt x="148" y="17"/>
                </a:lnTo>
                <a:lnTo>
                  <a:pt x="153" y="17"/>
                </a:lnTo>
                <a:lnTo>
                  <a:pt x="153" y="11"/>
                </a:lnTo>
                <a:lnTo>
                  <a:pt x="159" y="11"/>
                </a:lnTo>
                <a:lnTo>
                  <a:pt x="159" y="5"/>
                </a:lnTo>
                <a:lnTo>
                  <a:pt x="165" y="5"/>
                </a:lnTo>
                <a:lnTo>
                  <a:pt x="165" y="0"/>
                </a:lnTo>
                <a:lnTo>
                  <a:pt x="171" y="0"/>
                </a:lnTo>
                <a:lnTo>
                  <a:pt x="182" y="0"/>
                </a:lnTo>
                <a:lnTo>
                  <a:pt x="188" y="0"/>
                </a:lnTo>
                <a:lnTo>
                  <a:pt x="193" y="0"/>
                </a:lnTo>
                <a:lnTo>
                  <a:pt x="199" y="0"/>
                </a:lnTo>
                <a:lnTo>
                  <a:pt x="205" y="5"/>
                </a:lnTo>
                <a:lnTo>
                  <a:pt x="210" y="11"/>
                </a:lnTo>
                <a:lnTo>
                  <a:pt x="216" y="22"/>
                </a:lnTo>
                <a:lnTo>
                  <a:pt x="222" y="28"/>
                </a:lnTo>
                <a:lnTo>
                  <a:pt x="222" y="34"/>
                </a:lnTo>
                <a:lnTo>
                  <a:pt x="222" y="39"/>
                </a:lnTo>
                <a:lnTo>
                  <a:pt x="222" y="45"/>
                </a:lnTo>
                <a:lnTo>
                  <a:pt x="227" y="45"/>
                </a:lnTo>
                <a:lnTo>
                  <a:pt x="233" y="51"/>
                </a:lnTo>
                <a:lnTo>
                  <a:pt x="233" y="56"/>
                </a:lnTo>
                <a:lnTo>
                  <a:pt x="239" y="56"/>
                </a:lnTo>
                <a:lnTo>
                  <a:pt x="239" y="62"/>
                </a:lnTo>
                <a:lnTo>
                  <a:pt x="244" y="62"/>
                </a:lnTo>
                <a:lnTo>
                  <a:pt x="250" y="68"/>
                </a:lnTo>
                <a:lnTo>
                  <a:pt x="250" y="73"/>
                </a:lnTo>
                <a:lnTo>
                  <a:pt x="256" y="79"/>
                </a:lnTo>
                <a:lnTo>
                  <a:pt x="261" y="85"/>
                </a:lnTo>
                <a:lnTo>
                  <a:pt x="267" y="90"/>
                </a:lnTo>
                <a:lnTo>
                  <a:pt x="273" y="90"/>
                </a:lnTo>
                <a:lnTo>
                  <a:pt x="284" y="90"/>
                </a:lnTo>
                <a:lnTo>
                  <a:pt x="290" y="90"/>
                </a:lnTo>
                <a:lnTo>
                  <a:pt x="290" y="85"/>
                </a:lnTo>
                <a:lnTo>
                  <a:pt x="295" y="85"/>
                </a:lnTo>
                <a:lnTo>
                  <a:pt x="301" y="85"/>
                </a:lnTo>
                <a:lnTo>
                  <a:pt x="307" y="79"/>
                </a:lnTo>
                <a:lnTo>
                  <a:pt x="312" y="79"/>
                </a:lnTo>
                <a:lnTo>
                  <a:pt x="318" y="79"/>
                </a:lnTo>
                <a:lnTo>
                  <a:pt x="324" y="79"/>
                </a:lnTo>
                <a:lnTo>
                  <a:pt x="324" y="85"/>
                </a:lnTo>
                <a:lnTo>
                  <a:pt x="329" y="90"/>
                </a:lnTo>
                <a:lnTo>
                  <a:pt x="335" y="90"/>
                </a:lnTo>
                <a:lnTo>
                  <a:pt x="335" y="96"/>
                </a:lnTo>
                <a:lnTo>
                  <a:pt x="341" y="102"/>
                </a:lnTo>
                <a:lnTo>
                  <a:pt x="346" y="113"/>
                </a:lnTo>
                <a:lnTo>
                  <a:pt x="346" y="119"/>
                </a:lnTo>
                <a:lnTo>
                  <a:pt x="346" y="124"/>
                </a:lnTo>
                <a:lnTo>
                  <a:pt x="346" y="130"/>
                </a:lnTo>
                <a:lnTo>
                  <a:pt x="346" y="136"/>
                </a:lnTo>
                <a:lnTo>
                  <a:pt x="341" y="141"/>
                </a:lnTo>
                <a:lnTo>
                  <a:pt x="335" y="147"/>
                </a:lnTo>
                <a:lnTo>
                  <a:pt x="335" y="153"/>
                </a:lnTo>
                <a:lnTo>
                  <a:pt x="335" y="158"/>
                </a:lnTo>
                <a:lnTo>
                  <a:pt x="329" y="158"/>
                </a:lnTo>
                <a:lnTo>
                  <a:pt x="329" y="170"/>
                </a:lnTo>
                <a:lnTo>
                  <a:pt x="329" y="175"/>
                </a:lnTo>
                <a:lnTo>
                  <a:pt x="335" y="181"/>
                </a:lnTo>
                <a:lnTo>
                  <a:pt x="335" y="187"/>
                </a:lnTo>
                <a:lnTo>
                  <a:pt x="341" y="187"/>
                </a:lnTo>
                <a:lnTo>
                  <a:pt x="346" y="192"/>
                </a:lnTo>
                <a:lnTo>
                  <a:pt x="352" y="198"/>
                </a:lnTo>
                <a:lnTo>
                  <a:pt x="358" y="204"/>
                </a:lnTo>
                <a:lnTo>
                  <a:pt x="363" y="204"/>
                </a:lnTo>
                <a:lnTo>
                  <a:pt x="363" y="209"/>
                </a:lnTo>
                <a:lnTo>
                  <a:pt x="369" y="209"/>
                </a:lnTo>
                <a:lnTo>
                  <a:pt x="375" y="209"/>
                </a:lnTo>
                <a:lnTo>
                  <a:pt x="375" y="204"/>
                </a:lnTo>
                <a:lnTo>
                  <a:pt x="380" y="198"/>
                </a:lnTo>
                <a:lnTo>
                  <a:pt x="380" y="192"/>
                </a:lnTo>
                <a:lnTo>
                  <a:pt x="380" y="187"/>
                </a:lnTo>
                <a:lnTo>
                  <a:pt x="380" y="181"/>
                </a:lnTo>
                <a:lnTo>
                  <a:pt x="380" y="170"/>
                </a:lnTo>
                <a:lnTo>
                  <a:pt x="380" y="158"/>
                </a:lnTo>
                <a:lnTo>
                  <a:pt x="386" y="153"/>
                </a:lnTo>
                <a:lnTo>
                  <a:pt x="386" y="147"/>
                </a:lnTo>
                <a:lnTo>
                  <a:pt x="392" y="141"/>
                </a:lnTo>
                <a:lnTo>
                  <a:pt x="397" y="141"/>
                </a:lnTo>
                <a:lnTo>
                  <a:pt x="403" y="141"/>
                </a:lnTo>
                <a:lnTo>
                  <a:pt x="409" y="141"/>
                </a:lnTo>
                <a:lnTo>
                  <a:pt x="420" y="141"/>
                </a:lnTo>
                <a:lnTo>
                  <a:pt x="431" y="136"/>
                </a:lnTo>
                <a:lnTo>
                  <a:pt x="437" y="130"/>
                </a:lnTo>
                <a:lnTo>
                  <a:pt x="448" y="124"/>
                </a:lnTo>
                <a:lnTo>
                  <a:pt x="454" y="124"/>
                </a:lnTo>
                <a:lnTo>
                  <a:pt x="460" y="124"/>
                </a:lnTo>
                <a:lnTo>
                  <a:pt x="460" y="119"/>
                </a:lnTo>
                <a:lnTo>
                  <a:pt x="465" y="119"/>
                </a:lnTo>
                <a:lnTo>
                  <a:pt x="471" y="119"/>
                </a:lnTo>
                <a:lnTo>
                  <a:pt x="477" y="119"/>
                </a:lnTo>
                <a:lnTo>
                  <a:pt x="477" y="124"/>
                </a:lnTo>
                <a:lnTo>
                  <a:pt x="482" y="124"/>
                </a:lnTo>
                <a:lnTo>
                  <a:pt x="482" y="130"/>
                </a:lnTo>
                <a:lnTo>
                  <a:pt x="488" y="130"/>
                </a:lnTo>
                <a:lnTo>
                  <a:pt x="488" y="141"/>
                </a:lnTo>
                <a:lnTo>
                  <a:pt x="494" y="141"/>
                </a:lnTo>
                <a:lnTo>
                  <a:pt x="499" y="147"/>
                </a:lnTo>
                <a:lnTo>
                  <a:pt x="499" y="153"/>
                </a:lnTo>
                <a:lnTo>
                  <a:pt x="499" y="158"/>
                </a:lnTo>
                <a:lnTo>
                  <a:pt x="505" y="158"/>
                </a:lnTo>
                <a:lnTo>
                  <a:pt x="505" y="164"/>
                </a:lnTo>
                <a:lnTo>
                  <a:pt x="505" y="170"/>
                </a:lnTo>
                <a:lnTo>
                  <a:pt x="511" y="175"/>
                </a:lnTo>
                <a:lnTo>
                  <a:pt x="516" y="181"/>
                </a:lnTo>
                <a:lnTo>
                  <a:pt x="516" y="187"/>
                </a:lnTo>
                <a:lnTo>
                  <a:pt x="533" y="198"/>
                </a:lnTo>
                <a:lnTo>
                  <a:pt x="533" y="204"/>
                </a:lnTo>
                <a:lnTo>
                  <a:pt x="539" y="209"/>
                </a:lnTo>
                <a:lnTo>
                  <a:pt x="545" y="215"/>
                </a:lnTo>
                <a:lnTo>
                  <a:pt x="545" y="221"/>
                </a:lnTo>
                <a:lnTo>
                  <a:pt x="545" y="226"/>
                </a:lnTo>
                <a:lnTo>
                  <a:pt x="545" y="232"/>
                </a:lnTo>
                <a:lnTo>
                  <a:pt x="550" y="232"/>
                </a:lnTo>
                <a:lnTo>
                  <a:pt x="550" y="238"/>
                </a:lnTo>
                <a:lnTo>
                  <a:pt x="556" y="238"/>
                </a:lnTo>
                <a:lnTo>
                  <a:pt x="556" y="243"/>
                </a:lnTo>
                <a:lnTo>
                  <a:pt x="556" y="249"/>
                </a:lnTo>
                <a:lnTo>
                  <a:pt x="556" y="255"/>
                </a:lnTo>
                <a:lnTo>
                  <a:pt x="562" y="255"/>
                </a:lnTo>
                <a:lnTo>
                  <a:pt x="562" y="260"/>
                </a:lnTo>
                <a:lnTo>
                  <a:pt x="567" y="260"/>
                </a:lnTo>
                <a:lnTo>
                  <a:pt x="567" y="266"/>
                </a:lnTo>
                <a:lnTo>
                  <a:pt x="573" y="266"/>
                </a:lnTo>
                <a:lnTo>
                  <a:pt x="573" y="272"/>
                </a:lnTo>
                <a:lnTo>
                  <a:pt x="573" y="277"/>
                </a:lnTo>
                <a:lnTo>
                  <a:pt x="567" y="283"/>
                </a:lnTo>
                <a:lnTo>
                  <a:pt x="562" y="283"/>
                </a:lnTo>
                <a:lnTo>
                  <a:pt x="556" y="283"/>
                </a:lnTo>
                <a:lnTo>
                  <a:pt x="550" y="283"/>
                </a:lnTo>
                <a:lnTo>
                  <a:pt x="545" y="283"/>
                </a:lnTo>
                <a:lnTo>
                  <a:pt x="539" y="283"/>
                </a:lnTo>
                <a:lnTo>
                  <a:pt x="533" y="289"/>
                </a:lnTo>
                <a:lnTo>
                  <a:pt x="533" y="294"/>
                </a:lnTo>
                <a:lnTo>
                  <a:pt x="528" y="294"/>
                </a:lnTo>
                <a:lnTo>
                  <a:pt x="528" y="300"/>
                </a:lnTo>
                <a:lnTo>
                  <a:pt x="528" y="306"/>
                </a:lnTo>
                <a:lnTo>
                  <a:pt x="522" y="306"/>
                </a:lnTo>
                <a:lnTo>
                  <a:pt x="522" y="311"/>
                </a:lnTo>
                <a:lnTo>
                  <a:pt x="516" y="311"/>
                </a:lnTo>
                <a:lnTo>
                  <a:pt x="516" y="317"/>
                </a:lnTo>
                <a:lnTo>
                  <a:pt x="511" y="317"/>
                </a:lnTo>
                <a:lnTo>
                  <a:pt x="505" y="323"/>
                </a:lnTo>
                <a:lnTo>
                  <a:pt x="499" y="328"/>
                </a:lnTo>
                <a:lnTo>
                  <a:pt x="499" y="334"/>
                </a:lnTo>
                <a:lnTo>
                  <a:pt x="494" y="334"/>
                </a:lnTo>
                <a:lnTo>
                  <a:pt x="488" y="340"/>
                </a:lnTo>
                <a:lnTo>
                  <a:pt x="488" y="345"/>
                </a:lnTo>
                <a:lnTo>
                  <a:pt x="488" y="351"/>
                </a:lnTo>
                <a:lnTo>
                  <a:pt x="488" y="357"/>
                </a:lnTo>
                <a:lnTo>
                  <a:pt x="494" y="362"/>
                </a:lnTo>
                <a:lnTo>
                  <a:pt x="494" y="368"/>
                </a:lnTo>
                <a:lnTo>
                  <a:pt x="494" y="374"/>
                </a:lnTo>
                <a:lnTo>
                  <a:pt x="494" y="379"/>
                </a:lnTo>
                <a:lnTo>
                  <a:pt x="488" y="379"/>
                </a:lnTo>
                <a:lnTo>
                  <a:pt x="488" y="385"/>
                </a:lnTo>
                <a:lnTo>
                  <a:pt x="488" y="391"/>
                </a:lnTo>
                <a:lnTo>
                  <a:pt x="477" y="385"/>
                </a:lnTo>
                <a:lnTo>
                  <a:pt x="477" y="379"/>
                </a:lnTo>
                <a:lnTo>
                  <a:pt x="471" y="379"/>
                </a:lnTo>
                <a:lnTo>
                  <a:pt x="465" y="385"/>
                </a:lnTo>
                <a:lnTo>
                  <a:pt x="460" y="391"/>
                </a:lnTo>
                <a:lnTo>
                  <a:pt x="448" y="396"/>
                </a:lnTo>
                <a:lnTo>
                  <a:pt x="448" y="402"/>
                </a:lnTo>
                <a:lnTo>
                  <a:pt x="443" y="402"/>
                </a:lnTo>
                <a:lnTo>
                  <a:pt x="443" y="408"/>
                </a:lnTo>
                <a:lnTo>
                  <a:pt x="437" y="408"/>
                </a:lnTo>
                <a:lnTo>
                  <a:pt x="431" y="408"/>
                </a:lnTo>
                <a:lnTo>
                  <a:pt x="426" y="408"/>
                </a:lnTo>
                <a:lnTo>
                  <a:pt x="420" y="402"/>
                </a:lnTo>
                <a:lnTo>
                  <a:pt x="414" y="391"/>
                </a:lnTo>
                <a:lnTo>
                  <a:pt x="409" y="391"/>
                </a:lnTo>
                <a:lnTo>
                  <a:pt x="409" y="385"/>
                </a:lnTo>
                <a:lnTo>
                  <a:pt x="403" y="385"/>
                </a:lnTo>
                <a:lnTo>
                  <a:pt x="397" y="385"/>
                </a:lnTo>
                <a:lnTo>
                  <a:pt x="392" y="391"/>
                </a:lnTo>
                <a:lnTo>
                  <a:pt x="392" y="379"/>
                </a:lnTo>
                <a:lnTo>
                  <a:pt x="386" y="379"/>
                </a:lnTo>
                <a:lnTo>
                  <a:pt x="380" y="374"/>
                </a:lnTo>
                <a:lnTo>
                  <a:pt x="380" y="368"/>
                </a:lnTo>
                <a:lnTo>
                  <a:pt x="375" y="368"/>
                </a:lnTo>
                <a:lnTo>
                  <a:pt x="375" y="362"/>
                </a:lnTo>
                <a:lnTo>
                  <a:pt x="369" y="362"/>
                </a:lnTo>
                <a:lnTo>
                  <a:pt x="369" y="357"/>
                </a:lnTo>
                <a:lnTo>
                  <a:pt x="363" y="357"/>
                </a:lnTo>
                <a:lnTo>
                  <a:pt x="363" y="351"/>
                </a:lnTo>
                <a:lnTo>
                  <a:pt x="358" y="351"/>
                </a:lnTo>
                <a:lnTo>
                  <a:pt x="358" y="345"/>
                </a:lnTo>
                <a:lnTo>
                  <a:pt x="358" y="340"/>
                </a:lnTo>
                <a:lnTo>
                  <a:pt x="352" y="340"/>
                </a:lnTo>
                <a:lnTo>
                  <a:pt x="352" y="334"/>
                </a:lnTo>
                <a:lnTo>
                  <a:pt x="352" y="328"/>
                </a:lnTo>
                <a:lnTo>
                  <a:pt x="352" y="323"/>
                </a:lnTo>
                <a:lnTo>
                  <a:pt x="346" y="323"/>
                </a:lnTo>
                <a:lnTo>
                  <a:pt x="335" y="323"/>
                </a:lnTo>
                <a:lnTo>
                  <a:pt x="335" y="317"/>
                </a:lnTo>
                <a:lnTo>
                  <a:pt x="329" y="317"/>
                </a:lnTo>
                <a:lnTo>
                  <a:pt x="329" y="311"/>
                </a:lnTo>
                <a:lnTo>
                  <a:pt x="324" y="311"/>
                </a:lnTo>
                <a:lnTo>
                  <a:pt x="318" y="306"/>
                </a:lnTo>
                <a:lnTo>
                  <a:pt x="312" y="306"/>
                </a:lnTo>
                <a:lnTo>
                  <a:pt x="307" y="300"/>
                </a:lnTo>
                <a:lnTo>
                  <a:pt x="301" y="300"/>
                </a:lnTo>
                <a:lnTo>
                  <a:pt x="295" y="300"/>
                </a:lnTo>
                <a:lnTo>
                  <a:pt x="295" y="306"/>
                </a:lnTo>
                <a:lnTo>
                  <a:pt x="290" y="306"/>
                </a:lnTo>
                <a:lnTo>
                  <a:pt x="290" y="311"/>
                </a:lnTo>
                <a:lnTo>
                  <a:pt x="290" y="317"/>
                </a:lnTo>
                <a:lnTo>
                  <a:pt x="295" y="334"/>
                </a:lnTo>
                <a:lnTo>
                  <a:pt x="295" y="340"/>
                </a:lnTo>
                <a:lnTo>
                  <a:pt x="295" y="351"/>
                </a:lnTo>
                <a:lnTo>
                  <a:pt x="295" y="357"/>
                </a:lnTo>
                <a:lnTo>
                  <a:pt x="290" y="362"/>
                </a:lnTo>
                <a:lnTo>
                  <a:pt x="290" y="368"/>
                </a:lnTo>
                <a:lnTo>
                  <a:pt x="278" y="374"/>
                </a:lnTo>
                <a:lnTo>
                  <a:pt x="278" y="379"/>
                </a:lnTo>
                <a:lnTo>
                  <a:pt x="273" y="379"/>
                </a:lnTo>
                <a:lnTo>
                  <a:pt x="273" y="385"/>
                </a:lnTo>
                <a:lnTo>
                  <a:pt x="273" y="391"/>
                </a:lnTo>
                <a:lnTo>
                  <a:pt x="278" y="391"/>
                </a:lnTo>
                <a:lnTo>
                  <a:pt x="278" y="396"/>
                </a:lnTo>
                <a:lnTo>
                  <a:pt x="278" y="402"/>
                </a:lnTo>
                <a:lnTo>
                  <a:pt x="278" y="408"/>
                </a:lnTo>
                <a:lnTo>
                  <a:pt x="278" y="413"/>
                </a:lnTo>
                <a:lnTo>
                  <a:pt x="278" y="419"/>
                </a:lnTo>
                <a:lnTo>
                  <a:pt x="273" y="419"/>
                </a:lnTo>
                <a:lnTo>
                  <a:pt x="267" y="419"/>
                </a:lnTo>
                <a:lnTo>
                  <a:pt x="267" y="413"/>
                </a:lnTo>
                <a:lnTo>
                  <a:pt x="261" y="408"/>
                </a:lnTo>
                <a:lnTo>
                  <a:pt x="250" y="402"/>
                </a:lnTo>
                <a:lnTo>
                  <a:pt x="239" y="396"/>
                </a:lnTo>
                <a:lnTo>
                  <a:pt x="233" y="396"/>
                </a:lnTo>
                <a:lnTo>
                  <a:pt x="227" y="396"/>
                </a:lnTo>
                <a:lnTo>
                  <a:pt x="222" y="396"/>
                </a:lnTo>
                <a:lnTo>
                  <a:pt x="222" y="391"/>
                </a:lnTo>
                <a:lnTo>
                  <a:pt x="216" y="391"/>
                </a:lnTo>
                <a:lnTo>
                  <a:pt x="210" y="391"/>
                </a:lnTo>
                <a:lnTo>
                  <a:pt x="210" y="385"/>
                </a:lnTo>
                <a:lnTo>
                  <a:pt x="205" y="385"/>
                </a:lnTo>
                <a:lnTo>
                  <a:pt x="193" y="385"/>
                </a:lnTo>
                <a:lnTo>
                  <a:pt x="193" y="379"/>
                </a:lnTo>
                <a:lnTo>
                  <a:pt x="188" y="385"/>
                </a:lnTo>
                <a:lnTo>
                  <a:pt x="182" y="385"/>
                </a:lnTo>
                <a:lnTo>
                  <a:pt x="176" y="391"/>
                </a:lnTo>
                <a:lnTo>
                  <a:pt x="171" y="391"/>
                </a:lnTo>
                <a:lnTo>
                  <a:pt x="171" y="385"/>
                </a:lnTo>
                <a:lnTo>
                  <a:pt x="165" y="379"/>
                </a:lnTo>
                <a:lnTo>
                  <a:pt x="165" y="374"/>
                </a:lnTo>
                <a:lnTo>
                  <a:pt x="159" y="374"/>
                </a:lnTo>
                <a:lnTo>
                  <a:pt x="153" y="374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3" name="Freeform 24"/>
          <p:cNvSpPr>
            <a:spLocks/>
          </p:cNvSpPr>
          <p:nvPr/>
        </p:nvSpPr>
        <p:spPr bwMode="gray">
          <a:xfrm>
            <a:off x="3301235" y="3450057"/>
            <a:ext cx="539407" cy="575010"/>
          </a:xfrm>
          <a:custGeom>
            <a:avLst/>
            <a:gdLst>
              <a:gd name="T0" fmla="*/ 0 w 318"/>
              <a:gd name="T1" fmla="*/ 2147483647 h 340"/>
              <a:gd name="T2" fmla="*/ 2147483647 w 318"/>
              <a:gd name="T3" fmla="*/ 2147483647 h 340"/>
              <a:gd name="T4" fmla="*/ 2147483647 w 318"/>
              <a:gd name="T5" fmla="*/ 2147483647 h 340"/>
              <a:gd name="T6" fmla="*/ 2147483647 w 318"/>
              <a:gd name="T7" fmla="*/ 2147483647 h 340"/>
              <a:gd name="T8" fmla="*/ 2147483647 w 318"/>
              <a:gd name="T9" fmla="*/ 2147483647 h 340"/>
              <a:gd name="T10" fmla="*/ 2147483647 w 318"/>
              <a:gd name="T11" fmla="*/ 2147483647 h 340"/>
              <a:gd name="T12" fmla="*/ 2147483647 w 318"/>
              <a:gd name="T13" fmla="*/ 2147483647 h 340"/>
              <a:gd name="T14" fmla="*/ 2147483647 w 318"/>
              <a:gd name="T15" fmla="*/ 2147483647 h 340"/>
              <a:gd name="T16" fmla="*/ 2147483647 w 318"/>
              <a:gd name="T17" fmla="*/ 2147483647 h 340"/>
              <a:gd name="T18" fmla="*/ 2147483647 w 318"/>
              <a:gd name="T19" fmla="*/ 2147483647 h 340"/>
              <a:gd name="T20" fmla="*/ 2147483647 w 318"/>
              <a:gd name="T21" fmla="*/ 2147483647 h 340"/>
              <a:gd name="T22" fmla="*/ 2147483647 w 318"/>
              <a:gd name="T23" fmla="*/ 2147483647 h 340"/>
              <a:gd name="T24" fmla="*/ 2147483647 w 318"/>
              <a:gd name="T25" fmla="*/ 2147483647 h 340"/>
              <a:gd name="T26" fmla="*/ 2147483647 w 318"/>
              <a:gd name="T27" fmla="*/ 2147483647 h 340"/>
              <a:gd name="T28" fmla="*/ 2147483647 w 318"/>
              <a:gd name="T29" fmla="*/ 2147483647 h 340"/>
              <a:gd name="T30" fmla="*/ 2147483647 w 318"/>
              <a:gd name="T31" fmla="*/ 2147483647 h 340"/>
              <a:gd name="T32" fmla="*/ 2147483647 w 318"/>
              <a:gd name="T33" fmla="*/ 2147483647 h 340"/>
              <a:gd name="T34" fmla="*/ 2147483647 w 318"/>
              <a:gd name="T35" fmla="*/ 2147483647 h 340"/>
              <a:gd name="T36" fmla="*/ 2147483647 w 318"/>
              <a:gd name="T37" fmla="*/ 2147483647 h 340"/>
              <a:gd name="T38" fmla="*/ 2147483647 w 318"/>
              <a:gd name="T39" fmla="*/ 2147483647 h 340"/>
              <a:gd name="T40" fmla="*/ 2147483647 w 318"/>
              <a:gd name="T41" fmla="*/ 2147483647 h 340"/>
              <a:gd name="T42" fmla="*/ 2147483647 w 318"/>
              <a:gd name="T43" fmla="*/ 2147483647 h 340"/>
              <a:gd name="T44" fmla="*/ 2147483647 w 318"/>
              <a:gd name="T45" fmla="*/ 2147483647 h 340"/>
              <a:gd name="T46" fmla="*/ 2147483647 w 318"/>
              <a:gd name="T47" fmla="*/ 2147483647 h 340"/>
              <a:gd name="T48" fmla="*/ 2147483647 w 318"/>
              <a:gd name="T49" fmla="*/ 2147483647 h 340"/>
              <a:gd name="T50" fmla="*/ 2147483647 w 318"/>
              <a:gd name="T51" fmla="*/ 2147483647 h 340"/>
              <a:gd name="T52" fmla="*/ 2147483647 w 318"/>
              <a:gd name="T53" fmla="*/ 2147483647 h 340"/>
              <a:gd name="T54" fmla="*/ 2147483647 w 318"/>
              <a:gd name="T55" fmla="*/ 2147483647 h 340"/>
              <a:gd name="T56" fmla="*/ 2147483647 w 318"/>
              <a:gd name="T57" fmla="*/ 2147483647 h 340"/>
              <a:gd name="T58" fmla="*/ 2147483647 w 318"/>
              <a:gd name="T59" fmla="*/ 2147483647 h 340"/>
              <a:gd name="T60" fmla="*/ 2147483647 w 318"/>
              <a:gd name="T61" fmla="*/ 2147483647 h 340"/>
              <a:gd name="T62" fmla="*/ 2147483647 w 318"/>
              <a:gd name="T63" fmla="*/ 2147483647 h 340"/>
              <a:gd name="T64" fmla="*/ 2147483647 w 318"/>
              <a:gd name="T65" fmla="*/ 2147483647 h 340"/>
              <a:gd name="T66" fmla="*/ 2147483647 w 318"/>
              <a:gd name="T67" fmla="*/ 2147483647 h 340"/>
              <a:gd name="T68" fmla="*/ 2147483647 w 318"/>
              <a:gd name="T69" fmla="*/ 2147483647 h 340"/>
              <a:gd name="T70" fmla="*/ 2147483647 w 318"/>
              <a:gd name="T71" fmla="*/ 2147483647 h 340"/>
              <a:gd name="T72" fmla="*/ 2147483647 w 318"/>
              <a:gd name="T73" fmla="*/ 2147483647 h 340"/>
              <a:gd name="T74" fmla="*/ 2147483647 w 318"/>
              <a:gd name="T75" fmla="*/ 2147483647 h 340"/>
              <a:gd name="T76" fmla="*/ 2147483647 w 318"/>
              <a:gd name="T77" fmla="*/ 2147483647 h 340"/>
              <a:gd name="T78" fmla="*/ 2147483647 w 318"/>
              <a:gd name="T79" fmla="*/ 2147483647 h 340"/>
              <a:gd name="T80" fmla="*/ 2147483647 w 318"/>
              <a:gd name="T81" fmla="*/ 2147483647 h 340"/>
              <a:gd name="T82" fmla="*/ 2147483647 w 318"/>
              <a:gd name="T83" fmla="*/ 2147483647 h 340"/>
              <a:gd name="T84" fmla="*/ 2147483647 w 318"/>
              <a:gd name="T85" fmla="*/ 2147483647 h 3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18"/>
              <a:gd name="T130" fmla="*/ 0 h 340"/>
              <a:gd name="T131" fmla="*/ 318 w 318"/>
              <a:gd name="T132" fmla="*/ 340 h 3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18" h="340">
                <a:moveTo>
                  <a:pt x="23" y="340"/>
                </a:moveTo>
                <a:lnTo>
                  <a:pt x="0" y="340"/>
                </a:lnTo>
                <a:lnTo>
                  <a:pt x="6" y="176"/>
                </a:lnTo>
                <a:lnTo>
                  <a:pt x="12" y="79"/>
                </a:lnTo>
                <a:lnTo>
                  <a:pt x="12" y="57"/>
                </a:lnTo>
                <a:lnTo>
                  <a:pt x="34" y="51"/>
                </a:lnTo>
                <a:lnTo>
                  <a:pt x="68" y="57"/>
                </a:lnTo>
                <a:lnTo>
                  <a:pt x="85" y="57"/>
                </a:lnTo>
                <a:lnTo>
                  <a:pt x="91" y="57"/>
                </a:lnTo>
                <a:lnTo>
                  <a:pt x="131" y="91"/>
                </a:lnTo>
                <a:lnTo>
                  <a:pt x="148" y="102"/>
                </a:lnTo>
                <a:lnTo>
                  <a:pt x="153" y="108"/>
                </a:lnTo>
                <a:lnTo>
                  <a:pt x="216" y="28"/>
                </a:lnTo>
                <a:lnTo>
                  <a:pt x="222" y="23"/>
                </a:lnTo>
                <a:lnTo>
                  <a:pt x="227" y="17"/>
                </a:lnTo>
                <a:lnTo>
                  <a:pt x="244" y="17"/>
                </a:lnTo>
                <a:lnTo>
                  <a:pt x="256" y="17"/>
                </a:lnTo>
                <a:lnTo>
                  <a:pt x="261" y="17"/>
                </a:lnTo>
                <a:lnTo>
                  <a:pt x="284" y="0"/>
                </a:lnTo>
                <a:lnTo>
                  <a:pt x="307" y="17"/>
                </a:lnTo>
                <a:lnTo>
                  <a:pt x="318" y="23"/>
                </a:lnTo>
                <a:lnTo>
                  <a:pt x="312" y="28"/>
                </a:lnTo>
                <a:lnTo>
                  <a:pt x="301" y="34"/>
                </a:lnTo>
                <a:lnTo>
                  <a:pt x="301" y="40"/>
                </a:lnTo>
                <a:lnTo>
                  <a:pt x="295" y="40"/>
                </a:lnTo>
                <a:lnTo>
                  <a:pt x="290" y="45"/>
                </a:lnTo>
                <a:lnTo>
                  <a:pt x="290" y="51"/>
                </a:lnTo>
                <a:lnTo>
                  <a:pt x="290" y="57"/>
                </a:lnTo>
                <a:lnTo>
                  <a:pt x="290" y="62"/>
                </a:lnTo>
                <a:lnTo>
                  <a:pt x="290" y="74"/>
                </a:lnTo>
                <a:lnTo>
                  <a:pt x="290" y="108"/>
                </a:lnTo>
                <a:lnTo>
                  <a:pt x="290" y="125"/>
                </a:lnTo>
                <a:lnTo>
                  <a:pt x="290" y="136"/>
                </a:lnTo>
                <a:lnTo>
                  <a:pt x="290" y="142"/>
                </a:lnTo>
                <a:lnTo>
                  <a:pt x="290" y="153"/>
                </a:lnTo>
                <a:lnTo>
                  <a:pt x="290" y="164"/>
                </a:lnTo>
                <a:lnTo>
                  <a:pt x="290" y="176"/>
                </a:lnTo>
                <a:lnTo>
                  <a:pt x="290" y="187"/>
                </a:lnTo>
                <a:lnTo>
                  <a:pt x="284" y="198"/>
                </a:lnTo>
                <a:lnTo>
                  <a:pt x="284" y="204"/>
                </a:lnTo>
                <a:lnTo>
                  <a:pt x="284" y="215"/>
                </a:lnTo>
                <a:lnTo>
                  <a:pt x="284" y="221"/>
                </a:lnTo>
                <a:lnTo>
                  <a:pt x="273" y="244"/>
                </a:lnTo>
                <a:lnTo>
                  <a:pt x="273" y="249"/>
                </a:lnTo>
                <a:lnTo>
                  <a:pt x="267" y="255"/>
                </a:lnTo>
                <a:lnTo>
                  <a:pt x="261" y="255"/>
                </a:lnTo>
                <a:lnTo>
                  <a:pt x="261" y="261"/>
                </a:lnTo>
                <a:lnTo>
                  <a:pt x="256" y="266"/>
                </a:lnTo>
                <a:lnTo>
                  <a:pt x="256" y="272"/>
                </a:lnTo>
                <a:lnTo>
                  <a:pt x="250" y="272"/>
                </a:lnTo>
                <a:lnTo>
                  <a:pt x="250" y="278"/>
                </a:lnTo>
                <a:lnTo>
                  <a:pt x="244" y="278"/>
                </a:lnTo>
                <a:lnTo>
                  <a:pt x="244" y="283"/>
                </a:lnTo>
                <a:lnTo>
                  <a:pt x="244" y="289"/>
                </a:lnTo>
                <a:lnTo>
                  <a:pt x="239" y="295"/>
                </a:lnTo>
                <a:lnTo>
                  <a:pt x="233" y="295"/>
                </a:lnTo>
                <a:lnTo>
                  <a:pt x="227" y="300"/>
                </a:lnTo>
                <a:lnTo>
                  <a:pt x="222" y="300"/>
                </a:lnTo>
                <a:lnTo>
                  <a:pt x="222" y="306"/>
                </a:lnTo>
                <a:lnTo>
                  <a:pt x="216" y="306"/>
                </a:lnTo>
                <a:lnTo>
                  <a:pt x="216" y="312"/>
                </a:lnTo>
                <a:lnTo>
                  <a:pt x="210" y="312"/>
                </a:lnTo>
                <a:lnTo>
                  <a:pt x="204" y="312"/>
                </a:lnTo>
                <a:lnTo>
                  <a:pt x="204" y="317"/>
                </a:lnTo>
                <a:lnTo>
                  <a:pt x="193" y="317"/>
                </a:lnTo>
                <a:lnTo>
                  <a:pt x="193" y="323"/>
                </a:lnTo>
                <a:lnTo>
                  <a:pt x="187" y="323"/>
                </a:lnTo>
                <a:lnTo>
                  <a:pt x="176" y="329"/>
                </a:lnTo>
                <a:lnTo>
                  <a:pt x="170" y="329"/>
                </a:lnTo>
                <a:lnTo>
                  <a:pt x="148" y="334"/>
                </a:lnTo>
                <a:lnTo>
                  <a:pt x="142" y="340"/>
                </a:lnTo>
                <a:lnTo>
                  <a:pt x="136" y="340"/>
                </a:lnTo>
                <a:lnTo>
                  <a:pt x="125" y="340"/>
                </a:lnTo>
                <a:lnTo>
                  <a:pt x="114" y="340"/>
                </a:lnTo>
                <a:lnTo>
                  <a:pt x="108" y="340"/>
                </a:lnTo>
                <a:lnTo>
                  <a:pt x="102" y="340"/>
                </a:lnTo>
                <a:lnTo>
                  <a:pt x="91" y="340"/>
                </a:lnTo>
                <a:lnTo>
                  <a:pt x="80" y="340"/>
                </a:lnTo>
                <a:lnTo>
                  <a:pt x="68" y="340"/>
                </a:lnTo>
                <a:lnTo>
                  <a:pt x="63" y="340"/>
                </a:lnTo>
                <a:lnTo>
                  <a:pt x="57" y="340"/>
                </a:lnTo>
                <a:lnTo>
                  <a:pt x="46" y="340"/>
                </a:lnTo>
                <a:lnTo>
                  <a:pt x="40" y="340"/>
                </a:lnTo>
                <a:lnTo>
                  <a:pt x="34" y="340"/>
                </a:lnTo>
                <a:lnTo>
                  <a:pt x="29" y="340"/>
                </a:lnTo>
                <a:lnTo>
                  <a:pt x="23" y="34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4" name="Freeform 25"/>
          <p:cNvSpPr>
            <a:spLocks/>
          </p:cNvSpPr>
          <p:nvPr/>
        </p:nvSpPr>
        <p:spPr bwMode="gray">
          <a:xfrm>
            <a:off x="3408144" y="2855611"/>
            <a:ext cx="2237000" cy="1572772"/>
          </a:xfrm>
          <a:custGeom>
            <a:avLst/>
            <a:gdLst>
              <a:gd name="T0" fmla="*/ 2147483647 w 1321"/>
              <a:gd name="T1" fmla="*/ 2147483647 h 929"/>
              <a:gd name="T2" fmla="*/ 2147483647 w 1321"/>
              <a:gd name="T3" fmla="*/ 2147483647 h 929"/>
              <a:gd name="T4" fmla="*/ 2147483647 w 1321"/>
              <a:gd name="T5" fmla="*/ 2147483647 h 929"/>
              <a:gd name="T6" fmla="*/ 2147483647 w 1321"/>
              <a:gd name="T7" fmla="*/ 2147483647 h 929"/>
              <a:gd name="T8" fmla="*/ 2147483647 w 1321"/>
              <a:gd name="T9" fmla="*/ 2147483647 h 929"/>
              <a:gd name="T10" fmla="*/ 2147483647 w 1321"/>
              <a:gd name="T11" fmla="*/ 2147483647 h 929"/>
              <a:gd name="T12" fmla="*/ 2147483647 w 1321"/>
              <a:gd name="T13" fmla="*/ 2147483647 h 929"/>
              <a:gd name="T14" fmla="*/ 2147483647 w 1321"/>
              <a:gd name="T15" fmla="*/ 2147483647 h 929"/>
              <a:gd name="T16" fmla="*/ 2147483647 w 1321"/>
              <a:gd name="T17" fmla="*/ 2147483647 h 929"/>
              <a:gd name="T18" fmla="*/ 2147483647 w 1321"/>
              <a:gd name="T19" fmla="*/ 2147483647 h 929"/>
              <a:gd name="T20" fmla="*/ 2147483647 w 1321"/>
              <a:gd name="T21" fmla="*/ 2147483647 h 929"/>
              <a:gd name="T22" fmla="*/ 2147483647 w 1321"/>
              <a:gd name="T23" fmla="*/ 2147483647 h 929"/>
              <a:gd name="T24" fmla="*/ 2147483647 w 1321"/>
              <a:gd name="T25" fmla="*/ 2147483647 h 929"/>
              <a:gd name="T26" fmla="*/ 2147483647 w 1321"/>
              <a:gd name="T27" fmla="*/ 2147483647 h 929"/>
              <a:gd name="T28" fmla="*/ 2147483647 w 1321"/>
              <a:gd name="T29" fmla="*/ 2147483647 h 929"/>
              <a:gd name="T30" fmla="*/ 2147483647 w 1321"/>
              <a:gd name="T31" fmla="*/ 2147483647 h 929"/>
              <a:gd name="T32" fmla="*/ 2147483647 w 1321"/>
              <a:gd name="T33" fmla="*/ 2147483647 h 929"/>
              <a:gd name="T34" fmla="*/ 2147483647 w 1321"/>
              <a:gd name="T35" fmla="*/ 2147483647 h 929"/>
              <a:gd name="T36" fmla="*/ 2147483647 w 1321"/>
              <a:gd name="T37" fmla="*/ 2147483647 h 929"/>
              <a:gd name="T38" fmla="*/ 2147483647 w 1321"/>
              <a:gd name="T39" fmla="*/ 2147483647 h 929"/>
              <a:gd name="T40" fmla="*/ 2147483647 w 1321"/>
              <a:gd name="T41" fmla="*/ 2147483647 h 929"/>
              <a:gd name="T42" fmla="*/ 2147483647 w 1321"/>
              <a:gd name="T43" fmla="*/ 2147483647 h 929"/>
              <a:gd name="T44" fmla="*/ 2147483647 w 1321"/>
              <a:gd name="T45" fmla="*/ 2147483647 h 929"/>
              <a:gd name="T46" fmla="*/ 2147483647 w 1321"/>
              <a:gd name="T47" fmla="*/ 0 h 929"/>
              <a:gd name="T48" fmla="*/ 2147483647 w 1321"/>
              <a:gd name="T49" fmla="*/ 2147483647 h 929"/>
              <a:gd name="T50" fmla="*/ 2147483647 w 1321"/>
              <a:gd name="T51" fmla="*/ 2147483647 h 929"/>
              <a:gd name="T52" fmla="*/ 2147483647 w 1321"/>
              <a:gd name="T53" fmla="*/ 2147483647 h 929"/>
              <a:gd name="T54" fmla="*/ 2147483647 w 1321"/>
              <a:gd name="T55" fmla="*/ 2147483647 h 929"/>
              <a:gd name="T56" fmla="*/ 2147483647 w 1321"/>
              <a:gd name="T57" fmla="*/ 2147483647 h 929"/>
              <a:gd name="T58" fmla="*/ 2147483647 w 1321"/>
              <a:gd name="T59" fmla="*/ 2147483647 h 929"/>
              <a:gd name="T60" fmla="*/ 2147483647 w 1321"/>
              <a:gd name="T61" fmla="*/ 2147483647 h 929"/>
              <a:gd name="T62" fmla="*/ 2147483647 w 1321"/>
              <a:gd name="T63" fmla="*/ 2147483647 h 929"/>
              <a:gd name="T64" fmla="*/ 2147483647 w 1321"/>
              <a:gd name="T65" fmla="*/ 2147483647 h 929"/>
              <a:gd name="T66" fmla="*/ 2147483647 w 1321"/>
              <a:gd name="T67" fmla="*/ 2147483647 h 929"/>
              <a:gd name="T68" fmla="*/ 2147483647 w 1321"/>
              <a:gd name="T69" fmla="*/ 2147483647 h 929"/>
              <a:gd name="T70" fmla="*/ 2147483647 w 1321"/>
              <a:gd name="T71" fmla="*/ 2147483647 h 929"/>
              <a:gd name="T72" fmla="*/ 2147483647 w 1321"/>
              <a:gd name="T73" fmla="*/ 2147483647 h 929"/>
              <a:gd name="T74" fmla="*/ 2147483647 w 1321"/>
              <a:gd name="T75" fmla="*/ 2147483647 h 929"/>
              <a:gd name="T76" fmla="*/ 2147483647 w 1321"/>
              <a:gd name="T77" fmla="*/ 2147483647 h 929"/>
              <a:gd name="T78" fmla="*/ 2147483647 w 1321"/>
              <a:gd name="T79" fmla="*/ 2147483647 h 929"/>
              <a:gd name="T80" fmla="*/ 2147483647 w 1321"/>
              <a:gd name="T81" fmla="*/ 2147483647 h 929"/>
              <a:gd name="T82" fmla="*/ 2147483647 w 1321"/>
              <a:gd name="T83" fmla="*/ 2147483647 h 929"/>
              <a:gd name="T84" fmla="*/ 2147483647 w 1321"/>
              <a:gd name="T85" fmla="*/ 2147483647 h 929"/>
              <a:gd name="T86" fmla="*/ 2147483647 w 1321"/>
              <a:gd name="T87" fmla="*/ 2147483647 h 929"/>
              <a:gd name="T88" fmla="*/ 2147483647 w 1321"/>
              <a:gd name="T89" fmla="*/ 2147483647 h 929"/>
              <a:gd name="T90" fmla="*/ 2147483647 w 1321"/>
              <a:gd name="T91" fmla="*/ 2147483647 h 929"/>
              <a:gd name="T92" fmla="*/ 2147483647 w 1321"/>
              <a:gd name="T93" fmla="*/ 2147483647 h 929"/>
              <a:gd name="T94" fmla="*/ 2147483647 w 1321"/>
              <a:gd name="T95" fmla="*/ 2147483647 h 929"/>
              <a:gd name="T96" fmla="*/ 2147483647 w 1321"/>
              <a:gd name="T97" fmla="*/ 2147483647 h 929"/>
              <a:gd name="T98" fmla="*/ 2147483647 w 1321"/>
              <a:gd name="T99" fmla="*/ 2147483647 h 929"/>
              <a:gd name="T100" fmla="*/ 2147483647 w 1321"/>
              <a:gd name="T101" fmla="*/ 2147483647 h 929"/>
              <a:gd name="T102" fmla="*/ 2147483647 w 1321"/>
              <a:gd name="T103" fmla="*/ 2147483647 h 929"/>
              <a:gd name="T104" fmla="*/ 2147483647 w 1321"/>
              <a:gd name="T105" fmla="*/ 2147483647 h 929"/>
              <a:gd name="T106" fmla="*/ 2147483647 w 1321"/>
              <a:gd name="T107" fmla="*/ 2147483647 h 929"/>
              <a:gd name="T108" fmla="*/ 2147483647 w 1321"/>
              <a:gd name="T109" fmla="*/ 2147483647 h 929"/>
              <a:gd name="T110" fmla="*/ 2147483647 w 1321"/>
              <a:gd name="T111" fmla="*/ 2147483647 h 929"/>
              <a:gd name="T112" fmla="*/ 2147483647 w 1321"/>
              <a:gd name="T113" fmla="*/ 2147483647 h 929"/>
              <a:gd name="T114" fmla="*/ 2147483647 w 1321"/>
              <a:gd name="T115" fmla="*/ 2147483647 h 929"/>
              <a:gd name="T116" fmla="*/ 2147483647 w 1321"/>
              <a:gd name="T117" fmla="*/ 2147483647 h 9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321"/>
              <a:gd name="T178" fmla="*/ 0 h 929"/>
              <a:gd name="T179" fmla="*/ 1321 w 1321"/>
              <a:gd name="T180" fmla="*/ 929 h 92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321" h="929">
                <a:moveTo>
                  <a:pt x="238" y="827"/>
                </a:moveTo>
                <a:lnTo>
                  <a:pt x="232" y="827"/>
                </a:lnTo>
                <a:lnTo>
                  <a:pt x="227" y="827"/>
                </a:lnTo>
                <a:lnTo>
                  <a:pt x="215" y="827"/>
                </a:lnTo>
                <a:lnTo>
                  <a:pt x="204" y="827"/>
                </a:lnTo>
                <a:lnTo>
                  <a:pt x="198" y="827"/>
                </a:lnTo>
                <a:lnTo>
                  <a:pt x="193" y="827"/>
                </a:lnTo>
                <a:lnTo>
                  <a:pt x="181" y="827"/>
                </a:lnTo>
                <a:lnTo>
                  <a:pt x="170" y="827"/>
                </a:lnTo>
                <a:lnTo>
                  <a:pt x="159" y="833"/>
                </a:lnTo>
                <a:lnTo>
                  <a:pt x="153" y="833"/>
                </a:lnTo>
                <a:lnTo>
                  <a:pt x="147" y="833"/>
                </a:lnTo>
                <a:lnTo>
                  <a:pt x="141" y="833"/>
                </a:lnTo>
                <a:lnTo>
                  <a:pt x="136" y="833"/>
                </a:lnTo>
                <a:lnTo>
                  <a:pt x="124" y="838"/>
                </a:lnTo>
                <a:lnTo>
                  <a:pt x="119" y="838"/>
                </a:lnTo>
                <a:lnTo>
                  <a:pt x="113" y="844"/>
                </a:lnTo>
                <a:lnTo>
                  <a:pt x="102" y="844"/>
                </a:lnTo>
                <a:lnTo>
                  <a:pt x="96" y="844"/>
                </a:lnTo>
                <a:lnTo>
                  <a:pt x="96" y="850"/>
                </a:lnTo>
                <a:lnTo>
                  <a:pt x="85" y="850"/>
                </a:lnTo>
                <a:lnTo>
                  <a:pt x="85" y="855"/>
                </a:lnTo>
                <a:lnTo>
                  <a:pt x="79" y="855"/>
                </a:lnTo>
                <a:lnTo>
                  <a:pt x="73" y="855"/>
                </a:lnTo>
                <a:lnTo>
                  <a:pt x="68" y="855"/>
                </a:lnTo>
                <a:lnTo>
                  <a:pt x="56" y="855"/>
                </a:lnTo>
                <a:lnTo>
                  <a:pt x="56" y="861"/>
                </a:lnTo>
                <a:lnTo>
                  <a:pt x="51" y="861"/>
                </a:lnTo>
                <a:lnTo>
                  <a:pt x="39" y="861"/>
                </a:lnTo>
                <a:lnTo>
                  <a:pt x="39" y="867"/>
                </a:lnTo>
                <a:lnTo>
                  <a:pt x="34" y="872"/>
                </a:lnTo>
                <a:lnTo>
                  <a:pt x="28" y="872"/>
                </a:lnTo>
                <a:lnTo>
                  <a:pt x="22" y="872"/>
                </a:lnTo>
                <a:lnTo>
                  <a:pt x="17" y="878"/>
                </a:lnTo>
                <a:lnTo>
                  <a:pt x="17" y="884"/>
                </a:lnTo>
                <a:lnTo>
                  <a:pt x="11" y="884"/>
                </a:lnTo>
                <a:lnTo>
                  <a:pt x="5" y="884"/>
                </a:lnTo>
                <a:lnTo>
                  <a:pt x="5" y="878"/>
                </a:lnTo>
                <a:lnTo>
                  <a:pt x="5" y="872"/>
                </a:lnTo>
                <a:lnTo>
                  <a:pt x="5" y="861"/>
                </a:lnTo>
                <a:lnTo>
                  <a:pt x="11" y="855"/>
                </a:lnTo>
                <a:lnTo>
                  <a:pt x="11" y="844"/>
                </a:lnTo>
                <a:lnTo>
                  <a:pt x="11" y="838"/>
                </a:lnTo>
                <a:lnTo>
                  <a:pt x="11" y="833"/>
                </a:lnTo>
                <a:lnTo>
                  <a:pt x="11" y="827"/>
                </a:lnTo>
                <a:lnTo>
                  <a:pt x="17" y="827"/>
                </a:lnTo>
                <a:lnTo>
                  <a:pt x="17" y="821"/>
                </a:lnTo>
                <a:lnTo>
                  <a:pt x="17" y="816"/>
                </a:lnTo>
                <a:lnTo>
                  <a:pt x="17" y="810"/>
                </a:lnTo>
                <a:lnTo>
                  <a:pt x="17" y="804"/>
                </a:lnTo>
                <a:lnTo>
                  <a:pt x="17" y="799"/>
                </a:lnTo>
                <a:lnTo>
                  <a:pt x="17" y="787"/>
                </a:lnTo>
                <a:lnTo>
                  <a:pt x="22" y="787"/>
                </a:lnTo>
                <a:lnTo>
                  <a:pt x="22" y="782"/>
                </a:lnTo>
                <a:lnTo>
                  <a:pt x="17" y="782"/>
                </a:lnTo>
                <a:lnTo>
                  <a:pt x="17" y="776"/>
                </a:lnTo>
                <a:lnTo>
                  <a:pt x="11" y="770"/>
                </a:lnTo>
                <a:lnTo>
                  <a:pt x="11" y="765"/>
                </a:lnTo>
                <a:lnTo>
                  <a:pt x="11" y="759"/>
                </a:lnTo>
                <a:lnTo>
                  <a:pt x="11" y="753"/>
                </a:lnTo>
                <a:lnTo>
                  <a:pt x="5" y="748"/>
                </a:lnTo>
                <a:lnTo>
                  <a:pt x="0" y="742"/>
                </a:lnTo>
                <a:lnTo>
                  <a:pt x="0" y="736"/>
                </a:lnTo>
                <a:lnTo>
                  <a:pt x="5" y="731"/>
                </a:lnTo>
                <a:lnTo>
                  <a:pt x="11" y="714"/>
                </a:lnTo>
                <a:lnTo>
                  <a:pt x="17" y="708"/>
                </a:lnTo>
                <a:lnTo>
                  <a:pt x="17" y="702"/>
                </a:lnTo>
                <a:lnTo>
                  <a:pt x="28" y="691"/>
                </a:lnTo>
                <a:lnTo>
                  <a:pt x="39" y="691"/>
                </a:lnTo>
                <a:lnTo>
                  <a:pt x="45" y="691"/>
                </a:lnTo>
                <a:lnTo>
                  <a:pt x="51" y="691"/>
                </a:lnTo>
                <a:lnTo>
                  <a:pt x="62" y="691"/>
                </a:lnTo>
                <a:lnTo>
                  <a:pt x="73" y="691"/>
                </a:lnTo>
                <a:lnTo>
                  <a:pt x="79" y="691"/>
                </a:lnTo>
                <a:lnTo>
                  <a:pt x="85" y="685"/>
                </a:lnTo>
                <a:lnTo>
                  <a:pt x="107" y="680"/>
                </a:lnTo>
                <a:lnTo>
                  <a:pt x="113" y="680"/>
                </a:lnTo>
                <a:lnTo>
                  <a:pt x="124" y="674"/>
                </a:lnTo>
                <a:lnTo>
                  <a:pt x="130" y="674"/>
                </a:lnTo>
                <a:lnTo>
                  <a:pt x="130" y="668"/>
                </a:lnTo>
                <a:lnTo>
                  <a:pt x="141" y="668"/>
                </a:lnTo>
                <a:lnTo>
                  <a:pt x="141" y="663"/>
                </a:lnTo>
                <a:lnTo>
                  <a:pt x="147" y="663"/>
                </a:lnTo>
                <a:lnTo>
                  <a:pt x="153" y="663"/>
                </a:lnTo>
                <a:lnTo>
                  <a:pt x="153" y="657"/>
                </a:lnTo>
                <a:lnTo>
                  <a:pt x="159" y="657"/>
                </a:lnTo>
                <a:lnTo>
                  <a:pt x="159" y="651"/>
                </a:lnTo>
                <a:lnTo>
                  <a:pt x="164" y="651"/>
                </a:lnTo>
                <a:lnTo>
                  <a:pt x="170" y="646"/>
                </a:lnTo>
                <a:lnTo>
                  <a:pt x="176" y="646"/>
                </a:lnTo>
                <a:lnTo>
                  <a:pt x="181" y="640"/>
                </a:lnTo>
                <a:lnTo>
                  <a:pt x="181" y="634"/>
                </a:lnTo>
                <a:lnTo>
                  <a:pt x="181" y="629"/>
                </a:lnTo>
                <a:lnTo>
                  <a:pt x="187" y="629"/>
                </a:lnTo>
                <a:lnTo>
                  <a:pt x="187" y="623"/>
                </a:lnTo>
                <a:lnTo>
                  <a:pt x="193" y="623"/>
                </a:lnTo>
                <a:lnTo>
                  <a:pt x="193" y="617"/>
                </a:lnTo>
                <a:lnTo>
                  <a:pt x="198" y="612"/>
                </a:lnTo>
                <a:lnTo>
                  <a:pt x="198" y="606"/>
                </a:lnTo>
                <a:lnTo>
                  <a:pt x="204" y="606"/>
                </a:lnTo>
                <a:lnTo>
                  <a:pt x="210" y="600"/>
                </a:lnTo>
                <a:lnTo>
                  <a:pt x="210" y="595"/>
                </a:lnTo>
                <a:lnTo>
                  <a:pt x="221" y="572"/>
                </a:lnTo>
                <a:lnTo>
                  <a:pt x="221" y="566"/>
                </a:lnTo>
                <a:lnTo>
                  <a:pt x="221" y="555"/>
                </a:lnTo>
                <a:lnTo>
                  <a:pt x="221" y="549"/>
                </a:lnTo>
                <a:lnTo>
                  <a:pt x="227" y="538"/>
                </a:lnTo>
                <a:lnTo>
                  <a:pt x="227" y="527"/>
                </a:lnTo>
                <a:lnTo>
                  <a:pt x="227" y="515"/>
                </a:lnTo>
                <a:lnTo>
                  <a:pt x="227" y="504"/>
                </a:lnTo>
                <a:lnTo>
                  <a:pt x="227" y="493"/>
                </a:lnTo>
                <a:lnTo>
                  <a:pt x="227" y="487"/>
                </a:lnTo>
                <a:lnTo>
                  <a:pt x="227" y="476"/>
                </a:lnTo>
                <a:lnTo>
                  <a:pt x="227" y="459"/>
                </a:lnTo>
                <a:lnTo>
                  <a:pt x="227" y="425"/>
                </a:lnTo>
                <a:lnTo>
                  <a:pt x="227" y="413"/>
                </a:lnTo>
                <a:lnTo>
                  <a:pt x="227" y="408"/>
                </a:lnTo>
                <a:lnTo>
                  <a:pt x="227" y="402"/>
                </a:lnTo>
                <a:lnTo>
                  <a:pt x="227" y="396"/>
                </a:lnTo>
                <a:lnTo>
                  <a:pt x="232" y="391"/>
                </a:lnTo>
                <a:lnTo>
                  <a:pt x="238" y="391"/>
                </a:lnTo>
                <a:lnTo>
                  <a:pt x="238" y="385"/>
                </a:lnTo>
                <a:lnTo>
                  <a:pt x="249" y="379"/>
                </a:lnTo>
                <a:lnTo>
                  <a:pt x="255" y="374"/>
                </a:lnTo>
                <a:lnTo>
                  <a:pt x="244" y="368"/>
                </a:lnTo>
                <a:lnTo>
                  <a:pt x="249" y="368"/>
                </a:lnTo>
                <a:lnTo>
                  <a:pt x="255" y="368"/>
                </a:lnTo>
                <a:lnTo>
                  <a:pt x="255" y="362"/>
                </a:lnTo>
                <a:lnTo>
                  <a:pt x="261" y="362"/>
                </a:lnTo>
                <a:lnTo>
                  <a:pt x="266" y="362"/>
                </a:lnTo>
                <a:lnTo>
                  <a:pt x="272" y="362"/>
                </a:lnTo>
                <a:lnTo>
                  <a:pt x="278" y="368"/>
                </a:lnTo>
                <a:lnTo>
                  <a:pt x="278" y="374"/>
                </a:lnTo>
                <a:lnTo>
                  <a:pt x="283" y="374"/>
                </a:lnTo>
                <a:lnTo>
                  <a:pt x="289" y="374"/>
                </a:lnTo>
                <a:lnTo>
                  <a:pt x="295" y="374"/>
                </a:lnTo>
                <a:lnTo>
                  <a:pt x="300" y="374"/>
                </a:lnTo>
                <a:lnTo>
                  <a:pt x="300" y="379"/>
                </a:lnTo>
                <a:lnTo>
                  <a:pt x="306" y="379"/>
                </a:lnTo>
                <a:lnTo>
                  <a:pt x="312" y="385"/>
                </a:lnTo>
                <a:lnTo>
                  <a:pt x="323" y="379"/>
                </a:lnTo>
                <a:lnTo>
                  <a:pt x="329" y="374"/>
                </a:lnTo>
                <a:lnTo>
                  <a:pt x="334" y="374"/>
                </a:lnTo>
                <a:lnTo>
                  <a:pt x="334" y="368"/>
                </a:lnTo>
                <a:lnTo>
                  <a:pt x="340" y="368"/>
                </a:lnTo>
                <a:lnTo>
                  <a:pt x="340" y="362"/>
                </a:lnTo>
                <a:lnTo>
                  <a:pt x="340" y="357"/>
                </a:lnTo>
                <a:lnTo>
                  <a:pt x="351" y="357"/>
                </a:lnTo>
                <a:lnTo>
                  <a:pt x="357" y="357"/>
                </a:lnTo>
                <a:lnTo>
                  <a:pt x="363" y="357"/>
                </a:lnTo>
                <a:lnTo>
                  <a:pt x="368" y="357"/>
                </a:lnTo>
                <a:lnTo>
                  <a:pt x="374" y="357"/>
                </a:lnTo>
                <a:lnTo>
                  <a:pt x="380" y="362"/>
                </a:lnTo>
                <a:lnTo>
                  <a:pt x="380" y="368"/>
                </a:lnTo>
                <a:lnTo>
                  <a:pt x="385" y="374"/>
                </a:lnTo>
                <a:lnTo>
                  <a:pt x="385" y="379"/>
                </a:lnTo>
                <a:lnTo>
                  <a:pt x="391" y="379"/>
                </a:lnTo>
                <a:lnTo>
                  <a:pt x="391" y="385"/>
                </a:lnTo>
                <a:lnTo>
                  <a:pt x="391" y="391"/>
                </a:lnTo>
                <a:lnTo>
                  <a:pt x="391" y="396"/>
                </a:lnTo>
                <a:lnTo>
                  <a:pt x="397" y="402"/>
                </a:lnTo>
                <a:lnTo>
                  <a:pt x="397" y="408"/>
                </a:lnTo>
                <a:lnTo>
                  <a:pt x="397" y="413"/>
                </a:lnTo>
                <a:lnTo>
                  <a:pt x="402" y="413"/>
                </a:lnTo>
                <a:lnTo>
                  <a:pt x="408" y="419"/>
                </a:lnTo>
                <a:lnTo>
                  <a:pt x="408" y="425"/>
                </a:lnTo>
                <a:lnTo>
                  <a:pt x="414" y="430"/>
                </a:lnTo>
                <a:lnTo>
                  <a:pt x="419" y="436"/>
                </a:lnTo>
                <a:lnTo>
                  <a:pt x="419" y="442"/>
                </a:lnTo>
                <a:lnTo>
                  <a:pt x="419" y="447"/>
                </a:lnTo>
                <a:lnTo>
                  <a:pt x="419" y="453"/>
                </a:lnTo>
                <a:lnTo>
                  <a:pt x="419" y="459"/>
                </a:lnTo>
                <a:lnTo>
                  <a:pt x="414" y="476"/>
                </a:lnTo>
                <a:lnTo>
                  <a:pt x="414" y="481"/>
                </a:lnTo>
                <a:lnTo>
                  <a:pt x="419" y="493"/>
                </a:lnTo>
                <a:lnTo>
                  <a:pt x="425" y="493"/>
                </a:lnTo>
                <a:lnTo>
                  <a:pt x="431" y="487"/>
                </a:lnTo>
                <a:lnTo>
                  <a:pt x="436" y="481"/>
                </a:lnTo>
                <a:lnTo>
                  <a:pt x="436" y="476"/>
                </a:lnTo>
                <a:lnTo>
                  <a:pt x="442" y="476"/>
                </a:lnTo>
                <a:lnTo>
                  <a:pt x="448" y="470"/>
                </a:lnTo>
                <a:lnTo>
                  <a:pt x="448" y="464"/>
                </a:lnTo>
                <a:lnTo>
                  <a:pt x="453" y="464"/>
                </a:lnTo>
                <a:lnTo>
                  <a:pt x="453" y="459"/>
                </a:lnTo>
                <a:lnTo>
                  <a:pt x="459" y="453"/>
                </a:lnTo>
                <a:lnTo>
                  <a:pt x="465" y="453"/>
                </a:lnTo>
                <a:lnTo>
                  <a:pt x="465" y="447"/>
                </a:lnTo>
                <a:lnTo>
                  <a:pt x="470" y="447"/>
                </a:lnTo>
                <a:lnTo>
                  <a:pt x="476" y="447"/>
                </a:lnTo>
                <a:lnTo>
                  <a:pt x="482" y="442"/>
                </a:lnTo>
                <a:lnTo>
                  <a:pt x="487" y="447"/>
                </a:lnTo>
                <a:lnTo>
                  <a:pt x="499" y="447"/>
                </a:lnTo>
                <a:lnTo>
                  <a:pt x="504" y="447"/>
                </a:lnTo>
                <a:lnTo>
                  <a:pt x="510" y="453"/>
                </a:lnTo>
                <a:lnTo>
                  <a:pt x="516" y="459"/>
                </a:lnTo>
                <a:lnTo>
                  <a:pt x="521" y="464"/>
                </a:lnTo>
                <a:lnTo>
                  <a:pt x="521" y="470"/>
                </a:lnTo>
                <a:lnTo>
                  <a:pt x="527" y="476"/>
                </a:lnTo>
                <a:lnTo>
                  <a:pt x="527" y="481"/>
                </a:lnTo>
                <a:lnTo>
                  <a:pt x="533" y="481"/>
                </a:lnTo>
                <a:lnTo>
                  <a:pt x="538" y="487"/>
                </a:lnTo>
                <a:lnTo>
                  <a:pt x="544" y="493"/>
                </a:lnTo>
                <a:lnTo>
                  <a:pt x="550" y="493"/>
                </a:lnTo>
                <a:lnTo>
                  <a:pt x="561" y="493"/>
                </a:lnTo>
                <a:lnTo>
                  <a:pt x="567" y="493"/>
                </a:lnTo>
                <a:lnTo>
                  <a:pt x="572" y="493"/>
                </a:lnTo>
                <a:lnTo>
                  <a:pt x="578" y="493"/>
                </a:lnTo>
                <a:lnTo>
                  <a:pt x="578" y="487"/>
                </a:lnTo>
                <a:lnTo>
                  <a:pt x="584" y="481"/>
                </a:lnTo>
                <a:lnTo>
                  <a:pt x="589" y="481"/>
                </a:lnTo>
                <a:lnTo>
                  <a:pt x="589" y="476"/>
                </a:lnTo>
                <a:lnTo>
                  <a:pt x="589" y="470"/>
                </a:lnTo>
                <a:lnTo>
                  <a:pt x="589" y="464"/>
                </a:lnTo>
                <a:lnTo>
                  <a:pt x="595" y="459"/>
                </a:lnTo>
                <a:lnTo>
                  <a:pt x="595" y="453"/>
                </a:lnTo>
                <a:lnTo>
                  <a:pt x="601" y="447"/>
                </a:lnTo>
                <a:lnTo>
                  <a:pt x="601" y="442"/>
                </a:lnTo>
                <a:lnTo>
                  <a:pt x="606" y="436"/>
                </a:lnTo>
                <a:lnTo>
                  <a:pt x="606" y="430"/>
                </a:lnTo>
                <a:lnTo>
                  <a:pt x="606" y="425"/>
                </a:lnTo>
                <a:lnTo>
                  <a:pt x="612" y="419"/>
                </a:lnTo>
                <a:lnTo>
                  <a:pt x="612" y="413"/>
                </a:lnTo>
                <a:lnTo>
                  <a:pt x="618" y="413"/>
                </a:lnTo>
                <a:lnTo>
                  <a:pt x="618" y="408"/>
                </a:lnTo>
                <a:lnTo>
                  <a:pt x="618" y="402"/>
                </a:lnTo>
                <a:lnTo>
                  <a:pt x="623" y="396"/>
                </a:lnTo>
                <a:lnTo>
                  <a:pt x="629" y="391"/>
                </a:lnTo>
                <a:lnTo>
                  <a:pt x="629" y="385"/>
                </a:lnTo>
                <a:lnTo>
                  <a:pt x="629" y="379"/>
                </a:lnTo>
                <a:lnTo>
                  <a:pt x="629" y="374"/>
                </a:lnTo>
                <a:lnTo>
                  <a:pt x="623" y="368"/>
                </a:lnTo>
                <a:lnTo>
                  <a:pt x="618" y="368"/>
                </a:lnTo>
                <a:lnTo>
                  <a:pt x="618" y="362"/>
                </a:lnTo>
                <a:lnTo>
                  <a:pt x="612" y="362"/>
                </a:lnTo>
                <a:lnTo>
                  <a:pt x="606" y="362"/>
                </a:lnTo>
                <a:lnTo>
                  <a:pt x="606" y="357"/>
                </a:lnTo>
                <a:lnTo>
                  <a:pt x="601" y="351"/>
                </a:lnTo>
                <a:lnTo>
                  <a:pt x="589" y="340"/>
                </a:lnTo>
                <a:lnTo>
                  <a:pt x="584" y="334"/>
                </a:lnTo>
                <a:lnTo>
                  <a:pt x="584" y="328"/>
                </a:lnTo>
                <a:lnTo>
                  <a:pt x="578" y="328"/>
                </a:lnTo>
                <a:lnTo>
                  <a:pt x="578" y="323"/>
                </a:lnTo>
                <a:lnTo>
                  <a:pt x="578" y="317"/>
                </a:lnTo>
                <a:lnTo>
                  <a:pt x="578" y="311"/>
                </a:lnTo>
                <a:lnTo>
                  <a:pt x="578" y="300"/>
                </a:lnTo>
                <a:lnTo>
                  <a:pt x="578" y="294"/>
                </a:lnTo>
                <a:lnTo>
                  <a:pt x="578" y="289"/>
                </a:lnTo>
                <a:lnTo>
                  <a:pt x="584" y="277"/>
                </a:lnTo>
                <a:lnTo>
                  <a:pt x="589" y="266"/>
                </a:lnTo>
                <a:lnTo>
                  <a:pt x="589" y="260"/>
                </a:lnTo>
                <a:lnTo>
                  <a:pt x="589" y="255"/>
                </a:lnTo>
                <a:lnTo>
                  <a:pt x="595" y="249"/>
                </a:lnTo>
                <a:lnTo>
                  <a:pt x="601" y="243"/>
                </a:lnTo>
                <a:lnTo>
                  <a:pt x="601" y="232"/>
                </a:lnTo>
                <a:lnTo>
                  <a:pt x="601" y="221"/>
                </a:lnTo>
                <a:lnTo>
                  <a:pt x="601" y="215"/>
                </a:lnTo>
                <a:lnTo>
                  <a:pt x="601" y="192"/>
                </a:lnTo>
                <a:lnTo>
                  <a:pt x="601" y="181"/>
                </a:lnTo>
                <a:lnTo>
                  <a:pt x="601" y="175"/>
                </a:lnTo>
                <a:lnTo>
                  <a:pt x="601" y="170"/>
                </a:lnTo>
                <a:lnTo>
                  <a:pt x="606" y="164"/>
                </a:lnTo>
                <a:lnTo>
                  <a:pt x="606" y="158"/>
                </a:lnTo>
                <a:lnTo>
                  <a:pt x="606" y="153"/>
                </a:lnTo>
                <a:lnTo>
                  <a:pt x="612" y="153"/>
                </a:lnTo>
                <a:lnTo>
                  <a:pt x="612" y="147"/>
                </a:lnTo>
                <a:lnTo>
                  <a:pt x="618" y="141"/>
                </a:lnTo>
                <a:lnTo>
                  <a:pt x="618" y="136"/>
                </a:lnTo>
                <a:lnTo>
                  <a:pt x="618" y="130"/>
                </a:lnTo>
                <a:lnTo>
                  <a:pt x="618" y="124"/>
                </a:lnTo>
                <a:lnTo>
                  <a:pt x="618" y="119"/>
                </a:lnTo>
                <a:lnTo>
                  <a:pt x="618" y="96"/>
                </a:lnTo>
                <a:lnTo>
                  <a:pt x="618" y="90"/>
                </a:lnTo>
                <a:lnTo>
                  <a:pt x="618" y="85"/>
                </a:lnTo>
                <a:lnTo>
                  <a:pt x="618" y="79"/>
                </a:lnTo>
                <a:lnTo>
                  <a:pt x="618" y="73"/>
                </a:lnTo>
                <a:lnTo>
                  <a:pt x="623" y="68"/>
                </a:lnTo>
                <a:lnTo>
                  <a:pt x="629" y="62"/>
                </a:lnTo>
                <a:lnTo>
                  <a:pt x="635" y="62"/>
                </a:lnTo>
                <a:lnTo>
                  <a:pt x="640" y="56"/>
                </a:lnTo>
                <a:lnTo>
                  <a:pt x="646" y="51"/>
                </a:lnTo>
                <a:lnTo>
                  <a:pt x="646" y="45"/>
                </a:lnTo>
                <a:lnTo>
                  <a:pt x="652" y="39"/>
                </a:lnTo>
                <a:lnTo>
                  <a:pt x="652" y="34"/>
                </a:lnTo>
                <a:lnTo>
                  <a:pt x="652" y="17"/>
                </a:lnTo>
                <a:lnTo>
                  <a:pt x="652" y="11"/>
                </a:lnTo>
                <a:lnTo>
                  <a:pt x="652" y="5"/>
                </a:lnTo>
                <a:lnTo>
                  <a:pt x="652" y="0"/>
                </a:lnTo>
                <a:lnTo>
                  <a:pt x="657" y="0"/>
                </a:lnTo>
                <a:lnTo>
                  <a:pt x="663" y="0"/>
                </a:lnTo>
                <a:lnTo>
                  <a:pt x="663" y="5"/>
                </a:lnTo>
                <a:lnTo>
                  <a:pt x="669" y="11"/>
                </a:lnTo>
                <a:lnTo>
                  <a:pt x="680" y="11"/>
                </a:lnTo>
                <a:lnTo>
                  <a:pt x="686" y="11"/>
                </a:lnTo>
                <a:lnTo>
                  <a:pt x="691" y="11"/>
                </a:lnTo>
                <a:lnTo>
                  <a:pt x="697" y="11"/>
                </a:lnTo>
                <a:lnTo>
                  <a:pt x="703" y="17"/>
                </a:lnTo>
                <a:lnTo>
                  <a:pt x="708" y="17"/>
                </a:lnTo>
                <a:lnTo>
                  <a:pt x="708" y="22"/>
                </a:lnTo>
                <a:lnTo>
                  <a:pt x="714" y="22"/>
                </a:lnTo>
                <a:lnTo>
                  <a:pt x="714" y="28"/>
                </a:lnTo>
                <a:lnTo>
                  <a:pt x="714" y="34"/>
                </a:lnTo>
                <a:lnTo>
                  <a:pt x="714" y="39"/>
                </a:lnTo>
                <a:lnTo>
                  <a:pt x="714" y="45"/>
                </a:lnTo>
                <a:lnTo>
                  <a:pt x="714" y="51"/>
                </a:lnTo>
                <a:lnTo>
                  <a:pt x="714" y="56"/>
                </a:lnTo>
                <a:lnTo>
                  <a:pt x="720" y="62"/>
                </a:lnTo>
                <a:lnTo>
                  <a:pt x="720" y="68"/>
                </a:lnTo>
                <a:lnTo>
                  <a:pt x="720" y="73"/>
                </a:lnTo>
                <a:lnTo>
                  <a:pt x="725" y="79"/>
                </a:lnTo>
                <a:lnTo>
                  <a:pt x="725" y="85"/>
                </a:lnTo>
                <a:lnTo>
                  <a:pt x="725" y="90"/>
                </a:lnTo>
                <a:lnTo>
                  <a:pt x="725" y="96"/>
                </a:lnTo>
                <a:lnTo>
                  <a:pt x="725" y="102"/>
                </a:lnTo>
                <a:lnTo>
                  <a:pt x="725" y="113"/>
                </a:lnTo>
                <a:lnTo>
                  <a:pt x="725" y="124"/>
                </a:lnTo>
                <a:lnTo>
                  <a:pt x="725" y="130"/>
                </a:lnTo>
                <a:lnTo>
                  <a:pt x="725" y="136"/>
                </a:lnTo>
                <a:lnTo>
                  <a:pt x="731" y="141"/>
                </a:lnTo>
                <a:lnTo>
                  <a:pt x="731" y="147"/>
                </a:lnTo>
                <a:lnTo>
                  <a:pt x="737" y="141"/>
                </a:lnTo>
                <a:lnTo>
                  <a:pt x="742" y="136"/>
                </a:lnTo>
                <a:lnTo>
                  <a:pt x="748" y="136"/>
                </a:lnTo>
                <a:lnTo>
                  <a:pt x="754" y="130"/>
                </a:lnTo>
                <a:lnTo>
                  <a:pt x="759" y="124"/>
                </a:lnTo>
                <a:lnTo>
                  <a:pt x="765" y="124"/>
                </a:lnTo>
                <a:lnTo>
                  <a:pt x="771" y="124"/>
                </a:lnTo>
                <a:lnTo>
                  <a:pt x="782" y="130"/>
                </a:lnTo>
                <a:lnTo>
                  <a:pt x="788" y="130"/>
                </a:lnTo>
                <a:lnTo>
                  <a:pt x="788" y="136"/>
                </a:lnTo>
                <a:lnTo>
                  <a:pt x="799" y="141"/>
                </a:lnTo>
                <a:lnTo>
                  <a:pt x="799" y="147"/>
                </a:lnTo>
                <a:lnTo>
                  <a:pt x="805" y="153"/>
                </a:lnTo>
                <a:lnTo>
                  <a:pt x="805" y="158"/>
                </a:lnTo>
                <a:lnTo>
                  <a:pt x="805" y="164"/>
                </a:lnTo>
                <a:lnTo>
                  <a:pt x="810" y="164"/>
                </a:lnTo>
                <a:lnTo>
                  <a:pt x="810" y="170"/>
                </a:lnTo>
                <a:lnTo>
                  <a:pt x="810" y="175"/>
                </a:lnTo>
                <a:lnTo>
                  <a:pt x="810" y="181"/>
                </a:lnTo>
                <a:lnTo>
                  <a:pt x="805" y="192"/>
                </a:lnTo>
                <a:lnTo>
                  <a:pt x="805" y="198"/>
                </a:lnTo>
                <a:lnTo>
                  <a:pt x="805" y="204"/>
                </a:lnTo>
                <a:lnTo>
                  <a:pt x="799" y="204"/>
                </a:lnTo>
                <a:lnTo>
                  <a:pt x="799" y="209"/>
                </a:lnTo>
                <a:lnTo>
                  <a:pt x="793" y="221"/>
                </a:lnTo>
                <a:lnTo>
                  <a:pt x="793" y="226"/>
                </a:lnTo>
                <a:lnTo>
                  <a:pt x="799" y="232"/>
                </a:lnTo>
                <a:lnTo>
                  <a:pt x="799" y="238"/>
                </a:lnTo>
                <a:lnTo>
                  <a:pt x="799" y="243"/>
                </a:lnTo>
                <a:lnTo>
                  <a:pt x="805" y="243"/>
                </a:lnTo>
                <a:lnTo>
                  <a:pt x="810" y="243"/>
                </a:lnTo>
                <a:lnTo>
                  <a:pt x="816" y="243"/>
                </a:lnTo>
                <a:lnTo>
                  <a:pt x="822" y="243"/>
                </a:lnTo>
                <a:lnTo>
                  <a:pt x="827" y="243"/>
                </a:lnTo>
                <a:lnTo>
                  <a:pt x="827" y="249"/>
                </a:lnTo>
                <a:lnTo>
                  <a:pt x="833" y="255"/>
                </a:lnTo>
                <a:lnTo>
                  <a:pt x="833" y="260"/>
                </a:lnTo>
                <a:lnTo>
                  <a:pt x="833" y="266"/>
                </a:lnTo>
                <a:lnTo>
                  <a:pt x="839" y="272"/>
                </a:lnTo>
                <a:lnTo>
                  <a:pt x="844" y="272"/>
                </a:lnTo>
                <a:lnTo>
                  <a:pt x="844" y="277"/>
                </a:lnTo>
                <a:lnTo>
                  <a:pt x="850" y="277"/>
                </a:lnTo>
                <a:lnTo>
                  <a:pt x="850" y="283"/>
                </a:lnTo>
                <a:lnTo>
                  <a:pt x="856" y="283"/>
                </a:lnTo>
                <a:lnTo>
                  <a:pt x="856" y="289"/>
                </a:lnTo>
                <a:lnTo>
                  <a:pt x="861" y="289"/>
                </a:lnTo>
                <a:lnTo>
                  <a:pt x="867" y="289"/>
                </a:lnTo>
                <a:lnTo>
                  <a:pt x="873" y="294"/>
                </a:lnTo>
                <a:lnTo>
                  <a:pt x="901" y="300"/>
                </a:lnTo>
                <a:lnTo>
                  <a:pt x="907" y="300"/>
                </a:lnTo>
                <a:lnTo>
                  <a:pt x="912" y="300"/>
                </a:lnTo>
                <a:lnTo>
                  <a:pt x="918" y="300"/>
                </a:lnTo>
                <a:lnTo>
                  <a:pt x="929" y="300"/>
                </a:lnTo>
                <a:lnTo>
                  <a:pt x="946" y="300"/>
                </a:lnTo>
                <a:lnTo>
                  <a:pt x="952" y="300"/>
                </a:lnTo>
                <a:lnTo>
                  <a:pt x="963" y="300"/>
                </a:lnTo>
                <a:lnTo>
                  <a:pt x="980" y="300"/>
                </a:lnTo>
                <a:lnTo>
                  <a:pt x="992" y="294"/>
                </a:lnTo>
                <a:lnTo>
                  <a:pt x="997" y="294"/>
                </a:lnTo>
                <a:lnTo>
                  <a:pt x="997" y="289"/>
                </a:lnTo>
                <a:lnTo>
                  <a:pt x="1003" y="289"/>
                </a:lnTo>
                <a:lnTo>
                  <a:pt x="1003" y="283"/>
                </a:lnTo>
                <a:lnTo>
                  <a:pt x="1009" y="283"/>
                </a:lnTo>
                <a:lnTo>
                  <a:pt x="1009" y="277"/>
                </a:lnTo>
                <a:lnTo>
                  <a:pt x="1009" y="272"/>
                </a:lnTo>
                <a:lnTo>
                  <a:pt x="1014" y="266"/>
                </a:lnTo>
                <a:lnTo>
                  <a:pt x="1014" y="260"/>
                </a:lnTo>
                <a:lnTo>
                  <a:pt x="1026" y="260"/>
                </a:lnTo>
                <a:lnTo>
                  <a:pt x="1043" y="255"/>
                </a:lnTo>
                <a:lnTo>
                  <a:pt x="1048" y="249"/>
                </a:lnTo>
                <a:lnTo>
                  <a:pt x="1048" y="243"/>
                </a:lnTo>
                <a:lnTo>
                  <a:pt x="1043" y="238"/>
                </a:lnTo>
                <a:lnTo>
                  <a:pt x="1043" y="232"/>
                </a:lnTo>
                <a:lnTo>
                  <a:pt x="1037" y="232"/>
                </a:lnTo>
                <a:lnTo>
                  <a:pt x="1037" y="226"/>
                </a:lnTo>
                <a:lnTo>
                  <a:pt x="1037" y="221"/>
                </a:lnTo>
                <a:lnTo>
                  <a:pt x="1031" y="221"/>
                </a:lnTo>
                <a:lnTo>
                  <a:pt x="1026" y="221"/>
                </a:lnTo>
                <a:lnTo>
                  <a:pt x="1026" y="215"/>
                </a:lnTo>
                <a:lnTo>
                  <a:pt x="1031" y="209"/>
                </a:lnTo>
                <a:lnTo>
                  <a:pt x="1037" y="204"/>
                </a:lnTo>
                <a:lnTo>
                  <a:pt x="1043" y="204"/>
                </a:lnTo>
                <a:lnTo>
                  <a:pt x="1054" y="204"/>
                </a:lnTo>
                <a:lnTo>
                  <a:pt x="1060" y="204"/>
                </a:lnTo>
                <a:lnTo>
                  <a:pt x="1071" y="209"/>
                </a:lnTo>
                <a:lnTo>
                  <a:pt x="1077" y="215"/>
                </a:lnTo>
                <a:lnTo>
                  <a:pt x="1083" y="215"/>
                </a:lnTo>
                <a:lnTo>
                  <a:pt x="1088" y="215"/>
                </a:lnTo>
                <a:lnTo>
                  <a:pt x="1100" y="215"/>
                </a:lnTo>
                <a:lnTo>
                  <a:pt x="1111" y="221"/>
                </a:lnTo>
                <a:lnTo>
                  <a:pt x="1117" y="221"/>
                </a:lnTo>
                <a:lnTo>
                  <a:pt x="1122" y="226"/>
                </a:lnTo>
                <a:lnTo>
                  <a:pt x="1128" y="232"/>
                </a:lnTo>
                <a:lnTo>
                  <a:pt x="1134" y="232"/>
                </a:lnTo>
                <a:lnTo>
                  <a:pt x="1139" y="232"/>
                </a:lnTo>
                <a:lnTo>
                  <a:pt x="1139" y="238"/>
                </a:lnTo>
                <a:lnTo>
                  <a:pt x="1139" y="243"/>
                </a:lnTo>
                <a:lnTo>
                  <a:pt x="1145" y="243"/>
                </a:lnTo>
                <a:lnTo>
                  <a:pt x="1151" y="249"/>
                </a:lnTo>
                <a:lnTo>
                  <a:pt x="1156" y="249"/>
                </a:lnTo>
                <a:lnTo>
                  <a:pt x="1173" y="249"/>
                </a:lnTo>
                <a:lnTo>
                  <a:pt x="1185" y="255"/>
                </a:lnTo>
                <a:lnTo>
                  <a:pt x="1185" y="260"/>
                </a:lnTo>
                <a:lnTo>
                  <a:pt x="1196" y="260"/>
                </a:lnTo>
                <a:lnTo>
                  <a:pt x="1202" y="260"/>
                </a:lnTo>
                <a:lnTo>
                  <a:pt x="1207" y="260"/>
                </a:lnTo>
                <a:lnTo>
                  <a:pt x="1207" y="266"/>
                </a:lnTo>
                <a:lnTo>
                  <a:pt x="1213" y="272"/>
                </a:lnTo>
                <a:lnTo>
                  <a:pt x="1219" y="272"/>
                </a:lnTo>
                <a:lnTo>
                  <a:pt x="1224" y="277"/>
                </a:lnTo>
                <a:lnTo>
                  <a:pt x="1230" y="277"/>
                </a:lnTo>
                <a:lnTo>
                  <a:pt x="1236" y="283"/>
                </a:lnTo>
                <a:lnTo>
                  <a:pt x="1241" y="283"/>
                </a:lnTo>
                <a:lnTo>
                  <a:pt x="1241" y="289"/>
                </a:lnTo>
                <a:lnTo>
                  <a:pt x="1247" y="289"/>
                </a:lnTo>
                <a:lnTo>
                  <a:pt x="1253" y="294"/>
                </a:lnTo>
                <a:lnTo>
                  <a:pt x="1264" y="300"/>
                </a:lnTo>
                <a:lnTo>
                  <a:pt x="1270" y="306"/>
                </a:lnTo>
                <a:lnTo>
                  <a:pt x="1275" y="311"/>
                </a:lnTo>
                <a:lnTo>
                  <a:pt x="1275" y="317"/>
                </a:lnTo>
                <a:lnTo>
                  <a:pt x="1281" y="317"/>
                </a:lnTo>
                <a:lnTo>
                  <a:pt x="1287" y="317"/>
                </a:lnTo>
                <a:lnTo>
                  <a:pt x="1292" y="323"/>
                </a:lnTo>
                <a:lnTo>
                  <a:pt x="1309" y="317"/>
                </a:lnTo>
                <a:lnTo>
                  <a:pt x="1292" y="328"/>
                </a:lnTo>
                <a:lnTo>
                  <a:pt x="1292" y="334"/>
                </a:lnTo>
                <a:lnTo>
                  <a:pt x="1292" y="340"/>
                </a:lnTo>
                <a:lnTo>
                  <a:pt x="1292" y="345"/>
                </a:lnTo>
                <a:lnTo>
                  <a:pt x="1287" y="345"/>
                </a:lnTo>
                <a:lnTo>
                  <a:pt x="1287" y="351"/>
                </a:lnTo>
                <a:lnTo>
                  <a:pt x="1287" y="357"/>
                </a:lnTo>
                <a:lnTo>
                  <a:pt x="1281" y="357"/>
                </a:lnTo>
                <a:lnTo>
                  <a:pt x="1281" y="362"/>
                </a:lnTo>
                <a:lnTo>
                  <a:pt x="1281" y="368"/>
                </a:lnTo>
                <a:lnTo>
                  <a:pt x="1281" y="374"/>
                </a:lnTo>
                <a:lnTo>
                  <a:pt x="1287" y="385"/>
                </a:lnTo>
                <a:lnTo>
                  <a:pt x="1287" y="396"/>
                </a:lnTo>
                <a:lnTo>
                  <a:pt x="1292" y="413"/>
                </a:lnTo>
                <a:lnTo>
                  <a:pt x="1292" y="425"/>
                </a:lnTo>
                <a:lnTo>
                  <a:pt x="1292" y="436"/>
                </a:lnTo>
                <a:lnTo>
                  <a:pt x="1304" y="453"/>
                </a:lnTo>
                <a:lnTo>
                  <a:pt x="1304" y="459"/>
                </a:lnTo>
                <a:lnTo>
                  <a:pt x="1309" y="470"/>
                </a:lnTo>
                <a:lnTo>
                  <a:pt x="1309" y="476"/>
                </a:lnTo>
                <a:lnTo>
                  <a:pt x="1309" y="481"/>
                </a:lnTo>
                <a:lnTo>
                  <a:pt x="1315" y="481"/>
                </a:lnTo>
                <a:lnTo>
                  <a:pt x="1321" y="487"/>
                </a:lnTo>
                <a:lnTo>
                  <a:pt x="1321" y="493"/>
                </a:lnTo>
                <a:lnTo>
                  <a:pt x="1321" y="498"/>
                </a:lnTo>
                <a:lnTo>
                  <a:pt x="1321" y="510"/>
                </a:lnTo>
                <a:lnTo>
                  <a:pt x="1321" y="515"/>
                </a:lnTo>
                <a:lnTo>
                  <a:pt x="1309" y="521"/>
                </a:lnTo>
                <a:lnTo>
                  <a:pt x="1304" y="521"/>
                </a:lnTo>
                <a:lnTo>
                  <a:pt x="1304" y="527"/>
                </a:lnTo>
                <a:lnTo>
                  <a:pt x="1298" y="527"/>
                </a:lnTo>
                <a:lnTo>
                  <a:pt x="1287" y="527"/>
                </a:lnTo>
                <a:lnTo>
                  <a:pt x="1270" y="527"/>
                </a:lnTo>
                <a:lnTo>
                  <a:pt x="1264" y="527"/>
                </a:lnTo>
                <a:lnTo>
                  <a:pt x="1258" y="532"/>
                </a:lnTo>
                <a:lnTo>
                  <a:pt x="1253" y="532"/>
                </a:lnTo>
                <a:lnTo>
                  <a:pt x="1247" y="538"/>
                </a:lnTo>
                <a:lnTo>
                  <a:pt x="1241" y="538"/>
                </a:lnTo>
                <a:lnTo>
                  <a:pt x="1236" y="538"/>
                </a:lnTo>
                <a:lnTo>
                  <a:pt x="1236" y="544"/>
                </a:lnTo>
                <a:lnTo>
                  <a:pt x="1230" y="544"/>
                </a:lnTo>
                <a:lnTo>
                  <a:pt x="1224" y="549"/>
                </a:lnTo>
                <a:lnTo>
                  <a:pt x="1213" y="555"/>
                </a:lnTo>
                <a:lnTo>
                  <a:pt x="1213" y="561"/>
                </a:lnTo>
                <a:lnTo>
                  <a:pt x="1207" y="561"/>
                </a:lnTo>
                <a:lnTo>
                  <a:pt x="1207" y="566"/>
                </a:lnTo>
                <a:lnTo>
                  <a:pt x="1202" y="566"/>
                </a:lnTo>
                <a:lnTo>
                  <a:pt x="1196" y="578"/>
                </a:lnTo>
                <a:lnTo>
                  <a:pt x="1190" y="578"/>
                </a:lnTo>
                <a:lnTo>
                  <a:pt x="1179" y="583"/>
                </a:lnTo>
                <a:lnTo>
                  <a:pt x="1179" y="589"/>
                </a:lnTo>
                <a:lnTo>
                  <a:pt x="1179" y="595"/>
                </a:lnTo>
                <a:lnTo>
                  <a:pt x="1173" y="595"/>
                </a:lnTo>
                <a:lnTo>
                  <a:pt x="1168" y="595"/>
                </a:lnTo>
                <a:lnTo>
                  <a:pt x="1162" y="606"/>
                </a:lnTo>
                <a:lnTo>
                  <a:pt x="1162" y="612"/>
                </a:lnTo>
                <a:lnTo>
                  <a:pt x="1156" y="612"/>
                </a:lnTo>
                <a:lnTo>
                  <a:pt x="1151" y="612"/>
                </a:lnTo>
                <a:lnTo>
                  <a:pt x="1151" y="617"/>
                </a:lnTo>
                <a:lnTo>
                  <a:pt x="1151" y="623"/>
                </a:lnTo>
                <a:lnTo>
                  <a:pt x="1145" y="623"/>
                </a:lnTo>
                <a:lnTo>
                  <a:pt x="1139" y="623"/>
                </a:lnTo>
                <a:lnTo>
                  <a:pt x="1139" y="629"/>
                </a:lnTo>
                <a:lnTo>
                  <a:pt x="1134" y="629"/>
                </a:lnTo>
                <a:lnTo>
                  <a:pt x="1134" y="634"/>
                </a:lnTo>
                <a:lnTo>
                  <a:pt x="1128" y="634"/>
                </a:lnTo>
                <a:lnTo>
                  <a:pt x="1128" y="640"/>
                </a:lnTo>
                <a:lnTo>
                  <a:pt x="1122" y="640"/>
                </a:lnTo>
                <a:lnTo>
                  <a:pt x="1122" y="646"/>
                </a:lnTo>
                <a:lnTo>
                  <a:pt x="1117" y="646"/>
                </a:lnTo>
                <a:lnTo>
                  <a:pt x="1111" y="646"/>
                </a:lnTo>
                <a:lnTo>
                  <a:pt x="1111" y="651"/>
                </a:lnTo>
                <a:lnTo>
                  <a:pt x="1105" y="651"/>
                </a:lnTo>
                <a:lnTo>
                  <a:pt x="1105" y="657"/>
                </a:lnTo>
                <a:lnTo>
                  <a:pt x="1100" y="657"/>
                </a:lnTo>
                <a:lnTo>
                  <a:pt x="1094" y="663"/>
                </a:lnTo>
                <a:lnTo>
                  <a:pt x="1088" y="663"/>
                </a:lnTo>
                <a:lnTo>
                  <a:pt x="1083" y="668"/>
                </a:lnTo>
                <a:lnTo>
                  <a:pt x="1083" y="674"/>
                </a:lnTo>
                <a:lnTo>
                  <a:pt x="1077" y="674"/>
                </a:lnTo>
                <a:lnTo>
                  <a:pt x="1071" y="674"/>
                </a:lnTo>
                <a:lnTo>
                  <a:pt x="1071" y="680"/>
                </a:lnTo>
                <a:lnTo>
                  <a:pt x="1066" y="680"/>
                </a:lnTo>
                <a:lnTo>
                  <a:pt x="1060" y="685"/>
                </a:lnTo>
                <a:lnTo>
                  <a:pt x="1054" y="691"/>
                </a:lnTo>
                <a:lnTo>
                  <a:pt x="1048" y="691"/>
                </a:lnTo>
                <a:lnTo>
                  <a:pt x="1043" y="691"/>
                </a:lnTo>
                <a:lnTo>
                  <a:pt x="1043" y="697"/>
                </a:lnTo>
                <a:lnTo>
                  <a:pt x="1037" y="702"/>
                </a:lnTo>
                <a:lnTo>
                  <a:pt x="1031" y="702"/>
                </a:lnTo>
                <a:lnTo>
                  <a:pt x="1026" y="702"/>
                </a:lnTo>
                <a:lnTo>
                  <a:pt x="1020" y="708"/>
                </a:lnTo>
                <a:lnTo>
                  <a:pt x="1014" y="708"/>
                </a:lnTo>
                <a:lnTo>
                  <a:pt x="1009" y="714"/>
                </a:lnTo>
                <a:lnTo>
                  <a:pt x="997" y="714"/>
                </a:lnTo>
                <a:lnTo>
                  <a:pt x="992" y="719"/>
                </a:lnTo>
                <a:lnTo>
                  <a:pt x="986" y="719"/>
                </a:lnTo>
                <a:lnTo>
                  <a:pt x="980" y="719"/>
                </a:lnTo>
                <a:lnTo>
                  <a:pt x="969" y="719"/>
                </a:lnTo>
                <a:lnTo>
                  <a:pt x="958" y="719"/>
                </a:lnTo>
                <a:lnTo>
                  <a:pt x="952" y="725"/>
                </a:lnTo>
                <a:lnTo>
                  <a:pt x="952" y="731"/>
                </a:lnTo>
                <a:lnTo>
                  <a:pt x="946" y="736"/>
                </a:lnTo>
                <a:lnTo>
                  <a:pt x="941" y="736"/>
                </a:lnTo>
                <a:lnTo>
                  <a:pt x="941" y="742"/>
                </a:lnTo>
                <a:lnTo>
                  <a:pt x="941" y="748"/>
                </a:lnTo>
                <a:lnTo>
                  <a:pt x="929" y="748"/>
                </a:lnTo>
                <a:lnTo>
                  <a:pt x="924" y="748"/>
                </a:lnTo>
                <a:lnTo>
                  <a:pt x="918" y="748"/>
                </a:lnTo>
                <a:lnTo>
                  <a:pt x="912" y="748"/>
                </a:lnTo>
                <a:lnTo>
                  <a:pt x="907" y="742"/>
                </a:lnTo>
                <a:lnTo>
                  <a:pt x="901" y="742"/>
                </a:lnTo>
                <a:lnTo>
                  <a:pt x="895" y="742"/>
                </a:lnTo>
                <a:lnTo>
                  <a:pt x="895" y="736"/>
                </a:lnTo>
                <a:lnTo>
                  <a:pt x="884" y="736"/>
                </a:lnTo>
                <a:lnTo>
                  <a:pt x="878" y="736"/>
                </a:lnTo>
                <a:lnTo>
                  <a:pt x="873" y="731"/>
                </a:lnTo>
                <a:lnTo>
                  <a:pt x="867" y="731"/>
                </a:lnTo>
                <a:lnTo>
                  <a:pt x="867" y="736"/>
                </a:lnTo>
                <a:lnTo>
                  <a:pt x="856" y="736"/>
                </a:lnTo>
                <a:lnTo>
                  <a:pt x="856" y="742"/>
                </a:lnTo>
                <a:lnTo>
                  <a:pt x="850" y="748"/>
                </a:lnTo>
                <a:lnTo>
                  <a:pt x="850" y="759"/>
                </a:lnTo>
                <a:lnTo>
                  <a:pt x="856" y="765"/>
                </a:lnTo>
                <a:lnTo>
                  <a:pt x="856" y="770"/>
                </a:lnTo>
                <a:lnTo>
                  <a:pt x="856" y="776"/>
                </a:lnTo>
                <a:lnTo>
                  <a:pt x="856" y="782"/>
                </a:lnTo>
                <a:lnTo>
                  <a:pt x="861" y="787"/>
                </a:lnTo>
                <a:lnTo>
                  <a:pt x="867" y="787"/>
                </a:lnTo>
                <a:lnTo>
                  <a:pt x="867" y="799"/>
                </a:lnTo>
                <a:lnTo>
                  <a:pt x="867" y="804"/>
                </a:lnTo>
                <a:lnTo>
                  <a:pt x="873" y="804"/>
                </a:lnTo>
                <a:lnTo>
                  <a:pt x="873" y="810"/>
                </a:lnTo>
                <a:lnTo>
                  <a:pt x="873" y="816"/>
                </a:lnTo>
                <a:lnTo>
                  <a:pt x="873" y="821"/>
                </a:lnTo>
                <a:lnTo>
                  <a:pt x="873" y="827"/>
                </a:lnTo>
                <a:lnTo>
                  <a:pt x="873" y="833"/>
                </a:lnTo>
                <a:lnTo>
                  <a:pt x="867" y="833"/>
                </a:lnTo>
                <a:lnTo>
                  <a:pt x="867" y="838"/>
                </a:lnTo>
                <a:lnTo>
                  <a:pt x="861" y="844"/>
                </a:lnTo>
                <a:lnTo>
                  <a:pt x="856" y="844"/>
                </a:lnTo>
                <a:lnTo>
                  <a:pt x="844" y="855"/>
                </a:lnTo>
                <a:lnTo>
                  <a:pt x="839" y="855"/>
                </a:lnTo>
                <a:lnTo>
                  <a:pt x="839" y="861"/>
                </a:lnTo>
                <a:lnTo>
                  <a:pt x="833" y="861"/>
                </a:lnTo>
                <a:lnTo>
                  <a:pt x="833" y="867"/>
                </a:lnTo>
                <a:lnTo>
                  <a:pt x="827" y="867"/>
                </a:lnTo>
                <a:lnTo>
                  <a:pt x="827" y="872"/>
                </a:lnTo>
                <a:lnTo>
                  <a:pt x="822" y="872"/>
                </a:lnTo>
                <a:lnTo>
                  <a:pt x="810" y="884"/>
                </a:lnTo>
                <a:lnTo>
                  <a:pt x="805" y="884"/>
                </a:lnTo>
                <a:lnTo>
                  <a:pt x="799" y="884"/>
                </a:lnTo>
                <a:lnTo>
                  <a:pt x="793" y="878"/>
                </a:lnTo>
                <a:lnTo>
                  <a:pt x="788" y="878"/>
                </a:lnTo>
                <a:lnTo>
                  <a:pt x="788" y="872"/>
                </a:lnTo>
                <a:lnTo>
                  <a:pt x="788" y="867"/>
                </a:lnTo>
                <a:lnTo>
                  <a:pt x="782" y="861"/>
                </a:lnTo>
                <a:lnTo>
                  <a:pt x="782" y="855"/>
                </a:lnTo>
                <a:lnTo>
                  <a:pt x="782" y="850"/>
                </a:lnTo>
                <a:lnTo>
                  <a:pt x="776" y="850"/>
                </a:lnTo>
                <a:lnTo>
                  <a:pt x="771" y="844"/>
                </a:lnTo>
                <a:lnTo>
                  <a:pt x="771" y="838"/>
                </a:lnTo>
                <a:lnTo>
                  <a:pt x="771" y="833"/>
                </a:lnTo>
                <a:lnTo>
                  <a:pt x="765" y="833"/>
                </a:lnTo>
                <a:lnTo>
                  <a:pt x="759" y="833"/>
                </a:lnTo>
                <a:lnTo>
                  <a:pt x="754" y="827"/>
                </a:lnTo>
                <a:lnTo>
                  <a:pt x="748" y="821"/>
                </a:lnTo>
                <a:lnTo>
                  <a:pt x="742" y="821"/>
                </a:lnTo>
                <a:lnTo>
                  <a:pt x="737" y="827"/>
                </a:lnTo>
                <a:lnTo>
                  <a:pt x="731" y="827"/>
                </a:lnTo>
                <a:lnTo>
                  <a:pt x="725" y="827"/>
                </a:lnTo>
                <a:lnTo>
                  <a:pt x="720" y="827"/>
                </a:lnTo>
                <a:lnTo>
                  <a:pt x="714" y="827"/>
                </a:lnTo>
                <a:lnTo>
                  <a:pt x="703" y="827"/>
                </a:lnTo>
                <a:lnTo>
                  <a:pt x="697" y="827"/>
                </a:lnTo>
                <a:lnTo>
                  <a:pt x="686" y="827"/>
                </a:lnTo>
                <a:lnTo>
                  <a:pt x="674" y="821"/>
                </a:lnTo>
                <a:lnTo>
                  <a:pt x="663" y="821"/>
                </a:lnTo>
                <a:lnTo>
                  <a:pt x="663" y="816"/>
                </a:lnTo>
                <a:lnTo>
                  <a:pt x="657" y="816"/>
                </a:lnTo>
                <a:lnTo>
                  <a:pt x="652" y="816"/>
                </a:lnTo>
                <a:lnTo>
                  <a:pt x="640" y="810"/>
                </a:lnTo>
                <a:lnTo>
                  <a:pt x="635" y="810"/>
                </a:lnTo>
                <a:lnTo>
                  <a:pt x="629" y="810"/>
                </a:lnTo>
                <a:lnTo>
                  <a:pt x="618" y="804"/>
                </a:lnTo>
                <a:lnTo>
                  <a:pt x="612" y="804"/>
                </a:lnTo>
                <a:lnTo>
                  <a:pt x="606" y="804"/>
                </a:lnTo>
                <a:lnTo>
                  <a:pt x="606" y="799"/>
                </a:lnTo>
                <a:lnTo>
                  <a:pt x="601" y="799"/>
                </a:lnTo>
                <a:lnTo>
                  <a:pt x="595" y="799"/>
                </a:lnTo>
                <a:lnTo>
                  <a:pt x="589" y="793"/>
                </a:lnTo>
                <a:lnTo>
                  <a:pt x="584" y="787"/>
                </a:lnTo>
                <a:lnTo>
                  <a:pt x="578" y="787"/>
                </a:lnTo>
                <a:lnTo>
                  <a:pt x="567" y="793"/>
                </a:lnTo>
                <a:lnTo>
                  <a:pt x="561" y="793"/>
                </a:lnTo>
                <a:lnTo>
                  <a:pt x="555" y="799"/>
                </a:lnTo>
                <a:lnTo>
                  <a:pt x="550" y="799"/>
                </a:lnTo>
                <a:lnTo>
                  <a:pt x="544" y="804"/>
                </a:lnTo>
                <a:lnTo>
                  <a:pt x="521" y="821"/>
                </a:lnTo>
                <a:lnTo>
                  <a:pt x="516" y="821"/>
                </a:lnTo>
                <a:lnTo>
                  <a:pt x="516" y="827"/>
                </a:lnTo>
                <a:lnTo>
                  <a:pt x="516" y="833"/>
                </a:lnTo>
                <a:lnTo>
                  <a:pt x="510" y="833"/>
                </a:lnTo>
                <a:lnTo>
                  <a:pt x="510" y="838"/>
                </a:lnTo>
                <a:lnTo>
                  <a:pt x="510" y="844"/>
                </a:lnTo>
                <a:lnTo>
                  <a:pt x="504" y="844"/>
                </a:lnTo>
                <a:lnTo>
                  <a:pt x="504" y="855"/>
                </a:lnTo>
                <a:lnTo>
                  <a:pt x="510" y="861"/>
                </a:lnTo>
                <a:lnTo>
                  <a:pt x="510" y="867"/>
                </a:lnTo>
                <a:lnTo>
                  <a:pt x="516" y="867"/>
                </a:lnTo>
                <a:lnTo>
                  <a:pt x="516" y="872"/>
                </a:lnTo>
                <a:lnTo>
                  <a:pt x="516" y="884"/>
                </a:lnTo>
                <a:lnTo>
                  <a:pt x="521" y="884"/>
                </a:lnTo>
                <a:lnTo>
                  <a:pt x="521" y="889"/>
                </a:lnTo>
                <a:lnTo>
                  <a:pt x="521" y="895"/>
                </a:lnTo>
                <a:lnTo>
                  <a:pt x="527" y="901"/>
                </a:lnTo>
                <a:lnTo>
                  <a:pt x="527" y="906"/>
                </a:lnTo>
                <a:lnTo>
                  <a:pt x="533" y="912"/>
                </a:lnTo>
                <a:lnTo>
                  <a:pt x="533" y="918"/>
                </a:lnTo>
                <a:lnTo>
                  <a:pt x="533" y="924"/>
                </a:lnTo>
                <a:lnTo>
                  <a:pt x="533" y="929"/>
                </a:lnTo>
                <a:lnTo>
                  <a:pt x="527" y="929"/>
                </a:lnTo>
                <a:lnTo>
                  <a:pt x="521" y="929"/>
                </a:lnTo>
                <a:lnTo>
                  <a:pt x="521" y="924"/>
                </a:lnTo>
                <a:lnTo>
                  <a:pt x="516" y="924"/>
                </a:lnTo>
                <a:lnTo>
                  <a:pt x="516" y="918"/>
                </a:lnTo>
                <a:lnTo>
                  <a:pt x="504" y="912"/>
                </a:lnTo>
                <a:lnTo>
                  <a:pt x="499" y="912"/>
                </a:lnTo>
                <a:lnTo>
                  <a:pt x="493" y="912"/>
                </a:lnTo>
                <a:lnTo>
                  <a:pt x="487" y="906"/>
                </a:lnTo>
                <a:lnTo>
                  <a:pt x="482" y="901"/>
                </a:lnTo>
                <a:lnTo>
                  <a:pt x="476" y="901"/>
                </a:lnTo>
                <a:lnTo>
                  <a:pt x="470" y="895"/>
                </a:lnTo>
                <a:lnTo>
                  <a:pt x="465" y="895"/>
                </a:lnTo>
                <a:lnTo>
                  <a:pt x="459" y="889"/>
                </a:lnTo>
                <a:lnTo>
                  <a:pt x="453" y="889"/>
                </a:lnTo>
                <a:lnTo>
                  <a:pt x="448" y="889"/>
                </a:lnTo>
                <a:lnTo>
                  <a:pt x="442" y="889"/>
                </a:lnTo>
                <a:lnTo>
                  <a:pt x="436" y="884"/>
                </a:lnTo>
                <a:lnTo>
                  <a:pt x="431" y="884"/>
                </a:lnTo>
                <a:lnTo>
                  <a:pt x="425" y="884"/>
                </a:lnTo>
                <a:lnTo>
                  <a:pt x="414" y="872"/>
                </a:lnTo>
                <a:lnTo>
                  <a:pt x="408" y="872"/>
                </a:lnTo>
                <a:lnTo>
                  <a:pt x="402" y="872"/>
                </a:lnTo>
                <a:lnTo>
                  <a:pt x="397" y="872"/>
                </a:lnTo>
                <a:lnTo>
                  <a:pt x="397" y="867"/>
                </a:lnTo>
                <a:lnTo>
                  <a:pt x="391" y="867"/>
                </a:lnTo>
                <a:lnTo>
                  <a:pt x="385" y="861"/>
                </a:lnTo>
                <a:lnTo>
                  <a:pt x="380" y="861"/>
                </a:lnTo>
                <a:lnTo>
                  <a:pt x="368" y="861"/>
                </a:lnTo>
                <a:lnTo>
                  <a:pt x="363" y="861"/>
                </a:lnTo>
                <a:lnTo>
                  <a:pt x="363" y="855"/>
                </a:lnTo>
                <a:lnTo>
                  <a:pt x="351" y="855"/>
                </a:lnTo>
                <a:lnTo>
                  <a:pt x="346" y="855"/>
                </a:lnTo>
                <a:lnTo>
                  <a:pt x="334" y="855"/>
                </a:lnTo>
                <a:lnTo>
                  <a:pt x="317" y="850"/>
                </a:lnTo>
                <a:lnTo>
                  <a:pt x="306" y="850"/>
                </a:lnTo>
                <a:lnTo>
                  <a:pt x="306" y="844"/>
                </a:lnTo>
                <a:lnTo>
                  <a:pt x="295" y="844"/>
                </a:lnTo>
                <a:lnTo>
                  <a:pt x="289" y="844"/>
                </a:lnTo>
                <a:lnTo>
                  <a:pt x="278" y="838"/>
                </a:lnTo>
                <a:lnTo>
                  <a:pt x="266" y="833"/>
                </a:lnTo>
                <a:lnTo>
                  <a:pt x="261" y="833"/>
                </a:lnTo>
                <a:lnTo>
                  <a:pt x="255" y="833"/>
                </a:lnTo>
                <a:lnTo>
                  <a:pt x="249" y="833"/>
                </a:lnTo>
                <a:lnTo>
                  <a:pt x="244" y="827"/>
                </a:lnTo>
                <a:lnTo>
                  <a:pt x="238" y="827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5" name="Freeform 26"/>
          <p:cNvSpPr>
            <a:spLocks noEditPoints="1"/>
          </p:cNvSpPr>
          <p:nvPr/>
        </p:nvSpPr>
        <p:spPr bwMode="gray">
          <a:xfrm>
            <a:off x="2447579" y="5628614"/>
            <a:ext cx="1334749" cy="892479"/>
          </a:xfrm>
          <a:custGeom>
            <a:avLst/>
            <a:gdLst>
              <a:gd name="T0" fmla="*/ 2147483647 w 788"/>
              <a:gd name="T1" fmla="*/ 2147483647 h 527"/>
              <a:gd name="T2" fmla="*/ 2147483647 w 788"/>
              <a:gd name="T3" fmla="*/ 2147483647 h 527"/>
              <a:gd name="T4" fmla="*/ 2147483647 w 788"/>
              <a:gd name="T5" fmla="*/ 2147483647 h 527"/>
              <a:gd name="T6" fmla="*/ 2147483647 w 788"/>
              <a:gd name="T7" fmla="*/ 2147483647 h 527"/>
              <a:gd name="T8" fmla="*/ 2147483647 w 788"/>
              <a:gd name="T9" fmla="*/ 2147483647 h 527"/>
              <a:gd name="T10" fmla="*/ 2147483647 w 788"/>
              <a:gd name="T11" fmla="*/ 2147483647 h 527"/>
              <a:gd name="T12" fmla="*/ 2147483647 w 788"/>
              <a:gd name="T13" fmla="*/ 2147483647 h 527"/>
              <a:gd name="T14" fmla="*/ 2147483647 w 788"/>
              <a:gd name="T15" fmla="*/ 2147483647 h 527"/>
              <a:gd name="T16" fmla="*/ 2147483647 w 788"/>
              <a:gd name="T17" fmla="*/ 2147483647 h 527"/>
              <a:gd name="T18" fmla="*/ 2147483647 w 788"/>
              <a:gd name="T19" fmla="*/ 2147483647 h 527"/>
              <a:gd name="T20" fmla="*/ 2147483647 w 788"/>
              <a:gd name="T21" fmla="*/ 2147483647 h 527"/>
              <a:gd name="T22" fmla="*/ 2147483647 w 788"/>
              <a:gd name="T23" fmla="*/ 2147483647 h 527"/>
              <a:gd name="T24" fmla="*/ 2147483647 w 788"/>
              <a:gd name="T25" fmla="*/ 2147483647 h 527"/>
              <a:gd name="T26" fmla="*/ 2147483647 w 788"/>
              <a:gd name="T27" fmla="*/ 2147483647 h 527"/>
              <a:gd name="T28" fmla="*/ 2147483647 w 788"/>
              <a:gd name="T29" fmla="*/ 2147483647 h 527"/>
              <a:gd name="T30" fmla="*/ 2147483647 w 788"/>
              <a:gd name="T31" fmla="*/ 2147483647 h 527"/>
              <a:gd name="T32" fmla="*/ 2147483647 w 788"/>
              <a:gd name="T33" fmla="*/ 2147483647 h 527"/>
              <a:gd name="T34" fmla="*/ 2147483647 w 788"/>
              <a:gd name="T35" fmla="*/ 2147483647 h 527"/>
              <a:gd name="T36" fmla="*/ 2147483647 w 788"/>
              <a:gd name="T37" fmla="*/ 2147483647 h 527"/>
              <a:gd name="T38" fmla="*/ 2147483647 w 788"/>
              <a:gd name="T39" fmla="*/ 2147483647 h 527"/>
              <a:gd name="T40" fmla="*/ 2147483647 w 788"/>
              <a:gd name="T41" fmla="*/ 2147483647 h 527"/>
              <a:gd name="T42" fmla="*/ 2147483647 w 788"/>
              <a:gd name="T43" fmla="*/ 2147483647 h 527"/>
              <a:gd name="T44" fmla="*/ 2147483647 w 788"/>
              <a:gd name="T45" fmla="*/ 2147483647 h 527"/>
              <a:gd name="T46" fmla="*/ 2147483647 w 788"/>
              <a:gd name="T47" fmla="*/ 2147483647 h 527"/>
              <a:gd name="T48" fmla="*/ 2147483647 w 788"/>
              <a:gd name="T49" fmla="*/ 2147483647 h 527"/>
              <a:gd name="T50" fmla="*/ 2147483647 w 788"/>
              <a:gd name="T51" fmla="*/ 2147483647 h 527"/>
              <a:gd name="T52" fmla="*/ 0 w 788"/>
              <a:gd name="T53" fmla="*/ 2147483647 h 527"/>
              <a:gd name="T54" fmla="*/ 2147483647 w 788"/>
              <a:gd name="T55" fmla="*/ 2147483647 h 527"/>
              <a:gd name="T56" fmla="*/ 2147483647 w 788"/>
              <a:gd name="T57" fmla="*/ 2147483647 h 527"/>
              <a:gd name="T58" fmla="*/ 2147483647 w 788"/>
              <a:gd name="T59" fmla="*/ 2147483647 h 527"/>
              <a:gd name="T60" fmla="*/ 2147483647 w 788"/>
              <a:gd name="T61" fmla="*/ 2147483647 h 527"/>
              <a:gd name="T62" fmla="*/ 2147483647 w 788"/>
              <a:gd name="T63" fmla="*/ 2147483647 h 527"/>
              <a:gd name="T64" fmla="*/ 2147483647 w 788"/>
              <a:gd name="T65" fmla="*/ 2147483647 h 527"/>
              <a:gd name="T66" fmla="*/ 2147483647 w 788"/>
              <a:gd name="T67" fmla="*/ 2147483647 h 527"/>
              <a:gd name="T68" fmla="*/ 2147483647 w 788"/>
              <a:gd name="T69" fmla="*/ 2147483647 h 527"/>
              <a:gd name="T70" fmla="*/ 2147483647 w 788"/>
              <a:gd name="T71" fmla="*/ 2147483647 h 527"/>
              <a:gd name="T72" fmla="*/ 2147483647 w 788"/>
              <a:gd name="T73" fmla="*/ 2147483647 h 527"/>
              <a:gd name="T74" fmla="*/ 2147483647 w 788"/>
              <a:gd name="T75" fmla="*/ 2147483647 h 527"/>
              <a:gd name="T76" fmla="*/ 2147483647 w 788"/>
              <a:gd name="T77" fmla="*/ 2147483647 h 527"/>
              <a:gd name="T78" fmla="*/ 2147483647 w 788"/>
              <a:gd name="T79" fmla="*/ 2147483647 h 527"/>
              <a:gd name="T80" fmla="*/ 2147483647 w 788"/>
              <a:gd name="T81" fmla="*/ 2147483647 h 527"/>
              <a:gd name="T82" fmla="*/ 2147483647 w 788"/>
              <a:gd name="T83" fmla="*/ 2147483647 h 527"/>
              <a:gd name="T84" fmla="*/ 2147483647 w 788"/>
              <a:gd name="T85" fmla="*/ 2147483647 h 527"/>
              <a:gd name="T86" fmla="*/ 2147483647 w 788"/>
              <a:gd name="T87" fmla="*/ 2147483647 h 527"/>
              <a:gd name="T88" fmla="*/ 2147483647 w 788"/>
              <a:gd name="T89" fmla="*/ 2147483647 h 527"/>
              <a:gd name="T90" fmla="*/ 2147483647 w 788"/>
              <a:gd name="T91" fmla="*/ 2147483647 h 527"/>
              <a:gd name="T92" fmla="*/ 2147483647 w 788"/>
              <a:gd name="T93" fmla="*/ 2147483647 h 527"/>
              <a:gd name="T94" fmla="*/ 2147483647 w 788"/>
              <a:gd name="T95" fmla="*/ 2147483647 h 527"/>
              <a:gd name="T96" fmla="*/ 2147483647 w 788"/>
              <a:gd name="T97" fmla="*/ 2147483647 h 527"/>
              <a:gd name="T98" fmla="*/ 2147483647 w 788"/>
              <a:gd name="T99" fmla="*/ 2147483647 h 527"/>
              <a:gd name="T100" fmla="*/ 2147483647 w 788"/>
              <a:gd name="T101" fmla="*/ 2147483647 h 527"/>
              <a:gd name="T102" fmla="*/ 2147483647 w 788"/>
              <a:gd name="T103" fmla="*/ 2147483647 h 527"/>
              <a:gd name="T104" fmla="*/ 2147483647 w 788"/>
              <a:gd name="T105" fmla="*/ 2147483647 h 527"/>
              <a:gd name="T106" fmla="*/ 2147483647 w 788"/>
              <a:gd name="T107" fmla="*/ 2147483647 h 527"/>
              <a:gd name="T108" fmla="*/ 2147483647 w 788"/>
              <a:gd name="T109" fmla="*/ 2147483647 h 527"/>
              <a:gd name="T110" fmla="*/ 2147483647 w 788"/>
              <a:gd name="T111" fmla="*/ 2147483647 h 527"/>
              <a:gd name="T112" fmla="*/ 2147483647 w 788"/>
              <a:gd name="T113" fmla="*/ 2147483647 h 527"/>
              <a:gd name="T114" fmla="*/ 2147483647 w 788"/>
              <a:gd name="T115" fmla="*/ 2147483647 h 527"/>
              <a:gd name="T116" fmla="*/ 2147483647 w 788"/>
              <a:gd name="T117" fmla="*/ 2147483647 h 527"/>
              <a:gd name="T118" fmla="*/ 2147483647 w 788"/>
              <a:gd name="T119" fmla="*/ 2147483647 h 527"/>
              <a:gd name="T120" fmla="*/ 2147483647 w 788"/>
              <a:gd name="T121" fmla="*/ 2147483647 h 527"/>
              <a:gd name="T122" fmla="*/ 2147483647 w 788"/>
              <a:gd name="T123" fmla="*/ 2147483647 h 527"/>
              <a:gd name="T124" fmla="*/ 2147483647 w 788"/>
              <a:gd name="T125" fmla="*/ 2147483647 h 52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88"/>
              <a:gd name="T190" fmla="*/ 0 h 527"/>
              <a:gd name="T191" fmla="*/ 788 w 788"/>
              <a:gd name="T192" fmla="*/ 527 h 52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88" h="527">
                <a:moveTo>
                  <a:pt x="130" y="448"/>
                </a:moveTo>
                <a:lnTo>
                  <a:pt x="125" y="442"/>
                </a:lnTo>
                <a:lnTo>
                  <a:pt x="130" y="448"/>
                </a:lnTo>
                <a:lnTo>
                  <a:pt x="136" y="448"/>
                </a:lnTo>
                <a:lnTo>
                  <a:pt x="130" y="453"/>
                </a:lnTo>
                <a:lnTo>
                  <a:pt x="130" y="448"/>
                </a:lnTo>
                <a:close/>
                <a:moveTo>
                  <a:pt x="788" y="448"/>
                </a:moveTo>
                <a:lnTo>
                  <a:pt x="788" y="453"/>
                </a:lnTo>
                <a:lnTo>
                  <a:pt x="788" y="459"/>
                </a:lnTo>
                <a:lnTo>
                  <a:pt x="788" y="465"/>
                </a:lnTo>
                <a:lnTo>
                  <a:pt x="782" y="465"/>
                </a:lnTo>
                <a:lnTo>
                  <a:pt x="765" y="465"/>
                </a:lnTo>
                <a:lnTo>
                  <a:pt x="754" y="465"/>
                </a:lnTo>
                <a:lnTo>
                  <a:pt x="743" y="465"/>
                </a:lnTo>
                <a:lnTo>
                  <a:pt x="737" y="470"/>
                </a:lnTo>
                <a:lnTo>
                  <a:pt x="731" y="470"/>
                </a:lnTo>
                <a:lnTo>
                  <a:pt x="726" y="470"/>
                </a:lnTo>
                <a:lnTo>
                  <a:pt x="720" y="470"/>
                </a:lnTo>
                <a:lnTo>
                  <a:pt x="708" y="465"/>
                </a:lnTo>
                <a:lnTo>
                  <a:pt x="697" y="465"/>
                </a:lnTo>
                <a:lnTo>
                  <a:pt x="691" y="465"/>
                </a:lnTo>
                <a:lnTo>
                  <a:pt x="691" y="470"/>
                </a:lnTo>
                <a:lnTo>
                  <a:pt x="686" y="476"/>
                </a:lnTo>
                <a:lnTo>
                  <a:pt x="680" y="476"/>
                </a:lnTo>
                <a:lnTo>
                  <a:pt x="674" y="476"/>
                </a:lnTo>
                <a:lnTo>
                  <a:pt x="669" y="482"/>
                </a:lnTo>
                <a:lnTo>
                  <a:pt x="657" y="482"/>
                </a:lnTo>
                <a:lnTo>
                  <a:pt x="657" y="487"/>
                </a:lnTo>
                <a:lnTo>
                  <a:pt x="652" y="487"/>
                </a:lnTo>
                <a:lnTo>
                  <a:pt x="646" y="487"/>
                </a:lnTo>
                <a:lnTo>
                  <a:pt x="635" y="487"/>
                </a:lnTo>
                <a:lnTo>
                  <a:pt x="629" y="487"/>
                </a:lnTo>
                <a:lnTo>
                  <a:pt x="623" y="487"/>
                </a:lnTo>
                <a:lnTo>
                  <a:pt x="623" y="482"/>
                </a:lnTo>
                <a:lnTo>
                  <a:pt x="623" y="476"/>
                </a:lnTo>
                <a:lnTo>
                  <a:pt x="629" y="476"/>
                </a:lnTo>
                <a:lnTo>
                  <a:pt x="629" y="482"/>
                </a:lnTo>
                <a:lnTo>
                  <a:pt x="629" y="476"/>
                </a:lnTo>
                <a:lnTo>
                  <a:pt x="635" y="465"/>
                </a:lnTo>
                <a:lnTo>
                  <a:pt x="635" y="459"/>
                </a:lnTo>
                <a:lnTo>
                  <a:pt x="629" y="459"/>
                </a:lnTo>
                <a:lnTo>
                  <a:pt x="629" y="453"/>
                </a:lnTo>
                <a:lnTo>
                  <a:pt x="623" y="459"/>
                </a:lnTo>
                <a:lnTo>
                  <a:pt x="618" y="459"/>
                </a:lnTo>
                <a:lnTo>
                  <a:pt x="612" y="459"/>
                </a:lnTo>
                <a:lnTo>
                  <a:pt x="612" y="465"/>
                </a:lnTo>
                <a:lnTo>
                  <a:pt x="618" y="465"/>
                </a:lnTo>
                <a:lnTo>
                  <a:pt x="612" y="465"/>
                </a:lnTo>
                <a:lnTo>
                  <a:pt x="606" y="465"/>
                </a:lnTo>
                <a:lnTo>
                  <a:pt x="601" y="465"/>
                </a:lnTo>
                <a:lnTo>
                  <a:pt x="589" y="470"/>
                </a:lnTo>
                <a:lnTo>
                  <a:pt x="584" y="465"/>
                </a:lnTo>
                <a:lnTo>
                  <a:pt x="589" y="465"/>
                </a:lnTo>
                <a:lnTo>
                  <a:pt x="584" y="459"/>
                </a:lnTo>
                <a:lnTo>
                  <a:pt x="578" y="459"/>
                </a:lnTo>
                <a:lnTo>
                  <a:pt x="572" y="465"/>
                </a:lnTo>
                <a:lnTo>
                  <a:pt x="578" y="470"/>
                </a:lnTo>
                <a:lnTo>
                  <a:pt x="578" y="476"/>
                </a:lnTo>
                <a:lnTo>
                  <a:pt x="584" y="476"/>
                </a:lnTo>
                <a:lnTo>
                  <a:pt x="584" y="482"/>
                </a:lnTo>
                <a:lnTo>
                  <a:pt x="578" y="487"/>
                </a:lnTo>
                <a:lnTo>
                  <a:pt x="584" y="487"/>
                </a:lnTo>
                <a:lnTo>
                  <a:pt x="584" y="482"/>
                </a:lnTo>
                <a:lnTo>
                  <a:pt x="584" y="487"/>
                </a:lnTo>
                <a:lnTo>
                  <a:pt x="578" y="493"/>
                </a:lnTo>
                <a:lnTo>
                  <a:pt x="572" y="493"/>
                </a:lnTo>
                <a:lnTo>
                  <a:pt x="572" y="487"/>
                </a:lnTo>
                <a:lnTo>
                  <a:pt x="567" y="487"/>
                </a:lnTo>
                <a:lnTo>
                  <a:pt x="567" y="493"/>
                </a:lnTo>
                <a:lnTo>
                  <a:pt x="561" y="493"/>
                </a:lnTo>
                <a:lnTo>
                  <a:pt x="555" y="487"/>
                </a:lnTo>
                <a:lnTo>
                  <a:pt x="544" y="487"/>
                </a:lnTo>
                <a:lnTo>
                  <a:pt x="533" y="482"/>
                </a:lnTo>
                <a:lnTo>
                  <a:pt x="527" y="493"/>
                </a:lnTo>
                <a:lnTo>
                  <a:pt x="533" y="493"/>
                </a:lnTo>
                <a:lnTo>
                  <a:pt x="527" y="499"/>
                </a:lnTo>
                <a:lnTo>
                  <a:pt x="521" y="499"/>
                </a:lnTo>
                <a:lnTo>
                  <a:pt x="510" y="499"/>
                </a:lnTo>
                <a:lnTo>
                  <a:pt x="499" y="499"/>
                </a:lnTo>
                <a:lnTo>
                  <a:pt x="493" y="499"/>
                </a:lnTo>
                <a:lnTo>
                  <a:pt x="487" y="504"/>
                </a:lnTo>
                <a:lnTo>
                  <a:pt x="482" y="499"/>
                </a:lnTo>
                <a:lnTo>
                  <a:pt x="476" y="499"/>
                </a:lnTo>
                <a:lnTo>
                  <a:pt x="470" y="504"/>
                </a:lnTo>
                <a:lnTo>
                  <a:pt x="448" y="504"/>
                </a:lnTo>
                <a:lnTo>
                  <a:pt x="448" y="510"/>
                </a:lnTo>
                <a:lnTo>
                  <a:pt x="442" y="510"/>
                </a:lnTo>
                <a:lnTo>
                  <a:pt x="442" y="504"/>
                </a:lnTo>
                <a:lnTo>
                  <a:pt x="436" y="504"/>
                </a:lnTo>
                <a:lnTo>
                  <a:pt x="431" y="504"/>
                </a:lnTo>
                <a:lnTo>
                  <a:pt x="431" y="510"/>
                </a:lnTo>
                <a:lnTo>
                  <a:pt x="414" y="510"/>
                </a:lnTo>
                <a:lnTo>
                  <a:pt x="397" y="510"/>
                </a:lnTo>
                <a:lnTo>
                  <a:pt x="391" y="510"/>
                </a:lnTo>
                <a:lnTo>
                  <a:pt x="385" y="510"/>
                </a:lnTo>
                <a:lnTo>
                  <a:pt x="380" y="510"/>
                </a:lnTo>
                <a:lnTo>
                  <a:pt x="374" y="504"/>
                </a:lnTo>
                <a:lnTo>
                  <a:pt x="380" y="504"/>
                </a:lnTo>
                <a:lnTo>
                  <a:pt x="374" y="504"/>
                </a:lnTo>
                <a:lnTo>
                  <a:pt x="368" y="504"/>
                </a:lnTo>
                <a:lnTo>
                  <a:pt x="363" y="504"/>
                </a:lnTo>
                <a:lnTo>
                  <a:pt x="368" y="516"/>
                </a:lnTo>
                <a:lnTo>
                  <a:pt x="346" y="516"/>
                </a:lnTo>
                <a:lnTo>
                  <a:pt x="329" y="516"/>
                </a:lnTo>
                <a:lnTo>
                  <a:pt x="329" y="521"/>
                </a:lnTo>
                <a:lnTo>
                  <a:pt x="312" y="521"/>
                </a:lnTo>
                <a:lnTo>
                  <a:pt x="306" y="516"/>
                </a:lnTo>
                <a:lnTo>
                  <a:pt x="300" y="521"/>
                </a:lnTo>
                <a:lnTo>
                  <a:pt x="283" y="521"/>
                </a:lnTo>
                <a:lnTo>
                  <a:pt x="272" y="527"/>
                </a:lnTo>
                <a:lnTo>
                  <a:pt x="266" y="527"/>
                </a:lnTo>
                <a:lnTo>
                  <a:pt x="261" y="527"/>
                </a:lnTo>
                <a:lnTo>
                  <a:pt x="255" y="527"/>
                </a:lnTo>
                <a:lnTo>
                  <a:pt x="249" y="527"/>
                </a:lnTo>
                <a:lnTo>
                  <a:pt x="249" y="521"/>
                </a:lnTo>
                <a:lnTo>
                  <a:pt x="244" y="521"/>
                </a:lnTo>
                <a:lnTo>
                  <a:pt x="238" y="516"/>
                </a:lnTo>
                <a:lnTo>
                  <a:pt x="232" y="516"/>
                </a:lnTo>
                <a:lnTo>
                  <a:pt x="221" y="516"/>
                </a:lnTo>
                <a:lnTo>
                  <a:pt x="215" y="510"/>
                </a:lnTo>
                <a:lnTo>
                  <a:pt x="210" y="504"/>
                </a:lnTo>
                <a:lnTo>
                  <a:pt x="181" y="487"/>
                </a:lnTo>
                <a:lnTo>
                  <a:pt x="170" y="482"/>
                </a:lnTo>
                <a:lnTo>
                  <a:pt x="170" y="476"/>
                </a:lnTo>
                <a:lnTo>
                  <a:pt x="164" y="476"/>
                </a:lnTo>
                <a:lnTo>
                  <a:pt x="159" y="470"/>
                </a:lnTo>
                <a:lnTo>
                  <a:pt x="153" y="465"/>
                </a:lnTo>
                <a:lnTo>
                  <a:pt x="147" y="465"/>
                </a:lnTo>
                <a:lnTo>
                  <a:pt x="142" y="459"/>
                </a:lnTo>
                <a:lnTo>
                  <a:pt x="136" y="453"/>
                </a:lnTo>
                <a:lnTo>
                  <a:pt x="130" y="448"/>
                </a:lnTo>
                <a:lnTo>
                  <a:pt x="130" y="442"/>
                </a:lnTo>
                <a:lnTo>
                  <a:pt x="119" y="436"/>
                </a:lnTo>
                <a:lnTo>
                  <a:pt x="119" y="431"/>
                </a:lnTo>
                <a:lnTo>
                  <a:pt x="113" y="431"/>
                </a:lnTo>
                <a:lnTo>
                  <a:pt x="108" y="425"/>
                </a:lnTo>
                <a:lnTo>
                  <a:pt x="96" y="414"/>
                </a:lnTo>
                <a:lnTo>
                  <a:pt x="91" y="408"/>
                </a:lnTo>
                <a:lnTo>
                  <a:pt x="85" y="397"/>
                </a:lnTo>
                <a:lnTo>
                  <a:pt x="79" y="391"/>
                </a:lnTo>
                <a:lnTo>
                  <a:pt x="68" y="380"/>
                </a:lnTo>
                <a:lnTo>
                  <a:pt x="62" y="368"/>
                </a:lnTo>
                <a:lnTo>
                  <a:pt x="62" y="363"/>
                </a:lnTo>
                <a:lnTo>
                  <a:pt x="62" y="357"/>
                </a:lnTo>
                <a:lnTo>
                  <a:pt x="57" y="351"/>
                </a:lnTo>
                <a:lnTo>
                  <a:pt x="51" y="351"/>
                </a:lnTo>
                <a:lnTo>
                  <a:pt x="51" y="346"/>
                </a:lnTo>
                <a:lnTo>
                  <a:pt x="45" y="340"/>
                </a:lnTo>
                <a:lnTo>
                  <a:pt x="40" y="329"/>
                </a:lnTo>
                <a:lnTo>
                  <a:pt x="28" y="312"/>
                </a:lnTo>
                <a:lnTo>
                  <a:pt x="28" y="306"/>
                </a:lnTo>
                <a:lnTo>
                  <a:pt x="34" y="306"/>
                </a:lnTo>
                <a:lnTo>
                  <a:pt x="28" y="300"/>
                </a:lnTo>
                <a:lnTo>
                  <a:pt x="28" y="295"/>
                </a:lnTo>
                <a:lnTo>
                  <a:pt x="28" y="289"/>
                </a:lnTo>
                <a:lnTo>
                  <a:pt x="28" y="283"/>
                </a:lnTo>
                <a:lnTo>
                  <a:pt x="28" y="278"/>
                </a:lnTo>
                <a:lnTo>
                  <a:pt x="23" y="266"/>
                </a:lnTo>
                <a:lnTo>
                  <a:pt x="17" y="261"/>
                </a:lnTo>
                <a:lnTo>
                  <a:pt x="17" y="255"/>
                </a:lnTo>
                <a:lnTo>
                  <a:pt x="11" y="249"/>
                </a:lnTo>
                <a:lnTo>
                  <a:pt x="0" y="227"/>
                </a:lnTo>
                <a:lnTo>
                  <a:pt x="0" y="221"/>
                </a:lnTo>
                <a:lnTo>
                  <a:pt x="11" y="221"/>
                </a:lnTo>
                <a:lnTo>
                  <a:pt x="17" y="221"/>
                </a:lnTo>
                <a:lnTo>
                  <a:pt x="23" y="221"/>
                </a:lnTo>
                <a:lnTo>
                  <a:pt x="28" y="221"/>
                </a:lnTo>
                <a:lnTo>
                  <a:pt x="34" y="227"/>
                </a:lnTo>
                <a:lnTo>
                  <a:pt x="51" y="238"/>
                </a:lnTo>
                <a:lnTo>
                  <a:pt x="51" y="244"/>
                </a:lnTo>
                <a:lnTo>
                  <a:pt x="57" y="244"/>
                </a:lnTo>
                <a:lnTo>
                  <a:pt x="62" y="244"/>
                </a:lnTo>
                <a:lnTo>
                  <a:pt x="68" y="249"/>
                </a:lnTo>
                <a:lnTo>
                  <a:pt x="79" y="249"/>
                </a:lnTo>
                <a:lnTo>
                  <a:pt x="85" y="255"/>
                </a:lnTo>
                <a:lnTo>
                  <a:pt x="91" y="255"/>
                </a:lnTo>
                <a:lnTo>
                  <a:pt x="96" y="261"/>
                </a:lnTo>
                <a:lnTo>
                  <a:pt x="102" y="261"/>
                </a:lnTo>
                <a:lnTo>
                  <a:pt x="108" y="266"/>
                </a:lnTo>
                <a:lnTo>
                  <a:pt x="113" y="266"/>
                </a:lnTo>
                <a:lnTo>
                  <a:pt x="119" y="266"/>
                </a:lnTo>
                <a:lnTo>
                  <a:pt x="125" y="266"/>
                </a:lnTo>
                <a:lnTo>
                  <a:pt x="125" y="261"/>
                </a:lnTo>
                <a:lnTo>
                  <a:pt x="136" y="261"/>
                </a:lnTo>
                <a:lnTo>
                  <a:pt x="147" y="255"/>
                </a:lnTo>
                <a:lnTo>
                  <a:pt x="153" y="249"/>
                </a:lnTo>
                <a:lnTo>
                  <a:pt x="159" y="249"/>
                </a:lnTo>
                <a:lnTo>
                  <a:pt x="164" y="249"/>
                </a:lnTo>
                <a:lnTo>
                  <a:pt x="164" y="244"/>
                </a:lnTo>
                <a:lnTo>
                  <a:pt x="170" y="238"/>
                </a:lnTo>
                <a:lnTo>
                  <a:pt x="176" y="238"/>
                </a:lnTo>
                <a:lnTo>
                  <a:pt x="187" y="232"/>
                </a:lnTo>
                <a:lnTo>
                  <a:pt x="187" y="227"/>
                </a:lnTo>
                <a:lnTo>
                  <a:pt x="193" y="227"/>
                </a:lnTo>
                <a:lnTo>
                  <a:pt x="193" y="221"/>
                </a:lnTo>
                <a:lnTo>
                  <a:pt x="193" y="215"/>
                </a:lnTo>
                <a:lnTo>
                  <a:pt x="198" y="215"/>
                </a:lnTo>
                <a:lnTo>
                  <a:pt x="204" y="210"/>
                </a:lnTo>
                <a:lnTo>
                  <a:pt x="210" y="215"/>
                </a:lnTo>
                <a:lnTo>
                  <a:pt x="215" y="221"/>
                </a:lnTo>
                <a:lnTo>
                  <a:pt x="221" y="227"/>
                </a:lnTo>
                <a:lnTo>
                  <a:pt x="227" y="232"/>
                </a:lnTo>
                <a:lnTo>
                  <a:pt x="232" y="232"/>
                </a:lnTo>
                <a:lnTo>
                  <a:pt x="238" y="227"/>
                </a:lnTo>
                <a:lnTo>
                  <a:pt x="244" y="227"/>
                </a:lnTo>
                <a:lnTo>
                  <a:pt x="244" y="221"/>
                </a:lnTo>
                <a:lnTo>
                  <a:pt x="249" y="221"/>
                </a:lnTo>
                <a:lnTo>
                  <a:pt x="255" y="215"/>
                </a:lnTo>
                <a:lnTo>
                  <a:pt x="261" y="215"/>
                </a:lnTo>
                <a:lnTo>
                  <a:pt x="266" y="221"/>
                </a:lnTo>
                <a:lnTo>
                  <a:pt x="272" y="221"/>
                </a:lnTo>
                <a:lnTo>
                  <a:pt x="278" y="221"/>
                </a:lnTo>
                <a:lnTo>
                  <a:pt x="278" y="215"/>
                </a:lnTo>
                <a:lnTo>
                  <a:pt x="289" y="210"/>
                </a:lnTo>
                <a:lnTo>
                  <a:pt x="289" y="204"/>
                </a:lnTo>
                <a:lnTo>
                  <a:pt x="289" y="198"/>
                </a:lnTo>
                <a:lnTo>
                  <a:pt x="289" y="192"/>
                </a:lnTo>
                <a:lnTo>
                  <a:pt x="289" y="187"/>
                </a:lnTo>
                <a:lnTo>
                  <a:pt x="295" y="181"/>
                </a:lnTo>
                <a:lnTo>
                  <a:pt x="300" y="181"/>
                </a:lnTo>
                <a:lnTo>
                  <a:pt x="306" y="181"/>
                </a:lnTo>
                <a:lnTo>
                  <a:pt x="312" y="187"/>
                </a:lnTo>
                <a:lnTo>
                  <a:pt x="317" y="181"/>
                </a:lnTo>
                <a:lnTo>
                  <a:pt x="317" y="170"/>
                </a:lnTo>
                <a:lnTo>
                  <a:pt x="329" y="170"/>
                </a:lnTo>
                <a:lnTo>
                  <a:pt x="334" y="164"/>
                </a:lnTo>
                <a:lnTo>
                  <a:pt x="346" y="164"/>
                </a:lnTo>
                <a:lnTo>
                  <a:pt x="357" y="164"/>
                </a:lnTo>
                <a:lnTo>
                  <a:pt x="363" y="164"/>
                </a:lnTo>
                <a:lnTo>
                  <a:pt x="368" y="164"/>
                </a:lnTo>
                <a:lnTo>
                  <a:pt x="380" y="164"/>
                </a:lnTo>
                <a:lnTo>
                  <a:pt x="385" y="158"/>
                </a:lnTo>
                <a:lnTo>
                  <a:pt x="385" y="153"/>
                </a:lnTo>
                <a:lnTo>
                  <a:pt x="397" y="153"/>
                </a:lnTo>
                <a:lnTo>
                  <a:pt x="402" y="147"/>
                </a:lnTo>
                <a:lnTo>
                  <a:pt x="402" y="141"/>
                </a:lnTo>
                <a:lnTo>
                  <a:pt x="397" y="136"/>
                </a:lnTo>
                <a:lnTo>
                  <a:pt x="397" y="124"/>
                </a:lnTo>
                <a:lnTo>
                  <a:pt x="402" y="113"/>
                </a:lnTo>
                <a:lnTo>
                  <a:pt x="408" y="113"/>
                </a:lnTo>
                <a:lnTo>
                  <a:pt x="414" y="107"/>
                </a:lnTo>
                <a:lnTo>
                  <a:pt x="414" y="96"/>
                </a:lnTo>
                <a:lnTo>
                  <a:pt x="408" y="85"/>
                </a:lnTo>
                <a:lnTo>
                  <a:pt x="408" y="73"/>
                </a:lnTo>
                <a:lnTo>
                  <a:pt x="414" y="68"/>
                </a:lnTo>
                <a:lnTo>
                  <a:pt x="425" y="56"/>
                </a:lnTo>
                <a:lnTo>
                  <a:pt x="431" y="51"/>
                </a:lnTo>
                <a:lnTo>
                  <a:pt x="431" y="45"/>
                </a:lnTo>
                <a:lnTo>
                  <a:pt x="431" y="34"/>
                </a:lnTo>
                <a:lnTo>
                  <a:pt x="431" y="28"/>
                </a:lnTo>
                <a:lnTo>
                  <a:pt x="431" y="17"/>
                </a:lnTo>
                <a:lnTo>
                  <a:pt x="436" y="11"/>
                </a:lnTo>
                <a:lnTo>
                  <a:pt x="442" y="0"/>
                </a:lnTo>
                <a:lnTo>
                  <a:pt x="448" y="0"/>
                </a:lnTo>
                <a:lnTo>
                  <a:pt x="459" y="5"/>
                </a:lnTo>
                <a:lnTo>
                  <a:pt x="470" y="22"/>
                </a:lnTo>
                <a:lnTo>
                  <a:pt x="470" y="28"/>
                </a:lnTo>
                <a:lnTo>
                  <a:pt x="470" y="39"/>
                </a:lnTo>
                <a:lnTo>
                  <a:pt x="465" y="39"/>
                </a:lnTo>
                <a:lnTo>
                  <a:pt x="465" y="45"/>
                </a:lnTo>
                <a:lnTo>
                  <a:pt x="465" y="51"/>
                </a:lnTo>
                <a:lnTo>
                  <a:pt x="459" y="56"/>
                </a:lnTo>
                <a:lnTo>
                  <a:pt x="459" y="62"/>
                </a:lnTo>
                <a:lnTo>
                  <a:pt x="459" y="73"/>
                </a:lnTo>
                <a:lnTo>
                  <a:pt x="453" y="79"/>
                </a:lnTo>
                <a:lnTo>
                  <a:pt x="453" y="85"/>
                </a:lnTo>
                <a:lnTo>
                  <a:pt x="453" y="90"/>
                </a:lnTo>
                <a:lnTo>
                  <a:pt x="448" y="96"/>
                </a:lnTo>
                <a:lnTo>
                  <a:pt x="448" y="102"/>
                </a:lnTo>
                <a:lnTo>
                  <a:pt x="448" y="107"/>
                </a:lnTo>
                <a:lnTo>
                  <a:pt x="459" y="107"/>
                </a:lnTo>
                <a:lnTo>
                  <a:pt x="470" y="107"/>
                </a:lnTo>
                <a:lnTo>
                  <a:pt x="482" y="107"/>
                </a:lnTo>
                <a:lnTo>
                  <a:pt x="487" y="107"/>
                </a:lnTo>
                <a:lnTo>
                  <a:pt x="493" y="107"/>
                </a:lnTo>
                <a:lnTo>
                  <a:pt x="499" y="107"/>
                </a:lnTo>
                <a:lnTo>
                  <a:pt x="499" y="113"/>
                </a:lnTo>
                <a:lnTo>
                  <a:pt x="493" y="113"/>
                </a:lnTo>
                <a:lnTo>
                  <a:pt x="487" y="124"/>
                </a:lnTo>
                <a:lnTo>
                  <a:pt x="487" y="136"/>
                </a:lnTo>
                <a:lnTo>
                  <a:pt x="487" y="141"/>
                </a:lnTo>
                <a:lnTo>
                  <a:pt x="487" y="147"/>
                </a:lnTo>
                <a:lnTo>
                  <a:pt x="487" y="153"/>
                </a:lnTo>
                <a:lnTo>
                  <a:pt x="482" y="153"/>
                </a:lnTo>
                <a:lnTo>
                  <a:pt x="482" y="158"/>
                </a:lnTo>
                <a:lnTo>
                  <a:pt x="482" y="164"/>
                </a:lnTo>
                <a:lnTo>
                  <a:pt x="487" y="164"/>
                </a:lnTo>
                <a:lnTo>
                  <a:pt x="493" y="170"/>
                </a:lnTo>
                <a:lnTo>
                  <a:pt x="499" y="170"/>
                </a:lnTo>
                <a:lnTo>
                  <a:pt x="499" y="175"/>
                </a:lnTo>
                <a:lnTo>
                  <a:pt x="499" y="181"/>
                </a:lnTo>
                <a:lnTo>
                  <a:pt x="504" y="181"/>
                </a:lnTo>
                <a:lnTo>
                  <a:pt x="510" y="181"/>
                </a:lnTo>
                <a:lnTo>
                  <a:pt x="510" y="192"/>
                </a:lnTo>
                <a:lnTo>
                  <a:pt x="516" y="192"/>
                </a:lnTo>
                <a:lnTo>
                  <a:pt x="516" y="198"/>
                </a:lnTo>
                <a:lnTo>
                  <a:pt x="521" y="198"/>
                </a:lnTo>
                <a:lnTo>
                  <a:pt x="527" y="198"/>
                </a:lnTo>
                <a:lnTo>
                  <a:pt x="533" y="198"/>
                </a:lnTo>
                <a:lnTo>
                  <a:pt x="544" y="198"/>
                </a:lnTo>
                <a:lnTo>
                  <a:pt x="550" y="198"/>
                </a:lnTo>
                <a:lnTo>
                  <a:pt x="561" y="198"/>
                </a:lnTo>
                <a:lnTo>
                  <a:pt x="567" y="198"/>
                </a:lnTo>
                <a:lnTo>
                  <a:pt x="572" y="198"/>
                </a:lnTo>
                <a:lnTo>
                  <a:pt x="578" y="198"/>
                </a:lnTo>
                <a:lnTo>
                  <a:pt x="584" y="198"/>
                </a:lnTo>
                <a:lnTo>
                  <a:pt x="595" y="198"/>
                </a:lnTo>
                <a:lnTo>
                  <a:pt x="601" y="198"/>
                </a:lnTo>
                <a:lnTo>
                  <a:pt x="606" y="198"/>
                </a:lnTo>
                <a:lnTo>
                  <a:pt x="612" y="198"/>
                </a:lnTo>
                <a:lnTo>
                  <a:pt x="618" y="204"/>
                </a:lnTo>
                <a:lnTo>
                  <a:pt x="623" y="204"/>
                </a:lnTo>
                <a:lnTo>
                  <a:pt x="623" y="198"/>
                </a:lnTo>
                <a:lnTo>
                  <a:pt x="629" y="204"/>
                </a:lnTo>
                <a:lnTo>
                  <a:pt x="635" y="204"/>
                </a:lnTo>
                <a:lnTo>
                  <a:pt x="635" y="198"/>
                </a:lnTo>
                <a:lnTo>
                  <a:pt x="640" y="198"/>
                </a:lnTo>
                <a:lnTo>
                  <a:pt x="640" y="204"/>
                </a:lnTo>
                <a:lnTo>
                  <a:pt x="646" y="204"/>
                </a:lnTo>
                <a:lnTo>
                  <a:pt x="657" y="210"/>
                </a:lnTo>
                <a:lnTo>
                  <a:pt x="663" y="210"/>
                </a:lnTo>
                <a:lnTo>
                  <a:pt x="669" y="204"/>
                </a:lnTo>
                <a:lnTo>
                  <a:pt x="674" y="210"/>
                </a:lnTo>
                <a:lnTo>
                  <a:pt x="674" y="221"/>
                </a:lnTo>
                <a:lnTo>
                  <a:pt x="674" y="244"/>
                </a:lnTo>
                <a:lnTo>
                  <a:pt x="674" y="249"/>
                </a:lnTo>
                <a:lnTo>
                  <a:pt x="674" y="255"/>
                </a:lnTo>
                <a:lnTo>
                  <a:pt x="674" y="261"/>
                </a:lnTo>
                <a:lnTo>
                  <a:pt x="669" y="261"/>
                </a:lnTo>
                <a:lnTo>
                  <a:pt x="669" y="266"/>
                </a:lnTo>
                <a:lnTo>
                  <a:pt x="669" y="272"/>
                </a:lnTo>
                <a:lnTo>
                  <a:pt x="663" y="272"/>
                </a:lnTo>
                <a:lnTo>
                  <a:pt x="663" y="278"/>
                </a:lnTo>
                <a:lnTo>
                  <a:pt x="652" y="278"/>
                </a:lnTo>
                <a:lnTo>
                  <a:pt x="646" y="278"/>
                </a:lnTo>
                <a:lnTo>
                  <a:pt x="640" y="283"/>
                </a:lnTo>
                <a:lnTo>
                  <a:pt x="640" y="289"/>
                </a:lnTo>
                <a:lnTo>
                  <a:pt x="640" y="295"/>
                </a:lnTo>
                <a:lnTo>
                  <a:pt x="640" y="300"/>
                </a:lnTo>
                <a:lnTo>
                  <a:pt x="635" y="306"/>
                </a:lnTo>
                <a:lnTo>
                  <a:pt x="640" y="312"/>
                </a:lnTo>
                <a:lnTo>
                  <a:pt x="640" y="317"/>
                </a:lnTo>
                <a:lnTo>
                  <a:pt x="646" y="317"/>
                </a:lnTo>
                <a:lnTo>
                  <a:pt x="652" y="323"/>
                </a:lnTo>
                <a:lnTo>
                  <a:pt x="657" y="323"/>
                </a:lnTo>
                <a:lnTo>
                  <a:pt x="663" y="323"/>
                </a:lnTo>
                <a:lnTo>
                  <a:pt x="669" y="323"/>
                </a:lnTo>
                <a:lnTo>
                  <a:pt x="674" y="323"/>
                </a:lnTo>
                <a:lnTo>
                  <a:pt x="680" y="323"/>
                </a:lnTo>
                <a:lnTo>
                  <a:pt x="686" y="323"/>
                </a:lnTo>
                <a:lnTo>
                  <a:pt x="691" y="323"/>
                </a:lnTo>
                <a:lnTo>
                  <a:pt x="697" y="317"/>
                </a:lnTo>
                <a:lnTo>
                  <a:pt x="708" y="323"/>
                </a:lnTo>
                <a:lnTo>
                  <a:pt x="720" y="323"/>
                </a:lnTo>
                <a:lnTo>
                  <a:pt x="726" y="323"/>
                </a:lnTo>
                <a:lnTo>
                  <a:pt x="731" y="323"/>
                </a:lnTo>
                <a:lnTo>
                  <a:pt x="737" y="323"/>
                </a:lnTo>
                <a:lnTo>
                  <a:pt x="743" y="323"/>
                </a:lnTo>
                <a:lnTo>
                  <a:pt x="748" y="329"/>
                </a:lnTo>
                <a:lnTo>
                  <a:pt x="754" y="329"/>
                </a:lnTo>
                <a:lnTo>
                  <a:pt x="760" y="329"/>
                </a:lnTo>
                <a:lnTo>
                  <a:pt x="760" y="334"/>
                </a:lnTo>
                <a:lnTo>
                  <a:pt x="765" y="334"/>
                </a:lnTo>
                <a:lnTo>
                  <a:pt x="765" y="340"/>
                </a:lnTo>
                <a:lnTo>
                  <a:pt x="765" y="346"/>
                </a:lnTo>
                <a:lnTo>
                  <a:pt x="777" y="351"/>
                </a:lnTo>
                <a:lnTo>
                  <a:pt x="777" y="363"/>
                </a:lnTo>
                <a:lnTo>
                  <a:pt x="777" y="368"/>
                </a:lnTo>
                <a:lnTo>
                  <a:pt x="777" y="374"/>
                </a:lnTo>
                <a:lnTo>
                  <a:pt x="777" y="380"/>
                </a:lnTo>
                <a:lnTo>
                  <a:pt x="777" y="385"/>
                </a:lnTo>
                <a:lnTo>
                  <a:pt x="777" y="391"/>
                </a:lnTo>
                <a:lnTo>
                  <a:pt x="777" y="397"/>
                </a:lnTo>
                <a:lnTo>
                  <a:pt x="777" y="402"/>
                </a:lnTo>
                <a:lnTo>
                  <a:pt x="777" y="414"/>
                </a:lnTo>
                <a:lnTo>
                  <a:pt x="777" y="419"/>
                </a:lnTo>
                <a:lnTo>
                  <a:pt x="777" y="431"/>
                </a:lnTo>
                <a:lnTo>
                  <a:pt x="777" y="436"/>
                </a:lnTo>
                <a:lnTo>
                  <a:pt x="782" y="442"/>
                </a:lnTo>
                <a:lnTo>
                  <a:pt x="788" y="442"/>
                </a:lnTo>
                <a:lnTo>
                  <a:pt x="788" y="448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6" name="Freeform 27"/>
          <p:cNvSpPr>
            <a:spLocks/>
          </p:cNvSpPr>
          <p:nvPr/>
        </p:nvSpPr>
        <p:spPr bwMode="gray">
          <a:xfrm>
            <a:off x="4733174" y="3335056"/>
            <a:ext cx="1640899" cy="1841649"/>
          </a:xfrm>
          <a:custGeom>
            <a:avLst/>
            <a:gdLst>
              <a:gd name="T0" fmla="*/ 2147483647 w 969"/>
              <a:gd name="T1" fmla="*/ 2147483647 h 1088"/>
              <a:gd name="T2" fmla="*/ 2147483647 w 969"/>
              <a:gd name="T3" fmla="*/ 2147483647 h 1088"/>
              <a:gd name="T4" fmla="*/ 2147483647 w 969"/>
              <a:gd name="T5" fmla="*/ 2147483647 h 1088"/>
              <a:gd name="T6" fmla="*/ 2147483647 w 969"/>
              <a:gd name="T7" fmla="*/ 2147483647 h 1088"/>
              <a:gd name="T8" fmla="*/ 2147483647 w 969"/>
              <a:gd name="T9" fmla="*/ 2147483647 h 1088"/>
              <a:gd name="T10" fmla="*/ 2147483647 w 969"/>
              <a:gd name="T11" fmla="*/ 2147483647 h 1088"/>
              <a:gd name="T12" fmla="*/ 2147483647 w 969"/>
              <a:gd name="T13" fmla="*/ 2147483647 h 1088"/>
              <a:gd name="T14" fmla="*/ 0 w 969"/>
              <a:gd name="T15" fmla="*/ 2147483647 h 1088"/>
              <a:gd name="T16" fmla="*/ 2147483647 w 969"/>
              <a:gd name="T17" fmla="*/ 2147483647 h 1088"/>
              <a:gd name="T18" fmla="*/ 2147483647 w 969"/>
              <a:gd name="T19" fmla="*/ 2147483647 h 1088"/>
              <a:gd name="T20" fmla="*/ 2147483647 w 969"/>
              <a:gd name="T21" fmla="*/ 2147483647 h 1088"/>
              <a:gd name="T22" fmla="*/ 2147483647 w 969"/>
              <a:gd name="T23" fmla="*/ 2147483647 h 1088"/>
              <a:gd name="T24" fmla="*/ 2147483647 w 969"/>
              <a:gd name="T25" fmla="*/ 2147483647 h 1088"/>
              <a:gd name="T26" fmla="*/ 2147483647 w 969"/>
              <a:gd name="T27" fmla="*/ 2147483647 h 1088"/>
              <a:gd name="T28" fmla="*/ 2147483647 w 969"/>
              <a:gd name="T29" fmla="*/ 2147483647 h 1088"/>
              <a:gd name="T30" fmla="*/ 2147483647 w 969"/>
              <a:gd name="T31" fmla="*/ 2147483647 h 1088"/>
              <a:gd name="T32" fmla="*/ 2147483647 w 969"/>
              <a:gd name="T33" fmla="*/ 2147483647 h 1088"/>
              <a:gd name="T34" fmla="*/ 2147483647 w 969"/>
              <a:gd name="T35" fmla="*/ 2147483647 h 1088"/>
              <a:gd name="T36" fmla="*/ 2147483647 w 969"/>
              <a:gd name="T37" fmla="*/ 2147483647 h 1088"/>
              <a:gd name="T38" fmla="*/ 2147483647 w 969"/>
              <a:gd name="T39" fmla="*/ 2147483647 h 1088"/>
              <a:gd name="T40" fmla="*/ 2147483647 w 969"/>
              <a:gd name="T41" fmla="*/ 2147483647 h 1088"/>
              <a:gd name="T42" fmla="*/ 2147483647 w 969"/>
              <a:gd name="T43" fmla="*/ 2147483647 h 1088"/>
              <a:gd name="T44" fmla="*/ 2147483647 w 969"/>
              <a:gd name="T45" fmla="*/ 2147483647 h 1088"/>
              <a:gd name="T46" fmla="*/ 2147483647 w 969"/>
              <a:gd name="T47" fmla="*/ 2147483647 h 1088"/>
              <a:gd name="T48" fmla="*/ 2147483647 w 969"/>
              <a:gd name="T49" fmla="*/ 2147483647 h 1088"/>
              <a:gd name="T50" fmla="*/ 2147483647 w 969"/>
              <a:gd name="T51" fmla="*/ 2147483647 h 1088"/>
              <a:gd name="T52" fmla="*/ 2147483647 w 969"/>
              <a:gd name="T53" fmla="*/ 2147483647 h 1088"/>
              <a:gd name="T54" fmla="*/ 2147483647 w 969"/>
              <a:gd name="T55" fmla="*/ 2147483647 h 1088"/>
              <a:gd name="T56" fmla="*/ 2147483647 w 969"/>
              <a:gd name="T57" fmla="*/ 2147483647 h 1088"/>
              <a:gd name="T58" fmla="*/ 2147483647 w 969"/>
              <a:gd name="T59" fmla="*/ 2147483647 h 1088"/>
              <a:gd name="T60" fmla="*/ 2147483647 w 969"/>
              <a:gd name="T61" fmla="*/ 2147483647 h 1088"/>
              <a:gd name="T62" fmla="*/ 2147483647 w 969"/>
              <a:gd name="T63" fmla="*/ 2147483647 h 1088"/>
              <a:gd name="T64" fmla="*/ 2147483647 w 969"/>
              <a:gd name="T65" fmla="*/ 2147483647 h 1088"/>
              <a:gd name="T66" fmla="*/ 2147483647 w 969"/>
              <a:gd name="T67" fmla="*/ 2147483647 h 1088"/>
              <a:gd name="T68" fmla="*/ 2147483647 w 969"/>
              <a:gd name="T69" fmla="*/ 2147483647 h 1088"/>
              <a:gd name="T70" fmla="*/ 2147483647 w 969"/>
              <a:gd name="T71" fmla="*/ 2147483647 h 1088"/>
              <a:gd name="T72" fmla="*/ 2147483647 w 969"/>
              <a:gd name="T73" fmla="*/ 2147483647 h 1088"/>
              <a:gd name="T74" fmla="*/ 2147483647 w 969"/>
              <a:gd name="T75" fmla="*/ 2147483647 h 1088"/>
              <a:gd name="T76" fmla="*/ 2147483647 w 969"/>
              <a:gd name="T77" fmla="*/ 2147483647 h 1088"/>
              <a:gd name="T78" fmla="*/ 2147483647 w 969"/>
              <a:gd name="T79" fmla="*/ 2147483647 h 1088"/>
              <a:gd name="T80" fmla="*/ 2147483647 w 969"/>
              <a:gd name="T81" fmla="*/ 2147483647 h 1088"/>
              <a:gd name="T82" fmla="*/ 2147483647 w 969"/>
              <a:gd name="T83" fmla="*/ 2147483647 h 1088"/>
              <a:gd name="T84" fmla="*/ 2147483647 w 969"/>
              <a:gd name="T85" fmla="*/ 2147483647 h 1088"/>
              <a:gd name="T86" fmla="*/ 2147483647 w 969"/>
              <a:gd name="T87" fmla="*/ 2147483647 h 1088"/>
              <a:gd name="T88" fmla="*/ 2147483647 w 969"/>
              <a:gd name="T89" fmla="*/ 2147483647 h 1088"/>
              <a:gd name="T90" fmla="*/ 2147483647 w 969"/>
              <a:gd name="T91" fmla="*/ 2147483647 h 1088"/>
              <a:gd name="T92" fmla="*/ 2147483647 w 969"/>
              <a:gd name="T93" fmla="*/ 2147483647 h 1088"/>
              <a:gd name="T94" fmla="*/ 2147483647 w 969"/>
              <a:gd name="T95" fmla="*/ 2147483647 h 1088"/>
              <a:gd name="T96" fmla="*/ 2147483647 w 969"/>
              <a:gd name="T97" fmla="*/ 2147483647 h 1088"/>
              <a:gd name="T98" fmla="*/ 2147483647 w 969"/>
              <a:gd name="T99" fmla="*/ 2147483647 h 1088"/>
              <a:gd name="T100" fmla="*/ 2147483647 w 969"/>
              <a:gd name="T101" fmla="*/ 2147483647 h 1088"/>
              <a:gd name="T102" fmla="*/ 2147483647 w 969"/>
              <a:gd name="T103" fmla="*/ 2147483647 h 1088"/>
              <a:gd name="T104" fmla="*/ 2147483647 w 969"/>
              <a:gd name="T105" fmla="*/ 2147483647 h 1088"/>
              <a:gd name="T106" fmla="*/ 2147483647 w 969"/>
              <a:gd name="T107" fmla="*/ 2147483647 h 1088"/>
              <a:gd name="T108" fmla="*/ 2147483647 w 969"/>
              <a:gd name="T109" fmla="*/ 2147483647 h 1088"/>
              <a:gd name="T110" fmla="*/ 2147483647 w 969"/>
              <a:gd name="T111" fmla="*/ 2147483647 h 1088"/>
              <a:gd name="T112" fmla="*/ 2147483647 w 969"/>
              <a:gd name="T113" fmla="*/ 2147483647 h 1088"/>
              <a:gd name="T114" fmla="*/ 2147483647 w 969"/>
              <a:gd name="T115" fmla="*/ 2147483647 h 1088"/>
              <a:gd name="T116" fmla="*/ 2147483647 w 969"/>
              <a:gd name="T117" fmla="*/ 2147483647 h 1088"/>
              <a:gd name="T118" fmla="*/ 2147483647 w 969"/>
              <a:gd name="T119" fmla="*/ 2147483647 h 108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69"/>
              <a:gd name="T181" fmla="*/ 0 h 1088"/>
              <a:gd name="T182" fmla="*/ 969 w 969"/>
              <a:gd name="T183" fmla="*/ 1088 h 108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69" h="1088">
                <a:moveTo>
                  <a:pt x="181" y="1083"/>
                </a:moveTo>
                <a:lnTo>
                  <a:pt x="181" y="1077"/>
                </a:lnTo>
                <a:lnTo>
                  <a:pt x="187" y="1066"/>
                </a:lnTo>
                <a:lnTo>
                  <a:pt x="187" y="1054"/>
                </a:lnTo>
                <a:lnTo>
                  <a:pt x="193" y="1037"/>
                </a:lnTo>
                <a:lnTo>
                  <a:pt x="193" y="1032"/>
                </a:lnTo>
                <a:lnTo>
                  <a:pt x="193" y="1009"/>
                </a:lnTo>
                <a:lnTo>
                  <a:pt x="193" y="1003"/>
                </a:lnTo>
                <a:lnTo>
                  <a:pt x="193" y="998"/>
                </a:lnTo>
                <a:lnTo>
                  <a:pt x="187" y="992"/>
                </a:lnTo>
                <a:lnTo>
                  <a:pt x="187" y="986"/>
                </a:lnTo>
                <a:lnTo>
                  <a:pt x="187" y="964"/>
                </a:lnTo>
                <a:lnTo>
                  <a:pt x="187" y="952"/>
                </a:lnTo>
                <a:lnTo>
                  <a:pt x="193" y="952"/>
                </a:lnTo>
                <a:lnTo>
                  <a:pt x="193" y="947"/>
                </a:lnTo>
                <a:lnTo>
                  <a:pt x="198" y="941"/>
                </a:lnTo>
                <a:lnTo>
                  <a:pt x="198" y="935"/>
                </a:lnTo>
                <a:lnTo>
                  <a:pt x="204" y="935"/>
                </a:lnTo>
                <a:lnTo>
                  <a:pt x="204" y="930"/>
                </a:lnTo>
                <a:lnTo>
                  <a:pt x="210" y="924"/>
                </a:lnTo>
                <a:lnTo>
                  <a:pt x="210" y="918"/>
                </a:lnTo>
                <a:lnTo>
                  <a:pt x="210" y="913"/>
                </a:lnTo>
                <a:lnTo>
                  <a:pt x="210" y="907"/>
                </a:lnTo>
                <a:lnTo>
                  <a:pt x="215" y="907"/>
                </a:lnTo>
                <a:lnTo>
                  <a:pt x="215" y="896"/>
                </a:lnTo>
                <a:lnTo>
                  <a:pt x="215" y="890"/>
                </a:lnTo>
                <a:lnTo>
                  <a:pt x="221" y="884"/>
                </a:lnTo>
                <a:lnTo>
                  <a:pt x="227" y="884"/>
                </a:lnTo>
                <a:lnTo>
                  <a:pt x="227" y="879"/>
                </a:lnTo>
                <a:lnTo>
                  <a:pt x="232" y="879"/>
                </a:lnTo>
                <a:lnTo>
                  <a:pt x="238" y="873"/>
                </a:lnTo>
                <a:lnTo>
                  <a:pt x="244" y="873"/>
                </a:lnTo>
                <a:lnTo>
                  <a:pt x="244" y="867"/>
                </a:lnTo>
                <a:lnTo>
                  <a:pt x="249" y="867"/>
                </a:lnTo>
                <a:lnTo>
                  <a:pt x="255" y="867"/>
                </a:lnTo>
                <a:lnTo>
                  <a:pt x="255" y="862"/>
                </a:lnTo>
                <a:lnTo>
                  <a:pt x="261" y="862"/>
                </a:lnTo>
                <a:lnTo>
                  <a:pt x="261" y="856"/>
                </a:lnTo>
                <a:lnTo>
                  <a:pt x="266" y="850"/>
                </a:lnTo>
                <a:lnTo>
                  <a:pt x="266" y="828"/>
                </a:lnTo>
                <a:lnTo>
                  <a:pt x="272" y="799"/>
                </a:lnTo>
                <a:lnTo>
                  <a:pt x="272" y="788"/>
                </a:lnTo>
                <a:lnTo>
                  <a:pt x="272" y="777"/>
                </a:lnTo>
                <a:lnTo>
                  <a:pt x="272" y="765"/>
                </a:lnTo>
                <a:lnTo>
                  <a:pt x="272" y="760"/>
                </a:lnTo>
                <a:lnTo>
                  <a:pt x="272" y="754"/>
                </a:lnTo>
                <a:lnTo>
                  <a:pt x="272" y="748"/>
                </a:lnTo>
                <a:lnTo>
                  <a:pt x="272" y="743"/>
                </a:lnTo>
                <a:lnTo>
                  <a:pt x="272" y="731"/>
                </a:lnTo>
                <a:lnTo>
                  <a:pt x="272" y="726"/>
                </a:lnTo>
                <a:lnTo>
                  <a:pt x="266" y="726"/>
                </a:lnTo>
                <a:lnTo>
                  <a:pt x="261" y="714"/>
                </a:lnTo>
                <a:lnTo>
                  <a:pt x="255" y="703"/>
                </a:lnTo>
                <a:lnTo>
                  <a:pt x="249" y="703"/>
                </a:lnTo>
                <a:lnTo>
                  <a:pt x="244" y="697"/>
                </a:lnTo>
                <a:lnTo>
                  <a:pt x="244" y="692"/>
                </a:lnTo>
                <a:lnTo>
                  <a:pt x="238" y="686"/>
                </a:lnTo>
                <a:lnTo>
                  <a:pt x="238" y="680"/>
                </a:lnTo>
                <a:lnTo>
                  <a:pt x="227" y="675"/>
                </a:lnTo>
                <a:lnTo>
                  <a:pt x="215" y="669"/>
                </a:lnTo>
                <a:lnTo>
                  <a:pt x="215" y="663"/>
                </a:lnTo>
                <a:lnTo>
                  <a:pt x="210" y="658"/>
                </a:lnTo>
                <a:lnTo>
                  <a:pt x="204" y="652"/>
                </a:lnTo>
                <a:lnTo>
                  <a:pt x="198" y="646"/>
                </a:lnTo>
                <a:lnTo>
                  <a:pt x="193" y="646"/>
                </a:lnTo>
                <a:lnTo>
                  <a:pt x="187" y="641"/>
                </a:lnTo>
                <a:lnTo>
                  <a:pt x="187" y="635"/>
                </a:lnTo>
                <a:lnTo>
                  <a:pt x="181" y="635"/>
                </a:lnTo>
                <a:lnTo>
                  <a:pt x="181" y="629"/>
                </a:lnTo>
                <a:lnTo>
                  <a:pt x="176" y="629"/>
                </a:lnTo>
                <a:lnTo>
                  <a:pt x="170" y="629"/>
                </a:lnTo>
                <a:lnTo>
                  <a:pt x="170" y="623"/>
                </a:lnTo>
                <a:lnTo>
                  <a:pt x="170" y="618"/>
                </a:lnTo>
                <a:lnTo>
                  <a:pt x="164" y="618"/>
                </a:lnTo>
                <a:lnTo>
                  <a:pt x="159" y="618"/>
                </a:lnTo>
                <a:lnTo>
                  <a:pt x="153" y="618"/>
                </a:lnTo>
                <a:lnTo>
                  <a:pt x="147" y="612"/>
                </a:lnTo>
                <a:lnTo>
                  <a:pt x="142" y="612"/>
                </a:lnTo>
                <a:lnTo>
                  <a:pt x="136" y="606"/>
                </a:lnTo>
                <a:lnTo>
                  <a:pt x="119" y="606"/>
                </a:lnTo>
                <a:lnTo>
                  <a:pt x="113" y="612"/>
                </a:lnTo>
                <a:lnTo>
                  <a:pt x="91" y="618"/>
                </a:lnTo>
                <a:lnTo>
                  <a:pt x="85" y="618"/>
                </a:lnTo>
                <a:lnTo>
                  <a:pt x="62" y="629"/>
                </a:lnTo>
                <a:lnTo>
                  <a:pt x="57" y="629"/>
                </a:lnTo>
                <a:lnTo>
                  <a:pt x="51" y="629"/>
                </a:lnTo>
                <a:lnTo>
                  <a:pt x="45" y="629"/>
                </a:lnTo>
                <a:lnTo>
                  <a:pt x="40" y="629"/>
                </a:lnTo>
                <a:lnTo>
                  <a:pt x="34" y="635"/>
                </a:lnTo>
                <a:lnTo>
                  <a:pt x="28" y="641"/>
                </a:lnTo>
                <a:lnTo>
                  <a:pt x="23" y="646"/>
                </a:lnTo>
                <a:lnTo>
                  <a:pt x="17" y="646"/>
                </a:lnTo>
                <a:lnTo>
                  <a:pt x="17" y="652"/>
                </a:lnTo>
                <a:lnTo>
                  <a:pt x="6" y="652"/>
                </a:lnTo>
                <a:lnTo>
                  <a:pt x="0" y="652"/>
                </a:lnTo>
                <a:lnTo>
                  <a:pt x="0" y="646"/>
                </a:lnTo>
                <a:lnTo>
                  <a:pt x="0" y="641"/>
                </a:lnTo>
                <a:lnTo>
                  <a:pt x="0" y="635"/>
                </a:lnTo>
                <a:lnTo>
                  <a:pt x="6" y="635"/>
                </a:lnTo>
                <a:lnTo>
                  <a:pt x="6" y="629"/>
                </a:lnTo>
                <a:lnTo>
                  <a:pt x="6" y="623"/>
                </a:lnTo>
                <a:lnTo>
                  <a:pt x="6" y="618"/>
                </a:lnTo>
                <a:lnTo>
                  <a:pt x="11" y="618"/>
                </a:lnTo>
                <a:lnTo>
                  <a:pt x="11" y="612"/>
                </a:lnTo>
                <a:lnTo>
                  <a:pt x="11" y="606"/>
                </a:lnTo>
                <a:lnTo>
                  <a:pt x="17" y="606"/>
                </a:lnTo>
                <a:lnTo>
                  <a:pt x="17" y="601"/>
                </a:lnTo>
                <a:lnTo>
                  <a:pt x="11" y="601"/>
                </a:lnTo>
                <a:lnTo>
                  <a:pt x="11" y="595"/>
                </a:lnTo>
                <a:lnTo>
                  <a:pt x="17" y="601"/>
                </a:lnTo>
                <a:lnTo>
                  <a:pt x="23" y="601"/>
                </a:lnTo>
                <a:lnTo>
                  <a:pt x="28" y="601"/>
                </a:lnTo>
                <a:lnTo>
                  <a:pt x="40" y="589"/>
                </a:lnTo>
                <a:lnTo>
                  <a:pt x="45" y="589"/>
                </a:lnTo>
                <a:lnTo>
                  <a:pt x="45" y="584"/>
                </a:lnTo>
                <a:lnTo>
                  <a:pt x="51" y="584"/>
                </a:lnTo>
                <a:lnTo>
                  <a:pt x="51" y="578"/>
                </a:lnTo>
                <a:lnTo>
                  <a:pt x="57" y="578"/>
                </a:lnTo>
                <a:lnTo>
                  <a:pt x="57" y="572"/>
                </a:lnTo>
                <a:lnTo>
                  <a:pt x="62" y="572"/>
                </a:lnTo>
                <a:lnTo>
                  <a:pt x="74" y="561"/>
                </a:lnTo>
                <a:lnTo>
                  <a:pt x="79" y="561"/>
                </a:lnTo>
                <a:lnTo>
                  <a:pt x="85" y="555"/>
                </a:lnTo>
                <a:lnTo>
                  <a:pt x="85" y="550"/>
                </a:lnTo>
                <a:lnTo>
                  <a:pt x="91" y="550"/>
                </a:lnTo>
                <a:lnTo>
                  <a:pt x="91" y="544"/>
                </a:lnTo>
                <a:lnTo>
                  <a:pt x="91" y="538"/>
                </a:lnTo>
                <a:lnTo>
                  <a:pt x="91" y="533"/>
                </a:lnTo>
                <a:lnTo>
                  <a:pt x="91" y="527"/>
                </a:lnTo>
                <a:lnTo>
                  <a:pt x="91" y="521"/>
                </a:lnTo>
                <a:lnTo>
                  <a:pt x="85" y="521"/>
                </a:lnTo>
                <a:lnTo>
                  <a:pt x="85" y="516"/>
                </a:lnTo>
                <a:lnTo>
                  <a:pt x="85" y="504"/>
                </a:lnTo>
                <a:lnTo>
                  <a:pt x="79" y="504"/>
                </a:lnTo>
                <a:lnTo>
                  <a:pt x="74" y="499"/>
                </a:lnTo>
                <a:lnTo>
                  <a:pt x="74" y="493"/>
                </a:lnTo>
                <a:lnTo>
                  <a:pt x="74" y="487"/>
                </a:lnTo>
                <a:lnTo>
                  <a:pt x="74" y="482"/>
                </a:lnTo>
                <a:lnTo>
                  <a:pt x="68" y="476"/>
                </a:lnTo>
                <a:lnTo>
                  <a:pt x="68" y="465"/>
                </a:lnTo>
                <a:lnTo>
                  <a:pt x="74" y="459"/>
                </a:lnTo>
                <a:lnTo>
                  <a:pt x="74" y="453"/>
                </a:lnTo>
                <a:lnTo>
                  <a:pt x="85" y="453"/>
                </a:lnTo>
                <a:lnTo>
                  <a:pt x="85" y="448"/>
                </a:lnTo>
                <a:lnTo>
                  <a:pt x="91" y="448"/>
                </a:lnTo>
                <a:lnTo>
                  <a:pt x="96" y="453"/>
                </a:lnTo>
                <a:lnTo>
                  <a:pt x="102" y="453"/>
                </a:lnTo>
                <a:lnTo>
                  <a:pt x="113" y="453"/>
                </a:lnTo>
                <a:lnTo>
                  <a:pt x="113" y="459"/>
                </a:lnTo>
                <a:lnTo>
                  <a:pt x="119" y="459"/>
                </a:lnTo>
                <a:lnTo>
                  <a:pt x="125" y="459"/>
                </a:lnTo>
                <a:lnTo>
                  <a:pt x="130" y="465"/>
                </a:lnTo>
                <a:lnTo>
                  <a:pt x="136" y="465"/>
                </a:lnTo>
                <a:lnTo>
                  <a:pt x="142" y="465"/>
                </a:lnTo>
                <a:lnTo>
                  <a:pt x="147" y="465"/>
                </a:lnTo>
                <a:lnTo>
                  <a:pt x="159" y="465"/>
                </a:lnTo>
                <a:lnTo>
                  <a:pt x="159" y="459"/>
                </a:lnTo>
                <a:lnTo>
                  <a:pt x="159" y="453"/>
                </a:lnTo>
                <a:lnTo>
                  <a:pt x="164" y="453"/>
                </a:lnTo>
                <a:lnTo>
                  <a:pt x="170" y="448"/>
                </a:lnTo>
                <a:lnTo>
                  <a:pt x="170" y="442"/>
                </a:lnTo>
                <a:lnTo>
                  <a:pt x="176" y="436"/>
                </a:lnTo>
                <a:lnTo>
                  <a:pt x="187" y="436"/>
                </a:lnTo>
                <a:lnTo>
                  <a:pt x="198" y="436"/>
                </a:lnTo>
                <a:lnTo>
                  <a:pt x="204" y="436"/>
                </a:lnTo>
                <a:lnTo>
                  <a:pt x="210" y="436"/>
                </a:lnTo>
                <a:lnTo>
                  <a:pt x="215" y="431"/>
                </a:lnTo>
                <a:lnTo>
                  <a:pt x="227" y="431"/>
                </a:lnTo>
                <a:lnTo>
                  <a:pt x="232" y="425"/>
                </a:lnTo>
                <a:lnTo>
                  <a:pt x="238" y="425"/>
                </a:lnTo>
                <a:lnTo>
                  <a:pt x="244" y="419"/>
                </a:lnTo>
                <a:lnTo>
                  <a:pt x="249" y="419"/>
                </a:lnTo>
                <a:lnTo>
                  <a:pt x="255" y="419"/>
                </a:lnTo>
                <a:lnTo>
                  <a:pt x="261" y="414"/>
                </a:lnTo>
                <a:lnTo>
                  <a:pt x="261" y="408"/>
                </a:lnTo>
                <a:lnTo>
                  <a:pt x="266" y="408"/>
                </a:lnTo>
                <a:lnTo>
                  <a:pt x="272" y="408"/>
                </a:lnTo>
                <a:lnTo>
                  <a:pt x="278" y="402"/>
                </a:lnTo>
                <a:lnTo>
                  <a:pt x="284" y="397"/>
                </a:lnTo>
                <a:lnTo>
                  <a:pt x="289" y="397"/>
                </a:lnTo>
                <a:lnTo>
                  <a:pt x="289" y="391"/>
                </a:lnTo>
                <a:lnTo>
                  <a:pt x="295" y="391"/>
                </a:lnTo>
                <a:lnTo>
                  <a:pt x="301" y="391"/>
                </a:lnTo>
                <a:lnTo>
                  <a:pt x="301" y="385"/>
                </a:lnTo>
                <a:lnTo>
                  <a:pt x="306" y="380"/>
                </a:lnTo>
                <a:lnTo>
                  <a:pt x="312" y="380"/>
                </a:lnTo>
                <a:lnTo>
                  <a:pt x="318" y="374"/>
                </a:lnTo>
                <a:lnTo>
                  <a:pt x="323" y="374"/>
                </a:lnTo>
                <a:lnTo>
                  <a:pt x="323" y="368"/>
                </a:lnTo>
                <a:lnTo>
                  <a:pt x="329" y="368"/>
                </a:lnTo>
                <a:lnTo>
                  <a:pt x="329" y="363"/>
                </a:lnTo>
                <a:lnTo>
                  <a:pt x="335" y="363"/>
                </a:lnTo>
                <a:lnTo>
                  <a:pt x="340" y="363"/>
                </a:lnTo>
                <a:lnTo>
                  <a:pt x="340" y="357"/>
                </a:lnTo>
                <a:lnTo>
                  <a:pt x="346" y="357"/>
                </a:lnTo>
                <a:lnTo>
                  <a:pt x="346" y="351"/>
                </a:lnTo>
                <a:lnTo>
                  <a:pt x="352" y="351"/>
                </a:lnTo>
                <a:lnTo>
                  <a:pt x="352" y="346"/>
                </a:lnTo>
                <a:lnTo>
                  <a:pt x="357" y="346"/>
                </a:lnTo>
                <a:lnTo>
                  <a:pt x="357" y="340"/>
                </a:lnTo>
                <a:lnTo>
                  <a:pt x="363" y="340"/>
                </a:lnTo>
                <a:lnTo>
                  <a:pt x="369" y="340"/>
                </a:lnTo>
                <a:lnTo>
                  <a:pt x="369" y="334"/>
                </a:lnTo>
                <a:lnTo>
                  <a:pt x="369" y="329"/>
                </a:lnTo>
                <a:lnTo>
                  <a:pt x="374" y="329"/>
                </a:lnTo>
                <a:lnTo>
                  <a:pt x="380" y="329"/>
                </a:lnTo>
                <a:lnTo>
                  <a:pt x="380" y="323"/>
                </a:lnTo>
                <a:lnTo>
                  <a:pt x="386" y="312"/>
                </a:lnTo>
                <a:lnTo>
                  <a:pt x="391" y="312"/>
                </a:lnTo>
                <a:lnTo>
                  <a:pt x="397" y="312"/>
                </a:lnTo>
                <a:lnTo>
                  <a:pt x="397" y="306"/>
                </a:lnTo>
                <a:lnTo>
                  <a:pt x="397" y="300"/>
                </a:lnTo>
                <a:lnTo>
                  <a:pt x="408" y="295"/>
                </a:lnTo>
                <a:lnTo>
                  <a:pt x="414" y="295"/>
                </a:lnTo>
                <a:lnTo>
                  <a:pt x="420" y="283"/>
                </a:lnTo>
                <a:lnTo>
                  <a:pt x="425" y="283"/>
                </a:lnTo>
                <a:lnTo>
                  <a:pt x="425" y="278"/>
                </a:lnTo>
                <a:lnTo>
                  <a:pt x="431" y="278"/>
                </a:lnTo>
                <a:lnTo>
                  <a:pt x="431" y="272"/>
                </a:lnTo>
                <a:lnTo>
                  <a:pt x="442" y="266"/>
                </a:lnTo>
                <a:lnTo>
                  <a:pt x="448" y="261"/>
                </a:lnTo>
                <a:lnTo>
                  <a:pt x="454" y="261"/>
                </a:lnTo>
                <a:lnTo>
                  <a:pt x="454" y="255"/>
                </a:lnTo>
                <a:lnTo>
                  <a:pt x="459" y="255"/>
                </a:lnTo>
                <a:lnTo>
                  <a:pt x="465" y="255"/>
                </a:lnTo>
                <a:lnTo>
                  <a:pt x="471" y="249"/>
                </a:lnTo>
                <a:lnTo>
                  <a:pt x="476" y="249"/>
                </a:lnTo>
                <a:lnTo>
                  <a:pt x="482" y="244"/>
                </a:lnTo>
                <a:lnTo>
                  <a:pt x="488" y="244"/>
                </a:lnTo>
                <a:lnTo>
                  <a:pt x="505" y="244"/>
                </a:lnTo>
                <a:lnTo>
                  <a:pt x="516" y="244"/>
                </a:lnTo>
                <a:lnTo>
                  <a:pt x="522" y="244"/>
                </a:lnTo>
                <a:lnTo>
                  <a:pt x="522" y="238"/>
                </a:lnTo>
                <a:lnTo>
                  <a:pt x="527" y="238"/>
                </a:lnTo>
                <a:lnTo>
                  <a:pt x="539" y="232"/>
                </a:lnTo>
                <a:lnTo>
                  <a:pt x="539" y="227"/>
                </a:lnTo>
                <a:lnTo>
                  <a:pt x="539" y="215"/>
                </a:lnTo>
                <a:lnTo>
                  <a:pt x="539" y="210"/>
                </a:lnTo>
                <a:lnTo>
                  <a:pt x="539" y="204"/>
                </a:lnTo>
                <a:lnTo>
                  <a:pt x="533" y="198"/>
                </a:lnTo>
                <a:lnTo>
                  <a:pt x="527" y="198"/>
                </a:lnTo>
                <a:lnTo>
                  <a:pt x="527" y="193"/>
                </a:lnTo>
                <a:lnTo>
                  <a:pt x="527" y="187"/>
                </a:lnTo>
                <a:lnTo>
                  <a:pt x="522" y="176"/>
                </a:lnTo>
                <a:lnTo>
                  <a:pt x="522" y="170"/>
                </a:lnTo>
                <a:lnTo>
                  <a:pt x="510" y="153"/>
                </a:lnTo>
                <a:lnTo>
                  <a:pt x="510" y="142"/>
                </a:lnTo>
                <a:lnTo>
                  <a:pt x="510" y="130"/>
                </a:lnTo>
                <a:lnTo>
                  <a:pt x="505" y="113"/>
                </a:lnTo>
                <a:lnTo>
                  <a:pt x="505" y="102"/>
                </a:lnTo>
                <a:lnTo>
                  <a:pt x="499" y="91"/>
                </a:lnTo>
                <a:lnTo>
                  <a:pt x="499" y="85"/>
                </a:lnTo>
                <a:lnTo>
                  <a:pt x="499" y="79"/>
                </a:lnTo>
                <a:lnTo>
                  <a:pt x="499" y="74"/>
                </a:lnTo>
                <a:lnTo>
                  <a:pt x="505" y="74"/>
                </a:lnTo>
                <a:lnTo>
                  <a:pt x="505" y="68"/>
                </a:lnTo>
                <a:lnTo>
                  <a:pt x="505" y="62"/>
                </a:lnTo>
                <a:lnTo>
                  <a:pt x="510" y="62"/>
                </a:lnTo>
                <a:lnTo>
                  <a:pt x="510" y="57"/>
                </a:lnTo>
                <a:lnTo>
                  <a:pt x="510" y="51"/>
                </a:lnTo>
                <a:lnTo>
                  <a:pt x="510" y="45"/>
                </a:lnTo>
                <a:lnTo>
                  <a:pt x="527" y="34"/>
                </a:lnTo>
                <a:lnTo>
                  <a:pt x="533" y="34"/>
                </a:lnTo>
                <a:lnTo>
                  <a:pt x="539" y="34"/>
                </a:lnTo>
                <a:lnTo>
                  <a:pt x="550" y="34"/>
                </a:lnTo>
                <a:lnTo>
                  <a:pt x="556" y="34"/>
                </a:lnTo>
                <a:lnTo>
                  <a:pt x="561" y="34"/>
                </a:lnTo>
                <a:lnTo>
                  <a:pt x="567" y="28"/>
                </a:lnTo>
                <a:lnTo>
                  <a:pt x="573" y="28"/>
                </a:lnTo>
                <a:lnTo>
                  <a:pt x="573" y="23"/>
                </a:lnTo>
                <a:lnTo>
                  <a:pt x="578" y="23"/>
                </a:lnTo>
                <a:lnTo>
                  <a:pt x="584" y="17"/>
                </a:lnTo>
                <a:lnTo>
                  <a:pt x="590" y="17"/>
                </a:lnTo>
                <a:lnTo>
                  <a:pt x="595" y="17"/>
                </a:lnTo>
                <a:lnTo>
                  <a:pt x="595" y="11"/>
                </a:lnTo>
                <a:lnTo>
                  <a:pt x="601" y="11"/>
                </a:lnTo>
                <a:lnTo>
                  <a:pt x="607" y="6"/>
                </a:lnTo>
                <a:lnTo>
                  <a:pt x="612" y="6"/>
                </a:lnTo>
                <a:lnTo>
                  <a:pt x="618" y="6"/>
                </a:lnTo>
                <a:lnTo>
                  <a:pt x="624" y="6"/>
                </a:lnTo>
                <a:lnTo>
                  <a:pt x="629" y="0"/>
                </a:lnTo>
                <a:lnTo>
                  <a:pt x="641" y="0"/>
                </a:lnTo>
                <a:lnTo>
                  <a:pt x="646" y="0"/>
                </a:lnTo>
                <a:lnTo>
                  <a:pt x="658" y="6"/>
                </a:lnTo>
                <a:lnTo>
                  <a:pt x="669" y="6"/>
                </a:lnTo>
                <a:lnTo>
                  <a:pt x="680" y="6"/>
                </a:lnTo>
                <a:lnTo>
                  <a:pt x="686" y="6"/>
                </a:lnTo>
                <a:lnTo>
                  <a:pt x="703" y="11"/>
                </a:lnTo>
                <a:lnTo>
                  <a:pt x="714" y="11"/>
                </a:lnTo>
                <a:lnTo>
                  <a:pt x="731" y="11"/>
                </a:lnTo>
                <a:lnTo>
                  <a:pt x="737" y="11"/>
                </a:lnTo>
                <a:lnTo>
                  <a:pt x="743" y="11"/>
                </a:lnTo>
                <a:lnTo>
                  <a:pt x="748" y="11"/>
                </a:lnTo>
                <a:lnTo>
                  <a:pt x="748" y="17"/>
                </a:lnTo>
                <a:lnTo>
                  <a:pt x="754" y="17"/>
                </a:lnTo>
                <a:lnTo>
                  <a:pt x="760" y="17"/>
                </a:lnTo>
                <a:lnTo>
                  <a:pt x="771" y="23"/>
                </a:lnTo>
                <a:lnTo>
                  <a:pt x="777" y="17"/>
                </a:lnTo>
                <a:lnTo>
                  <a:pt x="777" y="23"/>
                </a:lnTo>
                <a:lnTo>
                  <a:pt x="782" y="23"/>
                </a:lnTo>
                <a:lnTo>
                  <a:pt x="782" y="17"/>
                </a:lnTo>
                <a:lnTo>
                  <a:pt x="788" y="17"/>
                </a:lnTo>
                <a:lnTo>
                  <a:pt x="794" y="17"/>
                </a:lnTo>
                <a:lnTo>
                  <a:pt x="799" y="17"/>
                </a:lnTo>
                <a:lnTo>
                  <a:pt x="805" y="11"/>
                </a:lnTo>
                <a:lnTo>
                  <a:pt x="816" y="23"/>
                </a:lnTo>
                <a:lnTo>
                  <a:pt x="822" y="23"/>
                </a:lnTo>
                <a:lnTo>
                  <a:pt x="822" y="28"/>
                </a:lnTo>
                <a:lnTo>
                  <a:pt x="822" y="34"/>
                </a:lnTo>
                <a:lnTo>
                  <a:pt x="822" y="40"/>
                </a:lnTo>
                <a:lnTo>
                  <a:pt x="828" y="40"/>
                </a:lnTo>
                <a:lnTo>
                  <a:pt x="828" y="45"/>
                </a:lnTo>
                <a:lnTo>
                  <a:pt x="833" y="45"/>
                </a:lnTo>
                <a:lnTo>
                  <a:pt x="833" y="51"/>
                </a:lnTo>
                <a:lnTo>
                  <a:pt x="833" y="57"/>
                </a:lnTo>
                <a:lnTo>
                  <a:pt x="833" y="62"/>
                </a:lnTo>
                <a:lnTo>
                  <a:pt x="839" y="62"/>
                </a:lnTo>
                <a:lnTo>
                  <a:pt x="845" y="68"/>
                </a:lnTo>
                <a:lnTo>
                  <a:pt x="850" y="74"/>
                </a:lnTo>
                <a:lnTo>
                  <a:pt x="862" y="74"/>
                </a:lnTo>
                <a:lnTo>
                  <a:pt x="867" y="74"/>
                </a:lnTo>
                <a:lnTo>
                  <a:pt x="867" y="79"/>
                </a:lnTo>
                <a:lnTo>
                  <a:pt x="873" y="85"/>
                </a:lnTo>
                <a:lnTo>
                  <a:pt x="879" y="85"/>
                </a:lnTo>
                <a:lnTo>
                  <a:pt x="879" y="91"/>
                </a:lnTo>
                <a:lnTo>
                  <a:pt x="884" y="91"/>
                </a:lnTo>
                <a:lnTo>
                  <a:pt x="884" y="96"/>
                </a:lnTo>
                <a:lnTo>
                  <a:pt x="890" y="96"/>
                </a:lnTo>
                <a:lnTo>
                  <a:pt x="890" y="102"/>
                </a:lnTo>
                <a:lnTo>
                  <a:pt x="896" y="102"/>
                </a:lnTo>
                <a:lnTo>
                  <a:pt x="896" y="108"/>
                </a:lnTo>
                <a:lnTo>
                  <a:pt x="901" y="108"/>
                </a:lnTo>
                <a:lnTo>
                  <a:pt x="901" y="113"/>
                </a:lnTo>
                <a:lnTo>
                  <a:pt x="901" y="119"/>
                </a:lnTo>
                <a:lnTo>
                  <a:pt x="907" y="119"/>
                </a:lnTo>
                <a:lnTo>
                  <a:pt x="907" y="125"/>
                </a:lnTo>
                <a:lnTo>
                  <a:pt x="907" y="130"/>
                </a:lnTo>
                <a:lnTo>
                  <a:pt x="907" y="142"/>
                </a:lnTo>
                <a:lnTo>
                  <a:pt x="907" y="147"/>
                </a:lnTo>
                <a:lnTo>
                  <a:pt x="907" y="159"/>
                </a:lnTo>
                <a:lnTo>
                  <a:pt x="907" y="170"/>
                </a:lnTo>
                <a:lnTo>
                  <a:pt x="907" y="176"/>
                </a:lnTo>
                <a:lnTo>
                  <a:pt x="907" y="181"/>
                </a:lnTo>
                <a:lnTo>
                  <a:pt x="913" y="187"/>
                </a:lnTo>
                <a:lnTo>
                  <a:pt x="918" y="187"/>
                </a:lnTo>
                <a:lnTo>
                  <a:pt x="918" y="193"/>
                </a:lnTo>
                <a:lnTo>
                  <a:pt x="918" y="198"/>
                </a:lnTo>
                <a:lnTo>
                  <a:pt x="930" y="198"/>
                </a:lnTo>
                <a:lnTo>
                  <a:pt x="930" y="204"/>
                </a:lnTo>
                <a:lnTo>
                  <a:pt x="935" y="210"/>
                </a:lnTo>
                <a:lnTo>
                  <a:pt x="935" y="215"/>
                </a:lnTo>
                <a:lnTo>
                  <a:pt x="947" y="215"/>
                </a:lnTo>
                <a:lnTo>
                  <a:pt x="947" y="221"/>
                </a:lnTo>
                <a:lnTo>
                  <a:pt x="958" y="227"/>
                </a:lnTo>
                <a:lnTo>
                  <a:pt x="964" y="227"/>
                </a:lnTo>
                <a:lnTo>
                  <a:pt x="964" y="232"/>
                </a:lnTo>
                <a:lnTo>
                  <a:pt x="964" y="238"/>
                </a:lnTo>
                <a:lnTo>
                  <a:pt x="969" y="244"/>
                </a:lnTo>
                <a:lnTo>
                  <a:pt x="969" y="249"/>
                </a:lnTo>
                <a:lnTo>
                  <a:pt x="969" y="255"/>
                </a:lnTo>
                <a:lnTo>
                  <a:pt x="964" y="266"/>
                </a:lnTo>
                <a:lnTo>
                  <a:pt x="964" y="272"/>
                </a:lnTo>
                <a:lnTo>
                  <a:pt x="958" y="283"/>
                </a:lnTo>
                <a:lnTo>
                  <a:pt x="947" y="295"/>
                </a:lnTo>
                <a:lnTo>
                  <a:pt x="947" y="300"/>
                </a:lnTo>
                <a:lnTo>
                  <a:pt x="941" y="300"/>
                </a:lnTo>
                <a:lnTo>
                  <a:pt x="941" y="312"/>
                </a:lnTo>
                <a:lnTo>
                  <a:pt x="935" y="312"/>
                </a:lnTo>
                <a:lnTo>
                  <a:pt x="935" y="317"/>
                </a:lnTo>
                <a:lnTo>
                  <a:pt x="935" y="323"/>
                </a:lnTo>
                <a:lnTo>
                  <a:pt x="935" y="329"/>
                </a:lnTo>
                <a:lnTo>
                  <a:pt x="930" y="340"/>
                </a:lnTo>
                <a:lnTo>
                  <a:pt x="930" y="363"/>
                </a:lnTo>
                <a:lnTo>
                  <a:pt x="930" y="368"/>
                </a:lnTo>
                <a:lnTo>
                  <a:pt x="930" y="374"/>
                </a:lnTo>
                <a:lnTo>
                  <a:pt x="930" y="380"/>
                </a:lnTo>
                <a:lnTo>
                  <a:pt x="930" y="385"/>
                </a:lnTo>
                <a:lnTo>
                  <a:pt x="924" y="385"/>
                </a:lnTo>
                <a:lnTo>
                  <a:pt x="924" y="391"/>
                </a:lnTo>
                <a:lnTo>
                  <a:pt x="918" y="391"/>
                </a:lnTo>
                <a:lnTo>
                  <a:pt x="918" y="397"/>
                </a:lnTo>
                <a:lnTo>
                  <a:pt x="913" y="402"/>
                </a:lnTo>
                <a:lnTo>
                  <a:pt x="907" y="408"/>
                </a:lnTo>
                <a:lnTo>
                  <a:pt x="901" y="408"/>
                </a:lnTo>
                <a:lnTo>
                  <a:pt x="896" y="414"/>
                </a:lnTo>
                <a:lnTo>
                  <a:pt x="890" y="414"/>
                </a:lnTo>
                <a:lnTo>
                  <a:pt x="890" y="419"/>
                </a:lnTo>
                <a:lnTo>
                  <a:pt x="884" y="419"/>
                </a:lnTo>
                <a:lnTo>
                  <a:pt x="879" y="419"/>
                </a:lnTo>
                <a:lnTo>
                  <a:pt x="873" y="425"/>
                </a:lnTo>
                <a:lnTo>
                  <a:pt x="867" y="431"/>
                </a:lnTo>
                <a:lnTo>
                  <a:pt x="867" y="436"/>
                </a:lnTo>
                <a:lnTo>
                  <a:pt x="862" y="436"/>
                </a:lnTo>
                <a:lnTo>
                  <a:pt x="862" y="442"/>
                </a:lnTo>
                <a:lnTo>
                  <a:pt x="862" y="448"/>
                </a:lnTo>
                <a:lnTo>
                  <a:pt x="856" y="448"/>
                </a:lnTo>
                <a:lnTo>
                  <a:pt x="856" y="453"/>
                </a:lnTo>
                <a:lnTo>
                  <a:pt x="850" y="459"/>
                </a:lnTo>
                <a:lnTo>
                  <a:pt x="850" y="465"/>
                </a:lnTo>
                <a:lnTo>
                  <a:pt x="845" y="465"/>
                </a:lnTo>
                <a:lnTo>
                  <a:pt x="845" y="470"/>
                </a:lnTo>
                <a:lnTo>
                  <a:pt x="839" y="476"/>
                </a:lnTo>
                <a:lnTo>
                  <a:pt x="833" y="476"/>
                </a:lnTo>
                <a:lnTo>
                  <a:pt x="833" y="482"/>
                </a:lnTo>
                <a:lnTo>
                  <a:pt x="833" y="487"/>
                </a:lnTo>
                <a:lnTo>
                  <a:pt x="828" y="487"/>
                </a:lnTo>
                <a:lnTo>
                  <a:pt x="828" y="493"/>
                </a:lnTo>
                <a:lnTo>
                  <a:pt x="828" y="499"/>
                </a:lnTo>
                <a:lnTo>
                  <a:pt x="822" y="504"/>
                </a:lnTo>
                <a:lnTo>
                  <a:pt x="816" y="504"/>
                </a:lnTo>
                <a:lnTo>
                  <a:pt x="816" y="510"/>
                </a:lnTo>
                <a:lnTo>
                  <a:pt x="811" y="510"/>
                </a:lnTo>
                <a:lnTo>
                  <a:pt x="811" y="516"/>
                </a:lnTo>
                <a:lnTo>
                  <a:pt x="805" y="516"/>
                </a:lnTo>
                <a:lnTo>
                  <a:pt x="805" y="521"/>
                </a:lnTo>
                <a:lnTo>
                  <a:pt x="799" y="521"/>
                </a:lnTo>
                <a:lnTo>
                  <a:pt x="799" y="527"/>
                </a:lnTo>
                <a:lnTo>
                  <a:pt x="799" y="533"/>
                </a:lnTo>
                <a:lnTo>
                  <a:pt x="794" y="533"/>
                </a:lnTo>
                <a:lnTo>
                  <a:pt x="788" y="538"/>
                </a:lnTo>
                <a:lnTo>
                  <a:pt x="788" y="544"/>
                </a:lnTo>
                <a:lnTo>
                  <a:pt x="782" y="544"/>
                </a:lnTo>
                <a:lnTo>
                  <a:pt x="788" y="550"/>
                </a:lnTo>
                <a:lnTo>
                  <a:pt x="794" y="550"/>
                </a:lnTo>
                <a:lnTo>
                  <a:pt x="799" y="550"/>
                </a:lnTo>
                <a:lnTo>
                  <a:pt x="799" y="555"/>
                </a:lnTo>
                <a:lnTo>
                  <a:pt x="805" y="561"/>
                </a:lnTo>
                <a:lnTo>
                  <a:pt x="811" y="572"/>
                </a:lnTo>
                <a:lnTo>
                  <a:pt x="816" y="578"/>
                </a:lnTo>
                <a:lnTo>
                  <a:pt x="816" y="584"/>
                </a:lnTo>
                <a:lnTo>
                  <a:pt x="822" y="595"/>
                </a:lnTo>
                <a:lnTo>
                  <a:pt x="822" y="601"/>
                </a:lnTo>
                <a:lnTo>
                  <a:pt x="828" y="606"/>
                </a:lnTo>
                <a:lnTo>
                  <a:pt x="828" y="618"/>
                </a:lnTo>
                <a:lnTo>
                  <a:pt x="833" y="618"/>
                </a:lnTo>
                <a:lnTo>
                  <a:pt x="833" y="623"/>
                </a:lnTo>
                <a:lnTo>
                  <a:pt x="839" y="623"/>
                </a:lnTo>
                <a:lnTo>
                  <a:pt x="845" y="629"/>
                </a:lnTo>
                <a:lnTo>
                  <a:pt x="850" y="623"/>
                </a:lnTo>
                <a:lnTo>
                  <a:pt x="856" y="618"/>
                </a:lnTo>
                <a:lnTo>
                  <a:pt x="856" y="612"/>
                </a:lnTo>
                <a:lnTo>
                  <a:pt x="862" y="606"/>
                </a:lnTo>
                <a:lnTo>
                  <a:pt x="862" y="601"/>
                </a:lnTo>
                <a:lnTo>
                  <a:pt x="862" y="595"/>
                </a:lnTo>
                <a:lnTo>
                  <a:pt x="867" y="589"/>
                </a:lnTo>
                <a:lnTo>
                  <a:pt x="873" y="589"/>
                </a:lnTo>
                <a:lnTo>
                  <a:pt x="873" y="584"/>
                </a:lnTo>
                <a:lnTo>
                  <a:pt x="879" y="584"/>
                </a:lnTo>
                <a:lnTo>
                  <a:pt x="884" y="584"/>
                </a:lnTo>
                <a:lnTo>
                  <a:pt x="890" y="589"/>
                </a:lnTo>
                <a:lnTo>
                  <a:pt x="896" y="589"/>
                </a:lnTo>
                <a:lnTo>
                  <a:pt x="896" y="595"/>
                </a:lnTo>
                <a:lnTo>
                  <a:pt x="901" y="601"/>
                </a:lnTo>
                <a:lnTo>
                  <a:pt x="907" y="606"/>
                </a:lnTo>
                <a:lnTo>
                  <a:pt x="913" y="606"/>
                </a:lnTo>
                <a:lnTo>
                  <a:pt x="913" y="618"/>
                </a:lnTo>
                <a:lnTo>
                  <a:pt x="918" y="618"/>
                </a:lnTo>
                <a:lnTo>
                  <a:pt x="924" y="629"/>
                </a:lnTo>
                <a:lnTo>
                  <a:pt x="930" y="629"/>
                </a:lnTo>
                <a:lnTo>
                  <a:pt x="935" y="629"/>
                </a:lnTo>
                <a:lnTo>
                  <a:pt x="935" y="635"/>
                </a:lnTo>
                <a:lnTo>
                  <a:pt x="941" y="635"/>
                </a:lnTo>
                <a:lnTo>
                  <a:pt x="941" y="641"/>
                </a:lnTo>
                <a:lnTo>
                  <a:pt x="947" y="646"/>
                </a:lnTo>
                <a:lnTo>
                  <a:pt x="952" y="646"/>
                </a:lnTo>
                <a:lnTo>
                  <a:pt x="952" y="658"/>
                </a:lnTo>
                <a:lnTo>
                  <a:pt x="952" y="663"/>
                </a:lnTo>
                <a:lnTo>
                  <a:pt x="952" y="669"/>
                </a:lnTo>
                <a:lnTo>
                  <a:pt x="952" y="675"/>
                </a:lnTo>
                <a:lnTo>
                  <a:pt x="952" y="680"/>
                </a:lnTo>
                <a:lnTo>
                  <a:pt x="952" y="686"/>
                </a:lnTo>
                <a:lnTo>
                  <a:pt x="952" y="692"/>
                </a:lnTo>
                <a:lnTo>
                  <a:pt x="952" y="697"/>
                </a:lnTo>
                <a:lnTo>
                  <a:pt x="952" y="703"/>
                </a:lnTo>
                <a:lnTo>
                  <a:pt x="958" y="720"/>
                </a:lnTo>
                <a:lnTo>
                  <a:pt x="958" y="726"/>
                </a:lnTo>
                <a:lnTo>
                  <a:pt x="958" y="737"/>
                </a:lnTo>
                <a:lnTo>
                  <a:pt x="964" y="743"/>
                </a:lnTo>
                <a:lnTo>
                  <a:pt x="969" y="754"/>
                </a:lnTo>
                <a:lnTo>
                  <a:pt x="969" y="760"/>
                </a:lnTo>
                <a:lnTo>
                  <a:pt x="969" y="765"/>
                </a:lnTo>
                <a:lnTo>
                  <a:pt x="952" y="777"/>
                </a:lnTo>
                <a:lnTo>
                  <a:pt x="947" y="782"/>
                </a:lnTo>
                <a:lnTo>
                  <a:pt x="947" y="788"/>
                </a:lnTo>
                <a:lnTo>
                  <a:pt x="947" y="794"/>
                </a:lnTo>
                <a:lnTo>
                  <a:pt x="941" y="794"/>
                </a:lnTo>
                <a:lnTo>
                  <a:pt x="941" y="805"/>
                </a:lnTo>
                <a:lnTo>
                  <a:pt x="935" y="811"/>
                </a:lnTo>
                <a:lnTo>
                  <a:pt x="935" y="822"/>
                </a:lnTo>
                <a:lnTo>
                  <a:pt x="935" y="828"/>
                </a:lnTo>
                <a:lnTo>
                  <a:pt x="935" y="833"/>
                </a:lnTo>
                <a:lnTo>
                  <a:pt x="941" y="833"/>
                </a:lnTo>
                <a:lnTo>
                  <a:pt x="941" y="845"/>
                </a:lnTo>
                <a:lnTo>
                  <a:pt x="941" y="856"/>
                </a:lnTo>
                <a:lnTo>
                  <a:pt x="947" y="867"/>
                </a:lnTo>
                <a:lnTo>
                  <a:pt x="952" y="879"/>
                </a:lnTo>
                <a:lnTo>
                  <a:pt x="952" y="884"/>
                </a:lnTo>
                <a:lnTo>
                  <a:pt x="947" y="890"/>
                </a:lnTo>
                <a:lnTo>
                  <a:pt x="935" y="890"/>
                </a:lnTo>
                <a:lnTo>
                  <a:pt x="924" y="890"/>
                </a:lnTo>
                <a:lnTo>
                  <a:pt x="918" y="890"/>
                </a:lnTo>
                <a:lnTo>
                  <a:pt x="913" y="890"/>
                </a:lnTo>
                <a:lnTo>
                  <a:pt x="907" y="890"/>
                </a:lnTo>
                <a:lnTo>
                  <a:pt x="907" y="901"/>
                </a:lnTo>
                <a:lnTo>
                  <a:pt x="901" y="901"/>
                </a:lnTo>
                <a:lnTo>
                  <a:pt x="896" y="907"/>
                </a:lnTo>
                <a:lnTo>
                  <a:pt x="890" y="913"/>
                </a:lnTo>
                <a:lnTo>
                  <a:pt x="884" y="913"/>
                </a:lnTo>
                <a:lnTo>
                  <a:pt x="884" y="918"/>
                </a:lnTo>
                <a:lnTo>
                  <a:pt x="879" y="918"/>
                </a:lnTo>
                <a:lnTo>
                  <a:pt x="873" y="924"/>
                </a:lnTo>
                <a:lnTo>
                  <a:pt x="873" y="930"/>
                </a:lnTo>
                <a:lnTo>
                  <a:pt x="873" y="941"/>
                </a:lnTo>
                <a:lnTo>
                  <a:pt x="867" y="941"/>
                </a:lnTo>
                <a:lnTo>
                  <a:pt x="862" y="947"/>
                </a:lnTo>
                <a:lnTo>
                  <a:pt x="856" y="947"/>
                </a:lnTo>
                <a:lnTo>
                  <a:pt x="856" y="952"/>
                </a:lnTo>
                <a:lnTo>
                  <a:pt x="856" y="958"/>
                </a:lnTo>
                <a:lnTo>
                  <a:pt x="850" y="958"/>
                </a:lnTo>
                <a:lnTo>
                  <a:pt x="850" y="964"/>
                </a:lnTo>
                <a:lnTo>
                  <a:pt x="856" y="964"/>
                </a:lnTo>
                <a:lnTo>
                  <a:pt x="856" y="969"/>
                </a:lnTo>
                <a:lnTo>
                  <a:pt x="862" y="969"/>
                </a:lnTo>
                <a:lnTo>
                  <a:pt x="862" y="975"/>
                </a:lnTo>
                <a:lnTo>
                  <a:pt x="862" y="981"/>
                </a:lnTo>
                <a:lnTo>
                  <a:pt x="867" y="981"/>
                </a:lnTo>
                <a:lnTo>
                  <a:pt x="862" y="986"/>
                </a:lnTo>
                <a:lnTo>
                  <a:pt x="856" y="992"/>
                </a:lnTo>
                <a:lnTo>
                  <a:pt x="856" y="998"/>
                </a:lnTo>
                <a:lnTo>
                  <a:pt x="862" y="998"/>
                </a:lnTo>
                <a:lnTo>
                  <a:pt x="862" y="1003"/>
                </a:lnTo>
                <a:lnTo>
                  <a:pt x="862" y="1009"/>
                </a:lnTo>
                <a:lnTo>
                  <a:pt x="856" y="1009"/>
                </a:lnTo>
                <a:lnTo>
                  <a:pt x="850" y="1009"/>
                </a:lnTo>
                <a:lnTo>
                  <a:pt x="850" y="1015"/>
                </a:lnTo>
                <a:lnTo>
                  <a:pt x="850" y="1020"/>
                </a:lnTo>
                <a:lnTo>
                  <a:pt x="850" y="1026"/>
                </a:lnTo>
                <a:lnTo>
                  <a:pt x="850" y="1032"/>
                </a:lnTo>
                <a:lnTo>
                  <a:pt x="845" y="1032"/>
                </a:lnTo>
                <a:lnTo>
                  <a:pt x="845" y="1037"/>
                </a:lnTo>
                <a:lnTo>
                  <a:pt x="839" y="1037"/>
                </a:lnTo>
                <a:lnTo>
                  <a:pt x="839" y="1043"/>
                </a:lnTo>
                <a:lnTo>
                  <a:pt x="839" y="1049"/>
                </a:lnTo>
                <a:lnTo>
                  <a:pt x="833" y="1049"/>
                </a:lnTo>
                <a:lnTo>
                  <a:pt x="833" y="1054"/>
                </a:lnTo>
                <a:lnTo>
                  <a:pt x="828" y="1054"/>
                </a:lnTo>
                <a:lnTo>
                  <a:pt x="822" y="1054"/>
                </a:lnTo>
                <a:lnTo>
                  <a:pt x="816" y="1049"/>
                </a:lnTo>
                <a:lnTo>
                  <a:pt x="811" y="1054"/>
                </a:lnTo>
                <a:lnTo>
                  <a:pt x="805" y="1054"/>
                </a:lnTo>
                <a:lnTo>
                  <a:pt x="805" y="1060"/>
                </a:lnTo>
                <a:lnTo>
                  <a:pt x="805" y="1066"/>
                </a:lnTo>
                <a:lnTo>
                  <a:pt x="805" y="1071"/>
                </a:lnTo>
                <a:lnTo>
                  <a:pt x="805" y="1077"/>
                </a:lnTo>
                <a:lnTo>
                  <a:pt x="794" y="1077"/>
                </a:lnTo>
                <a:lnTo>
                  <a:pt x="788" y="1077"/>
                </a:lnTo>
                <a:lnTo>
                  <a:pt x="788" y="1083"/>
                </a:lnTo>
                <a:lnTo>
                  <a:pt x="782" y="1077"/>
                </a:lnTo>
                <a:lnTo>
                  <a:pt x="777" y="1083"/>
                </a:lnTo>
                <a:lnTo>
                  <a:pt x="777" y="1088"/>
                </a:lnTo>
                <a:lnTo>
                  <a:pt x="771" y="1088"/>
                </a:lnTo>
                <a:lnTo>
                  <a:pt x="765" y="1088"/>
                </a:lnTo>
                <a:lnTo>
                  <a:pt x="765" y="1083"/>
                </a:lnTo>
                <a:lnTo>
                  <a:pt x="760" y="1083"/>
                </a:lnTo>
                <a:lnTo>
                  <a:pt x="754" y="1077"/>
                </a:lnTo>
                <a:lnTo>
                  <a:pt x="748" y="1077"/>
                </a:lnTo>
                <a:lnTo>
                  <a:pt x="743" y="1083"/>
                </a:lnTo>
                <a:lnTo>
                  <a:pt x="737" y="1083"/>
                </a:lnTo>
                <a:lnTo>
                  <a:pt x="737" y="1077"/>
                </a:lnTo>
                <a:lnTo>
                  <a:pt x="731" y="1077"/>
                </a:lnTo>
                <a:lnTo>
                  <a:pt x="726" y="1077"/>
                </a:lnTo>
                <a:lnTo>
                  <a:pt x="720" y="1077"/>
                </a:lnTo>
                <a:lnTo>
                  <a:pt x="720" y="1071"/>
                </a:lnTo>
                <a:lnTo>
                  <a:pt x="714" y="1071"/>
                </a:lnTo>
                <a:lnTo>
                  <a:pt x="714" y="1066"/>
                </a:lnTo>
                <a:lnTo>
                  <a:pt x="709" y="1066"/>
                </a:lnTo>
                <a:lnTo>
                  <a:pt x="703" y="1071"/>
                </a:lnTo>
                <a:lnTo>
                  <a:pt x="697" y="1077"/>
                </a:lnTo>
                <a:lnTo>
                  <a:pt x="692" y="1077"/>
                </a:lnTo>
                <a:lnTo>
                  <a:pt x="686" y="1077"/>
                </a:lnTo>
                <a:lnTo>
                  <a:pt x="686" y="1071"/>
                </a:lnTo>
                <a:lnTo>
                  <a:pt x="686" y="1060"/>
                </a:lnTo>
                <a:lnTo>
                  <a:pt x="686" y="1049"/>
                </a:lnTo>
                <a:lnTo>
                  <a:pt x="686" y="1037"/>
                </a:lnTo>
                <a:lnTo>
                  <a:pt x="692" y="1026"/>
                </a:lnTo>
                <a:lnTo>
                  <a:pt x="686" y="1020"/>
                </a:lnTo>
                <a:lnTo>
                  <a:pt x="680" y="1020"/>
                </a:lnTo>
                <a:lnTo>
                  <a:pt x="680" y="1015"/>
                </a:lnTo>
                <a:lnTo>
                  <a:pt x="675" y="1015"/>
                </a:lnTo>
                <a:lnTo>
                  <a:pt x="669" y="1015"/>
                </a:lnTo>
                <a:lnTo>
                  <a:pt x="669" y="1009"/>
                </a:lnTo>
                <a:lnTo>
                  <a:pt x="663" y="1009"/>
                </a:lnTo>
                <a:lnTo>
                  <a:pt x="663" y="1015"/>
                </a:lnTo>
                <a:lnTo>
                  <a:pt x="652" y="1020"/>
                </a:lnTo>
                <a:lnTo>
                  <a:pt x="652" y="1026"/>
                </a:lnTo>
                <a:lnTo>
                  <a:pt x="646" y="1026"/>
                </a:lnTo>
                <a:lnTo>
                  <a:pt x="646" y="1020"/>
                </a:lnTo>
                <a:lnTo>
                  <a:pt x="641" y="1026"/>
                </a:lnTo>
                <a:lnTo>
                  <a:pt x="635" y="1020"/>
                </a:lnTo>
                <a:lnTo>
                  <a:pt x="635" y="1026"/>
                </a:lnTo>
                <a:lnTo>
                  <a:pt x="624" y="1015"/>
                </a:lnTo>
                <a:lnTo>
                  <a:pt x="624" y="1003"/>
                </a:lnTo>
                <a:lnTo>
                  <a:pt x="624" y="998"/>
                </a:lnTo>
                <a:lnTo>
                  <a:pt x="618" y="992"/>
                </a:lnTo>
                <a:lnTo>
                  <a:pt x="618" y="998"/>
                </a:lnTo>
                <a:lnTo>
                  <a:pt x="612" y="998"/>
                </a:lnTo>
                <a:lnTo>
                  <a:pt x="612" y="992"/>
                </a:lnTo>
                <a:lnTo>
                  <a:pt x="607" y="986"/>
                </a:lnTo>
                <a:lnTo>
                  <a:pt x="601" y="981"/>
                </a:lnTo>
                <a:lnTo>
                  <a:pt x="595" y="981"/>
                </a:lnTo>
                <a:lnTo>
                  <a:pt x="595" y="975"/>
                </a:lnTo>
                <a:lnTo>
                  <a:pt x="590" y="975"/>
                </a:lnTo>
                <a:lnTo>
                  <a:pt x="590" y="969"/>
                </a:lnTo>
                <a:lnTo>
                  <a:pt x="590" y="964"/>
                </a:lnTo>
                <a:lnTo>
                  <a:pt x="590" y="958"/>
                </a:lnTo>
                <a:lnTo>
                  <a:pt x="595" y="935"/>
                </a:lnTo>
                <a:lnTo>
                  <a:pt x="590" y="930"/>
                </a:lnTo>
                <a:lnTo>
                  <a:pt x="584" y="930"/>
                </a:lnTo>
                <a:lnTo>
                  <a:pt x="584" y="924"/>
                </a:lnTo>
                <a:lnTo>
                  <a:pt x="578" y="924"/>
                </a:lnTo>
                <a:lnTo>
                  <a:pt x="573" y="924"/>
                </a:lnTo>
                <a:lnTo>
                  <a:pt x="573" y="930"/>
                </a:lnTo>
                <a:lnTo>
                  <a:pt x="567" y="930"/>
                </a:lnTo>
                <a:lnTo>
                  <a:pt x="567" y="924"/>
                </a:lnTo>
                <a:lnTo>
                  <a:pt x="561" y="924"/>
                </a:lnTo>
                <a:lnTo>
                  <a:pt x="561" y="918"/>
                </a:lnTo>
                <a:lnTo>
                  <a:pt x="556" y="913"/>
                </a:lnTo>
                <a:lnTo>
                  <a:pt x="550" y="913"/>
                </a:lnTo>
                <a:lnTo>
                  <a:pt x="544" y="907"/>
                </a:lnTo>
                <a:lnTo>
                  <a:pt x="539" y="907"/>
                </a:lnTo>
                <a:lnTo>
                  <a:pt x="539" y="901"/>
                </a:lnTo>
                <a:lnTo>
                  <a:pt x="539" y="896"/>
                </a:lnTo>
                <a:lnTo>
                  <a:pt x="533" y="896"/>
                </a:lnTo>
                <a:lnTo>
                  <a:pt x="527" y="896"/>
                </a:lnTo>
                <a:lnTo>
                  <a:pt x="522" y="896"/>
                </a:lnTo>
                <a:lnTo>
                  <a:pt x="510" y="884"/>
                </a:lnTo>
                <a:lnTo>
                  <a:pt x="510" y="879"/>
                </a:lnTo>
                <a:lnTo>
                  <a:pt x="510" y="873"/>
                </a:lnTo>
                <a:lnTo>
                  <a:pt x="510" y="867"/>
                </a:lnTo>
                <a:lnTo>
                  <a:pt x="510" y="862"/>
                </a:lnTo>
                <a:lnTo>
                  <a:pt x="510" y="856"/>
                </a:lnTo>
                <a:lnTo>
                  <a:pt x="505" y="856"/>
                </a:lnTo>
                <a:lnTo>
                  <a:pt x="499" y="856"/>
                </a:lnTo>
                <a:lnTo>
                  <a:pt x="499" y="862"/>
                </a:lnTo>
                <a:lnTo>
                  <a:pt x="499" y="873"/>
                </a:lnTo>
                <a:lnTo>
                  <a:pt x="499" y="879"/>
                </a:lnTo>
                <a:lnTo>
                  <a:pt x="499" y="890"/>
                </a:lnTo>
                <a:lnTo>
                  <a:pt x="499" y="896"/>
                </a:lnTo>
                <a:lnTo>
                  <a:pt x="493" y="913"/>
                </a:lnTo>
                <a:lnTo>
                  <a:pt x="493" y="918"/>
                </a:lnTo>
                <a:lnTo>
                  <a:pt x="493" y="924"/>
                </a:lnTo>
                <a:lnTo>
                  <a:pt x="488" y="924"/>
                </a:lnTo>
                <a:lnTo>
                  <a:pt x="488" y="935"/>
                </a:lnTo>
                <a:lnTo>
                  <a:pt x="482" y="941"/>
                </a:lnTo>
                <a:lnTo>
                  <a:pt x="476" y="941"/>
                </a:lnTo>
                <a:lnTo>
                  <a:pt x="471" y="941"/>
                </a:lnTo>
                <a:lnTo>
                  <a:pt x="471" y="947"/>
                </a:lnTo>
                <a:lnTo>
                  <a:pt x="465" y="941"/>
                </a:lnTo>
                <a:lnTo>
                  <a:pt x="454" y="941"/>
                </a:lnTo>
                <a:lnTo>
                  <a:pt x="448" y="941"/>
                </a:lnTo>
                <a:lnTo>
                  <a:pt x="437" y="947"/>
                </a:lnTo>
                <a:lnTo>
                  <a:pt x="431" y="947"/>
                </a:lnTo>
                <a:lnTo>
                  <a:pt x="425" y="947"/>
                </a:lnTo>
                <a:lnTo>
                  <a:pt x="420" y="947"/>
                </a:lnTo>
                <a:lnTo>
                  <a:pt x="391" y="947"/>
                </a:lnTo>
                <a:lnTo>
                  <a:pt x="374" y="952"/>
                </a:lnTo>
                <a:lnTo>
                  <a:pt x="374" y="947"/>
                </a:lnTo>
                <a:lnTo>
                  <a:pt x="357" y="935"/>
                </a:lnTo>
                <a:lnTo>
                  <a:pt x="357" y="930"/>
                </a:lnTo>
                <a:lnTo>
                  <a:pt x="363" y="930"/>
                </a:lnTo>
                <a:lnTo>
                  <a:pt x="363" y="924"/>
                </a:lnTo>
                <a:lnTo>
                  <a:pt x="363" y="918"/>
                </a:lnTo>
                <a:lnTo>
                  <a:pt x="357" y="918"/>
                </a:lnTo>
                <a:lnTo>
                  <a:pt x="357" y="913"/>
                </a:lnTo>
                <a:lnTo>
                  <a:pt x="357" y="907"/>
                </a:lnTo>
                <a:lnTo>
                  <a:pt x="363" y="907"/>
                </a:lnTo>
                <a:lnTo>
                  <a:pt x="357" y="907"/>
                </a:lnTo>
                <a:lnTo>
                  <a:pt x="357" y="901"/>
                </a:lnTo>
                <a:lnTo>
                  <a:pt x="352" y="896"/>
                </a:lnTo>
                <a:lnTo>
                  <a:pt x="346" y="901"/>
                </a:lnTo>
                <a:lnTo>
                  <a:pt x="346" y="907"/>
                </a:lnTo>
                <a:lnTo>
                  <a:pt x="340" y="907"/>
                </a:lnTo>
                <a:lnTo>
                  <a:pt x="340" y="913"/>
                </a:lnTo>
                <a:lnTo>
                  <a:pt x="329" y="918"/>
                </a:lnTo>
                <a:lnTo>
                  <a:pt x="323" y="924"/>
                </a:lnTo>
                <a:lnTo>
                  <a:pt x="318" y="930"/>
                </a:lnTo>
                <a:lnTo>
                  <a:pt x="312" y="935"/>
                </a:lnTo>
                <a:lnTo>
                  <a:pt x="306" y="941"/>
                </a:lnTo>
                <a:lnTo>
                  <a:pt x="301" y="947"/>
                </a:lnTo>
                <a:lnTo>
                  <a:pt x="295" y="947"/>
                </a:lnTo>
                <a:lnTo>
                  <a:pt x="289" y="958"/>
                </a:lnTo>
                <a:lnTo>
                  <a:pt x="284" y="964"/>
                </a:lnTo>
                <a:lnTo>
                  <a:pt x="278" y="969"/>
                </a:lnTo>
                <a:lnTo>
                  <a:pt x="266" y="975"/>
                </a:lnTo>
                <a:lnTo>
                  <a:pt x="266" y="981"/>
                </a:lnTo>
                <a:lnTo>
                  <a:pt x="261" y="986"/>
                </a:lnTo>
                <a:lnTo>
                  <a:pt x="255" y="992"/>
                </a:lnTo>
                <a:lnTo>
                  <a:pt x="249" y="992"/>
                </a:lnTo>
                <a:lnTo>
                  <a:pt x="244" y="992"/>
                </a:lnTo>
                <a:lnTo>
                  <a:pt x="232" y="986"/>
                </a:lnTo>
                <a:lnTo>
                  <a:pt x="227" y="986"/>
                </a:lnTo>
                <a:lnTo>
                  <a:pt x="221" y="986"/>
                </a:lnTo>
                <a:lnTo>
                  <a:pt x="215" y="986"/>
                </a:lnTo>
                <a:lnTo>
                  <a:pt x="215" y="992"/>
                </a:lnTo>
                <a:lnTo>
                  <a:pt x="215" y="998"/>
                </a:lnTo>
                <a:lnTo>
                  <a:pt x="215" y="1003"/>
                </a:lnTo>
                <a:lnTo>
                  <a:pt x="210" y="1009"/>
                </a:lnTo>
                <a:lnTo>
                  <a:pt x="210" y="1015"/>
                </a:lnTo>
                <a:lnTo>
                  <a:pt x="210" y="1020"/>
                </a:lnTo>
                <a:lnTo>
                  <a:pt x="210" y="1026"/>
                </a:lnTo>
                <a:lnTo>
                  <a:pt x="210" y="1032"/>
                </a:lnTo>
                <a:lnTo>
                  <a:pt x="210" y="1037"/>
                </a:lnTo>
                <a:lnTo>
                  <a:pt x="204" y="1037"/>
                </a:lnTo>
                <a:lnTo>
                  <a:pt x="204" y="1043"/>
                </a:lnTo>
                <a:lnTo>
                  <a:pt x="204" y="1049"/>
                </a:lnTo>
                <a:lnTo>
                  <a:pt x="198" y="1054"/>
                </a:lnTo>
                <a:lnTo>
                  <a:pt x="198" y="1066"/>
                </a:lnTo>
                <a:lnTo>
                  <a:pt x="198" y="1071"/>
                </a:lnTo>
                <a:lnTo>
                  <a:pt x="193" y="1083"/>
                </a:lnTo>
                <a:lnTo>
                  <a:pt x="193" y="1088"/>
                </a:lnTo>
                <a:lnTo>
                  <a:pt x="187" y="1088"/>
                </a:lnTo>
                <a:lnTo>
                  <a:pt x="187" y="1083"/>
                </a:lnTo>
                <a:lnTo>
                  <a:pt x="187" y="1088"/>
                </a:lnTo>
                <a:lnTo>
                  <a:pt x="181" y="108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7" name="Freeform 28"/>
          <p:cNvSpPr>
            <a:spLocks/>
          </p:cNvSpPr>
          <p:nvPr/>
        </p:nvSpPr>
        <p:spPr bwMode="gray">
          <a:xfrm>
            <a:off x="843937" y="5053604"/>
            <a:ext cx="958946" cy="200848"/>
          </a:xfrm>
          <a:custGeom>
            <a:avLst/>
            <a:gdLst>
              <a:gd name="T0" fmla="*/ 2147483647 w 567"/>
              <a:gd name="T1" fmla="*/ 2147483647 h 119"/>
              <a:gd name="T2" fmla="*/ 2147483647 w 567"/>
              <a:gd name="T3" fmla="*/ 2147483647 h 119"/>
              <a:gd name="T4" fmla="*/ 2147483647 w 567"/>
              <a:gd name="T5" fmla="*/ 2147483647 h 119"/>
              <a:gd name="T6" fmla="*/ 2147483647 w 567"/>
              <a:gd name="T7" fmla="*/ 2147483647 h 119"/>
              <a:gd name="T8" fmla="*/ 2147483647 w 567"/>
              <a:gd name="T9" fmla="*/ 2147483647 h 119"/>
              <a:gd name="T10" fmla="*/ 2147483647 w 567"/>
              <a:gd name="T11" fmla="*/ 2147483647 h 119"/>
              <a:gd name="T12" fmla="*/ 2147483647 w 567"/>
              <a:gd name="T13" fmla="*/ 2147483647 h 119"/>
              <a:gd name="T14" fmla="*/ 2147483647 w 567"/>
              <a:gd name="T15" fmla="*/ 2147483647 h 119"/>
              <a:gd name="T16" fmla="*/ 2147483647 w 567"/>
              <a:gd name="T17" fmla="*/ 2147483647 h 119"/>
              <a:gd name="T18" fmla="*/ 2147483647 w 567"/>
              <a:gd name="T19" fmla="*/ 2147483647 h 119"/>
              <a:gd name="T20" fmla="*/ 2147483647 w 567"/>
              <a:gd name="T21" fmla="*/ 2147483647 h 119"/>
              <a:gd name="T22" fmla="*/ 2147483647 w 567"/>
              <a:gd name="T23" fmla="*/ 2147483647 h 119"/>
              <a:gd name="T24" fmla="*/ 2147483647 w 567"/>
              <a:gd name="T25" fmla="*/ 2147483647 h 119"/>
              <a:gd name="T26" fmla="*/ 2147483647 w 567"/>
              <a:gd name="T27" fmla="*/ 2147483647 h 119"/>
              <a:gd name="T28" fmla="*/ 2147483647 w 567"/>
              <a:gd name="T29" fmla="*/ 2147483647 h 119"/>
              <a:gd name="T30" fmla="*/ 2147483647 w 567"/>
              <a:gd name="T31" fmla="*/ 2147483647 h 119"/>
              <a:gd name="T32" fmla="*/ 0 w 567"/>
              <a:gd name="T33" fmla="*/ 2147483647 h 119"/>
              <a:gd name="T34" fmla="*/ 2147483647 w 567"/>
              <a:gd name="T35" fmla="*/ 2147483647 h 119"/>
              <a:gd name="T36" fmla="*/ 2147483647 w 567"/>
              <a:gd name="T37" fmla="*/ 2147483647 h 119"/>
              <a:gd name="T38" fmla="*/ 2147483647 w 567"/>
              <a:gd name="T39" fmla="*/ 2147483647 h 119"/>
              <a:gd name="T40" fmla="*/ 2147483647 w 567"/>
              <a:gd name="T41" fmla="*/ 2147483647 h 119"/>
              <a:gd name="T42" fmla="*/ 2147483647 w 567"/>
              <a:gd name="T43" fmla="*/ 2147483647 h 119"/>
              <a:gd name="T44" fmla="*/ 2147483647 w 567"/>
              <a:gd name="T45" fmla="*/ 2147483647 h 119"/>
              <a:gd name="T46" fmla="*/ 2147483647 w 567"/>
              <a:gd name="T47" fmla="*/ 2147483647 h 119"/>
              <a:gd name="T48" fmla="*/ 2147483647 w 567"/>
              <a:gd name="T49" fmla="*/ 2147483647 h 119"/>
              <a:gd name="T50" fmla="*/ 2147483647 w 567"/>
              <a:gd name="T51" fmla="*/ 2147483647 h 119"/>
              <a:gd name="T52" fmla="*/ 2147483647 w 567"/>
              <a:gd name="T53" fmla="*/ 2147483647 h 119"/>
              <a:gd name="T54" fmla="*/ 2147483647 w 567"/>
              <a:gd name="T55" fmla="*/ 2147483647 h 119"/>
              <a:gd name="T56" fmla="*/ 2147483647 w 567"/>
              <a:gd name="T57" fmla="*/ 2147483647 h 119"/>
              <a:gd name="T58" fmla="*/ 2147483647 w 567"/>
              <a:gd name="T59" fmla="*/ 2147483647 h 119"/>
              <a:gd name="T60" fmla="*/ 2147483647 w 567"/>
              <a:gd name="T61" fmla="*/ 2147483647 h 119"/>
              <a:gd name="T62" fmla="*/ 2147483647 w 567"/>
              <a:gd name="T63" fmla="*/ 0 h 119"/>
              <a:gd name="T64" fmla="*/ 2147483647 w 567"/>
              <a:gd name="T65" fmla="*/ 2147483647 h 119"/>
              <a:gd name="T66" fmla="*/ 2147483647 w 567"/>
              <a:gd name="T67" fmla="*/ 2147483647 h 119"/>
              <a:gd name="T68" fmla="*/ 2147483647 w 567"/>
              <a:gd name="T69" fmla="*/ 2147483647 h 119"/>
              <a:gd name="T70" fmla="*/ 2147483647 w 567"/>
              <a:gd name="T71" fmla="*/ 2147483647 h 119"/>
              <a:gd name="T72" fmla="*/ 2147483647 w 567"/>
              <a:gd name="T73" fmla="*/ 2147483647 h 119"/>
              <a:gd name="T74" fmla="*/ 2147483647 w 567"/>
              <a:gd name="T75" fmla="*/ 2147483647 h 119"/>
              <a:gd name="T76" fmla="*/ 2147483647 w 567"/>
              <a:gd name="T77" fmla="*/ 2147483647 h 119"/>
              <a:gd name="T78" fmla="*/ 2147483647 w 567"/>
              <a:gd name="T79" fmla="*/ 2147483647 h 119"/>
              <a:gd name="T80" fmla="*/ 2147483647 w 567"/>
              <a:gd name="T81" fmla="*/ 2147483647 h 119"/>
              <a:gd name="T82" fmla="*/ 2147483647 w 567"/>
              <a:gd name="T83" fmla="*/ 2147483647 h 119"/>
              <a:gd name="T84" fmla="*/ 2147483647 w 567"/>
              <a:gd name="T85" fmla="*/ 2147483647 h 119"/>
              <a:gd name="T86" fmla="*/ 2147483647 w 567"/>
              <a:gd name="T87" fmla="*/ 2147483647 h 119"/>
              <a:gd name="T88" fmla="*/ 2147483647 w 567"/>
              <a:gd name="T89" fmla="*/ 2147483647 h 119"/>
              <a:gd name="T90" fmla="*/ 2147483647 w 567"/>
              <a:gd name="T91" fmla="*/ 2147483647 h 119"/>
              <a:gd name="T92" fmla="*/ 2147483647 w 567"/>
              <a:gd name="T93" fmla="*/ 2147483647 h 119"/>
              <a:gd name="T94" fmla="*/ 2147483647 w 567"/>
              <a:gd name="T95" fmla="*/ 2147483647 h 119"/>
              <a:gd name="T96" fmla="*/ 2147483647 w 567"/>
              <a:gd name="T97" fmla="*/ 2147483647 h 119"/>
              <a:gd name="T98" fmla="*/ 2147483647 w 567"/>
              <a:gd name="T99" fmla="*/ 2147483647 h 119"/>
              <a:gd name="T100" fmla="*/ 2147483647 w 567"/>
              <a:gd name="T101" fmla="*/ 2147483647 h 11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67"/>
              <a:gd name="T154" fmla="*/ 0 h 119"/>
              <a:gd name="T155" fmla="*/ 567 w 567"/>
              <a:gd name="T156" fmla="*/ 119 h 11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67" h="119">
                <a:moveTo>
                  <a:pt x="567" y="119"/>
                </a:moveTo>
                <a:lnTo>
                  <a:pt x="561" y="119"/>
                </a:lnTo>
                <a:lnTo>
                  <a:pt x="550" y="119"/>
                </a:lnTo>
                <a:lnTo>
                  <a:pt x="544" y="119"/>
                </a:lnTo>
                <a:lnTo>
                  <a:pt x="539" y="113"/>
                </a:lnTo>
                <a:lnTo>
                  <a:pt x="533" y="113"/>
                </a:lnTo>
                <a:lnTo>
                  <a:pt x="516" y="113"/>
                </a:lnTo>
                <a:lnTo>
                  <a:pt x="505" y="107"/>
                </a:lnTo>
                <a:lnTo>
                  <a:pt x="488" y="107"/>
                </a:lnTo>
                <a:lnTo>
                  <a:pt x="476" y="102"/>
                </a:lnTo>
                <a:lnTo>
                  <a:pt x="471" y="102"/>
                </a:lnTo>
                <a:lnTo>
                  <a:pt x="459" y="102"/>
                </a:lnTo>
                <a:lnTo>
                  <a:pt x="437" y="102"/>
                </a:lnTo>
                <a:lnTo>
                  <a:pt x="431" y="102"/>
                </a:lnTo>
                <a:lnTo>
                  <a:pt x="408" y="102"/>
                </a:lnTo>
                <a:lnTo>
                  <a:pt x="397" y="96"/>
                </a:lnTo>
                <a:lnTo>
                  <a:pt x="391" y="96"/>
                </a:lnTo>
                <a:lnTo>
                  <a:pt x="386" y="96"/>
                </a:lnTo>
                <a:lnTo>
                  <a:pt x="380" y="96"/>
                </a:lnTo>
                <a:lnTo>
                  <a:pt x="369" y="102"/>
                </a:lnTo>
                <a:lnTo>
                  <a:pt x="340" y="102"/>
                </a:lnTo>
                <a:lnTo>
                  <a:pt x="335" y="102"/>
                </a:lnTo>
                <a:lnTo>
                  <a:pt x="318" y="102"/>
                </a:lnTo>
                <a:lnTo>
                  <a:pt x="295" y="102"/>
                </a:lnTo>
                <a:lnTo>
                  <a:pt x="289" y="107"/>
                </a:lnTo>
                <a:lnTo>
                  <a:pt x="272" y="107"/>
                </a:lnTo>
                <a:lnTo>
                  <a:pt x="267" y="107"/>
                </a:lnTo>
                <a:lnTo>
                  <a:pt x="261" y="107"/>
                </a:lnTo>
                <a:lnTo>
                  <a:pt x="250" y="107"/>
                </a:lnTo>
                <a:lnTo>
                  <a:pt x="244" y="107"/>
                </a:lnTo>
                <a:lnTo>
                  <a:pt x="244" y="113"/>
                </a:lnTo>
                <a:lnTo>
                  <a:pt x="238" y="113"/>
                </a:lnTo>
                <a:lnTo>
                  <a:pt x="233" y="113"/>
                </a:lnTo>
                <a:lnTo>
                  <a:pt x="210" y="113"/>
                </a:lnTo>
                <a:lnTo>
                  <a:pt x="187" y="113"/>
                </a:lnTo>
                <a:lnTo>
                  <a:pt x="176" y="113"/>
                </a:lnTo>
                <a:lnTo>
                  <a:pt x="165" y="113"/>
                </a:lnTo>
                <a:lnTo>
                  <a:pt x="153" y="113"/>
                </a:lnTo>
                <a:lnTo>
                  <a:pt x="148" y="113"/>
                </a:lnTo>
                <a:lnTo>
                  <a:pt x="142" y="113"/>
                </a:lnTo>
                <a:lnTo>
                  <a:pt x="125" y="113"/>
                </a:lnTo>
                <a:lnTo>
                  <a:pt x="114" y="113"/>
                </a:lnTo>
                <a:lnTo>
                  <a:pt x="102" y="113"/>
                </a:lnTo>
                <a:lnTo>
                  <a:pt x="97" y="113"/>
                </a:lnTo>
                <a:lnTo>
                  <a:pt x="68" y="113"/>
                </a:lnTo>
                <a:lnTo>
                  <a:pt x="57" y="113"/>
                </a:lnTo>
                <a:lnTo>
                  <a:pt x="51" y="113"/>
                </a:lnTo>
                <a:lnTo>
                  <a:pt x="29" y="119"/>
                </a:lnTo>
                <a:lnTo>
                  <a:pt x="6" y="119"/>
                </a:lnTo>
                <a:lnTo>
                  <a:pt x="0" y="119"/>
                </a:lnTo>
                <a:lnTo>
                  <a:pt x="0" y="107"/>
                </a:lnTo>
                <a:lnTo>
                  <a:pt x="0" y="102"/>
                </a:lnTo>
                <a:lnTo>
                  <a:pt x="0" y="90"/>
                </a:lnTo>
                <a:lnTo>
                  <a:pt x="6" y="85"/>
                </a:lnTo>
                <a:lnTo>
                  <a:pt x="6" y="79"/>
                </a:lnTo>
                <a:lnTo>
                  <a:pt x="6" y="73"/>
                </a:lnTo>
                <a:lnTo>
                  <a:pt x="17" y="73"/>
                </a:lnTo>
                <a:lnTo>
                  <a:pt x="23" y="73"/>
                </a:lnTo>
                <a:lnTo>
                  <a:pt x="29" y="79"/>
                </a:lnTo>
                <a:lnTo>
                  <a:pt x="34" y="73"/>
                </a:lnTo>
                <a:lnTo>
                  <a:pt x="40" y="73"/>
                </a:lnTo>
                <a:lnTo>
                  <a:pt x="46" y="73"/>
                </a:lnTo>
                <a:lnTo>
                  <a:pt x="46" y="68"/>
                </a:lnTo>
                <a:lnTo>
                  <a:pt x="51" y="62"/>
                </a:lnTo>
                <a:lnTo>
                  <a:pt x="57" y="56"/>
                </a:lnTo>
                <a:lnTo>
                  <a:pt x="63" y="56"/>
                </a:lnTo>
                <a:lnTo>
                  <a:pt x="68" y="56"/>
                </a:lnTo>
                <a:lnTo>
                  <a:pt x="74" y="62"/>
                </a:lnTo>
                <a:lnTo>
                  <a:pt x="80" y="62"/>
                </a:lnTo>
                <a:lnTo>
                  <a:pt x="85" y="62"/>
                </a:lnTo>
                <a:lnTo>
                  <a:pt x="91" y="62"/>
                </a:lnTo>
                <a:lnTo>
                  <a:pt x="97" y="62"/>
                </a:lnTo>
                <a:lnTo>
                  <a:pt x="102" y="62"/>
                </a:lnTo>
                <a:lnTo>
                  <a:pt x="108" y="62"/>
                </a:lnTo>
                <a:lnTo>
                  <a:pt x="114" y="62"/>
                </a:lnTo>
                <a:lnTo>
                  <a:pt x="119" y="62"/>
                </a:lnTo>
                <a:lnTo>
                  <a:pt x="125" y="62"/>
                </a:lnTo>
                <a:lnTo>
                  <a:pt x="131" y="62"/>
                </a:lnTo>
                <a:lnTo>
                  <a:pt x="136" y="62"/>
                </a:lnTo>
                <a:lnTo>
                  <a:pt x="142" y="62"/>
                </a:lnTo>
                <a:lnTo>
                  <a:pt x="148" y="62"/>
                </a:lnTo>
                <a:lnTo>
                  <a:pt x="153" y="62"/>
                </a:lnTo>
                <a:lnTo>
                  <a:pt x="153" y="56"/>
                </a:lnTo>
                <a:lnTo>
                  <a:pt x="159" y="51"/>
                </a:lnTo>
                <a:lnTo>
                  <a:pt x="165" y="51"/>
                </a:lnTo>
                <a:lnTo>
                  <a:pt x="170" y="39"/>
                </a:lnTo>
                <a:lnTo>
                  <a:pt x="170" y="34"/>
                </a:lnTo>
                <a:lnTo>
                  <a:pt x="170" y="28"/>
                </a:lnTo>
                <a:lnTo>
                  <a:pt x="176" y="28"/>
                </a:lnTo>
                <a:lnTo>
                  <a:pt x="176" y="22"/>
                </a:lnTo>
                <a:lnTo>
                  <a:pt x="182" y="17"/>
                </a:lnTo>
                <a:lnTo>
                  <a:pt x="182" y="11"/>
                </a:lnTo>
                <a:lnTo>
                  <a:pt x="182" y="5"/>
                </a:lnTo>
                <a:lnTo>
                  <a:pt x="187" y="5"/>
                </a:lnTo>
                <a:lnTo>
                  <a:pt x="187" y="0"/>
                </a:lnTo>
                <a:lnTo>
                  <a:pt x="199" y="0"/>
                </a:lnTo>
                <a:lnTo>
                  <a:pt x="210" y="0"/>
                </a:lnTo>
                <a:lnTo>
                  <a:pt x="216" y="0"/>
                </a:lnTo>
                <a:lnTo>
                  <a:pt x="216" y="5"/>
                </a:lnTo>
                <a:lnTo>
                  <a:pt x="221" y="11"/>
                </a:lnTo>
                <a:lnTo>
                  <a:pt x="227" y="17"/>
                </a:lnTo>
                <a:lnTo>
                  <a:pt x="233" y="17"/>
                </a:lnTo>
                <a:lnTo>
                  <a:pt x="238" y="17"/>
                </a:lnTo>
                <a:lnTo>
                  <a:pt x="244" y="17"/>
                </a:lnTo>
                <a:lnTo>
                  <a:pt x="250" y="17"/>
                </a:lnTo>
                <a:lnTo>
                  <a:pt x="250" y="11"/>
                </a:lnTo>
                <a:lnTo>
                  <a:pt x="250" y="5"/>
                </a:lnTo>
                <a:lnTo>
                  <a:pt x="255" y="5"/>
                </a:lnTo>
                <a:lnTo>
                  <a:pt x="352" y="5"/>
                </a:lnTo>
                <a:lnTo>
                  <a:pt x="357" y="5"/>
                </a:lnTo>
                <a:lnTo>
                  <a:pt x="369" y="5"/>
                </a:lnTo>
                <a:lnTo>
                  <a:pt x="437" y="5"/>
                </a:lnTo>
                <a:lnTo>
                  <a:pt x="476" y="5"/>
                </a:lnTo>
                <a:lnTo>
                  <a:pt x="499" y="5"/>
                </a:lnTo>
                <a:lnTo>
                  <a:pt x="505" y="5"/>
                </a:lnTo>
                <a:lnTo>
                  <a:pt x="505" y="11"/>
                </a:lnTo>
                <a:lnTo>
                  <a:pt x="499" y="11"/>
                </a:lnTo>
                <a:lnTo>
                  <a:pt x="499" y="17"/>
                </a:lnTo>
                <a:lnTo>
                  <a:pt x="493" y="17"/>
                </a:lnTo>
                <a:lnTo>
                  <a:pt x="482" y="22"/>
                </a:lnTo>
                <a:lnTo>
                  <a:pt x="482" y="28"/>
                </a:lnTo>
                <a:lnTo>
                  <a:pt x="476" y="28"/>
                </a:lnTo>
                <a:lnTo>
                  <a:pt x="476" y="34"/>
                </a:lnTo>
                <a:lnTo>
                  <a:pt x="482" y="45"/>
                </a:lnTo>
                <a:lnTo>
                  <a:pt x="482" y="51"/>
                </a:lnTo>
                <a:lnTo>
                  <a:pt x="488" y="51"/>
                </a:lnTo>
                <a:lnTo>
                  <a:pt x="493" y="51"/>
                </a:lnTo>
                <a:lnTo>
                  <a:pt x="499" y="45"/>
                </a:lnTo>
                <a:lnTo>
                  <a:pt x="505" y="45"/>
                </a:lnTo>
                <a:lnTo>
                  <a:pt x="510" y="45"/>
                </a:lnTo>
                <a:lnTo>
                  <a:pt x="516" y="45"/>
                </a:lnTo>
                <a:lnTo>
                  <a:pt x="522" y="39"/>
                </a:lnTo>
                <a:lnTo>
                  <a:pt x="527" y="39"/>
                </a:lnTo>
                <a:lnTo>
                  <a:pt x="527" y="45"/>
                </a:lnTo>
                <a:lnTo>
                  <a:pt x="533" y="45"/>
                </a:lnTo>
                <a:lnTo>
                  <a:pt x="533" y="51"/>
                </a:lnTo>
                <a:lnTo>
                  <a:pt x="527" y="56"/>
                </a:lnTo>
                <a:lnTo>
                  <a:pt x="527" y="62"/>
                </a:lnTo>
                <a:lnTo>
                  <a:pt x="522" y="62"/>
                </a:lnTo>
                <a:lnTo>
                  <a:pt x="516" y="62"/>
                </a:lnTo>
                <a:lnTo>
                  <a:pt x="510" y="62"/>
                </a:lnTo>
                <a:lnTo>
                  <a:pt x="505" y="68"/>
                </a:lnTo>
                <a:lnTo>
                  <a:pt x="505" y="73"/>
                </a:lnTo>
                <a:lnTo>
                  <a:pt x="510" y="79"/>
                </a:lnTo>
                <a:lnTo>
                  <a:pt x="522" y="79"/>
                </a:lnTo>
                <a:lnTo>
                  <a:pt x="527" y="85"/>
                </a:lnTo>
                <a:lnTo>
                  <a:pt x="533" y="90"/>
                </a:lnTo>
                <a:lnTo>
                  <a:pt x="539" y="90"/>
                </a:lnTo>
                <a:lnTo>
                  <a:pt x="550" y="90"/>
                </a:lnTo>
                <a:lnTo>
                  <a:pt x="561" y="90"/>
                </a:lnTo>
                <a:lnTo>
                  <a:pt x="567" y="90"/>
                </a:lnTo>
                <a:lnTo>
                  <a:pt x="567" y="102"/>
                </a:lnTo>
                <a:lnTo>
                  <a:pt x="567" y="11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8" name="Freeform 29"/>
          <p:cNvSpPr>
            <a:spLocks/>
          </p:cNvSpPr>
          <p:nvPr/>
        </p:nvSpPr>
        <p:spPr bwMode="gray">
          <a:xfrm>
            <a:off x="3523154" y="5330581"/>
            <a:ext cx="528068" cy="845507"/>
          </a:xfrm>
          <a:custGeom>
            <a:avLst/>
            <a:gdLst>
              <a:gd name="T0" fmla="*/ 2147483647 w 312"/>
              <a:gd name="T1" fmla="*/ 2147483647 h 499"/>
              <a:gd name="T2" fmla="*/ 2147483647 w 312"/>
              <a:gd name="T3" fmla="*/ 2147483647 h 499"/>
              <a:gd name="T4" fmla="*/ 2147483647 w 312"/>
              <a:gd name="T5" fmla="*/ 2147483647 h 499"/>
              <a:gd name="T6" fmla="*/ 2147483647 w 312"/>
              <a:gd name="T7" fmla="*/ 2147483647 h 499"/>
              <a:gd name="T8" fmla="*/ 2147483647 w 312"/>
              <a:gd name="T9" fmla="*/ 2147483647 h 499"/>
              <a:gd name="T10" fmla="*/ 2147483647 w 312"/>
              <a:gd name="T11" fmla="*/ 2147483647 h 499"/>
              <a:gd name="T12" fmla="*/ 2147483647 w 312"/>
              <a:gd name="T13" fmla="*/ 2147483647 h 499"/>
              <a:gd name="T14" fmla="*/ 2147483647 w 312"/>
              <a:gd name="T15" fmla="*/ 2147483647 h 499"/>
              <a:gd name="T16" fmla="*/ 2147483647 w 312"/>
              <a:gd name="T17" fmla="*/ 2147483647 h 499"/>
              <a:gd name="T18" fmla="*/ 2147483647 w 312"/>
              <a:gd name="T19" fmla="*/ 2147483647 h 499"/>
              <a:gd name="T20" fmla="*/ 2147483647 w 312"/>
              <a:gd name="T21" fmla="*/ 2147483647 h 499"/>
              <a:gd name="T22" fmla="*/ 2147483647 w 312"/>
              <a:gd name="T23" fmla="*/ 2147483647 h 499"/>
              <a:gd name="T24" fmla="*/ 2147483647 w 312"/>
              <a:gd name="T25" fmla="*/ 2147483647 h 499"/>
              <a:gd name="T26" fmla="*/ 2147483647 w 312"/>
              <a:gd name="T27" fmla="*/ 2147483647 h 499"/>
              <a:gd name="T28" fmla="*/ 2147483647 w 312"/>
              <a:gd name="T29" fmla="*/ 2147483647 h 499"/>
              <a:gd name="T30" fmla="*/ 2147483647 w 312"/>
              <a:gd name="T31" fmla="*/ 2147483647 h 499"/>
              <a:gd name="T32" fmla="*/ 2147483647 w 312"/>
              <a:gd name="T33" fmla="*/ 2147483647 h 499"/>
              <a:gd name="T34" fmla="*/ 2147483647 w 312"/>
              <a:gd name="T35" fmla="*/ 2147483647 h 499"/>
              <a:gd name="T36" fmla="*/ 2147483647 w 312"/>
              <a:gd name="T37" fmla="*/ 2147483647 h 499"/>
              <a:gd name="T38" fmla="*/ 2147483647 w 312"/>
              <a:gd name="T39" fmla="*/ 2147483647 h 499"/>
              <a:gd name="T40" fmla="*/ 2147483647 w 312"/>
              <a:gd name="T41" fmla="*/ 2147483647 h 499"/>
              <a:gd name="T42" fmla="*/ 2147483647 w 312"/>
              <a:gd name="T43" fmla="*/ 2147483647 h 499"/>
              <a:gd name="T44" fmla="*/ 2147483647 w 312"/>
              <a:gd name="T45" fmla="*/ 2147483647 h 499"/>
              <a:gd name="T46" fmla="*/ 2147483647 w 312"/>
              <a:gd name="T47" fmla="*/ 2147483647 h 499"/>
              <a:gd name="T48" fmla="*/ 2147483647 w 312"/>
              <a:gd name="T49" fmla="*/ 2147483647 h 499"/>
              <a:gd name="T50" fmla="*/ 2147483647 w 312"/>
              <a:gd name="T51" fmla="*/ 2147483647 h 499"/>
              <a:gd name="T52" fmla="*/ 2147483647 w 312"/>
              <a:gd name="T53" fmla="*/ 2147483647 h 499"/>
              <a:gd name="T54" fmla="*/ 2147483647 w 312"/>
              <a:gd name="T55" fmla="*/ 2147483647 h 499"/>
              <a:gd name="T56" fmla="*/ 2147483647 w 312"/>
              <a:gd name="T57" fmla="*/ 0 h 499"/>
              <a:gd name="T58" fmla="*/ 2147483647 w 312"/>
              <a:gd name="T59" fmla="*/ 2147483647 h 499"/>
              <a:gd name="T60" fmla="*/ 2147483647 w 312"/>
              <a:gd name="T61" fmla="*/ 2147483647 h 499"/>
              <a:gd name="T62" fmla="*/ 2147483647 w 312"/>
              <a:gd name="T63" fmla="*/ 2147483647 h 499"/>
              <a:gd name="T64" fmla="*/ 2147483647 w 312"/>
              <a:gd name="T65" fmla="*/ 2147483647 h 499"/>
              <a:gd name="T66" fmla="*/ 2147483647 w 312"/>
              <a:gd name="T67" fmla="*/ 2147483647 h 499"/>
              <a:gd name="T68" fmla="*/ 2147483647 w 312"/>
              <a:gd name="T69" fmla="*/ 2147483647 h 499"/>
              <a:gd name="T70" fmla="*/ 2147483647 w 312"/>
              <a:gd name="T71" fmla="*/ 2147483647 h 499"/>
              <a:gd name="T72" fmla="*/ 2147483647 w 312"/>
              <a:gd name="T73" fmla="*/ 2147483647 h 499"/>
              <a:gd name="T74" fmla="*/ 2147483647 w 312"/>
              <a:gd name="T75" fmla="*/ 2147483647 h 499"/>
              <a:gd name="T76" fmla="*/ 2147483647 w 312"/>
              <a:gd name="T77" fmla="*/ 2147483647 h 499"/>
              <a:gd name="T78" fmla="*/ 2147483647 w 312"/>
              <a:gd name="T79" fmla="*/ 2147483647 h 499"/>
              <a:gd name="T80" fmla="*/ 2147483647 w 312"/>
              <a:gd name="T81" fmla="*/ 2147483647 h 499"/>
              <a:gd name="T82" fmla="*/ 2147483647 w 312"/>
              <a:gd name="T83" fmla="*/ 2147483647 h 499"/>
              <a:gd name="T84" fmla="*/ 2147483647 w 312"/>
              <a:gd name="T85" fmla="*/ 2147483647 h 499"/>
              <a:gd name="T86" fmla="*/ 2147483647 w 312"/>
              <a:gd name="T87" fmla="*/ 2147483647 h 499"/>
              <a:gd name="T88" fmla="*/ 2147483647 w 312"/>
              <a:gd name="T89" fmla="*/ 2147483647 h 499"/>
              <a:gd name="T90" fmla="*/ 2147483647 w 312"/>
              <a:gd name="T91" fmla="*/ 2147483647 h 499"/>
              <a:gd name="T92" fmla="*/ 2147483647 w 312"/>
              <a:gd name="T93" fmla="*/ 2147483647 h 499"/>
              <a:gd name="T94" fmla="*/ 2147483647 w 312"/>
              <a:gd name="T95" fmla="*/ 2147483647 h 499"/>
              <a:gd name="T96" fmla="*/ 2147483647 w 312"/>
              <a:gd name="T97" fmla="*/ 2147483647 h 499"/>
              <a:gd name="T98" fmla="*/ 2147483647 w 312"/>
              <a:gd name="T99" fmla="*/ 2147483647 h 499"/>
              <a:gd name="T100" fmla="*/ 2147483647 w 312"/>
              <a:gd name="T101" fmla="*/ 2147483647 h 499"/>
              <a:gd name="T102" fmla="*/ 2147483647 w 312"/>
              <a:gd name="T103" fmla="*/ 2147483647 h 499"/>
              <a:gd name="T104" fmla="*/ 2147483647 w 312"/>
              <a:gd name="T105" fmla="*/ 2147483647 h 499"/>
              <a:gd name="T106" fmla="*/ 2147483647 w 312"/>
              <a:gd name="T107" fmla="*/ 2147483647 h 49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12"/>
              <a:gd name="T163" fmla="*/ 0 h 499"/>
              <a:gd name="T164" fmla="*/ 312 w 312"/>
              <a:gd name="T165" fmla="*/ 499 h 49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12" h="499">
                <a:moveTo>
                  <a:pt x="108" y="499"/>
                </a:moveTo>
                <a:lnTo>
                  <a:pt x="102" y="499"/>
                </a:lnTo>
                <a:lnTo>
                  <a:pt x="96" y="499"/>
                </a:lnTo>
                <a:lnTo>
                  <a:pt x="91" y="499"/>
                </a:lnTo>
                <a:lnTo>
                  <a:pt x="85" y="499"/>
                </a:lnTo>
                <a:lnTo>
                  <a:pt x="73" y="499"/>
                </a:lnTo>
                <a:lnTo>
                  <a:pt x="62" y="493"/>
                </a:lnTo>
                <a:lnTo>
                  <a:pt x="56" y="499"/>
                </a:lnTo>
                <a:lnTo>
                  <a:pt x="51" y="499"/>
                </a:lnTo>
                <a:lnTo>
                  <a:pt x="45" y="499"/>
                </a:lnTo>
                <a:lnTo>
                  <a:pt x="39" y="499"/>
                </a:lnTo>
                <a:lnTo>
                  <a:pt x="34" y="499"/>
                </a:lnTo>
                <a:lnTo>
                  <a:pt x="28" y="499"/>
                </a:lnTo>
                <a:lnTo>
                  <a:pt x="22" y="499"/>
                </a:lnTo>
                <a:lnTo>
                  <a:pt x="17" y="499"/>
                </a:lnTo>
                <a:lnTo>
                  <a:pt x="11" y="493"/>
                </a:lnTo>
                <a:lnTo>
                  <a:pt x="5" y="493"/>
                </a:lnTo>
                <a:lnTo>
                  <a:pt x="5" y="488"/>
                </a:lnTo>
                <a:lnTo>
                  <a:pt x="0" y="482"/>
                </a:lnTo>
                <a:lnTo>
                  <a:pt x="5" y="476"/>
                </a:lnTo>
                <a:lnTo>
                  <a:pt x="5" y="471"/>
                </a:lnTo>
                <a:lnTo>
                  <a:pt x="5" y="465"/>
                </a:lnTo>
                <a:lnTo>
                  <a:pt x="5" y="459"/>
                </a:lnTo>
                <a:lnTo>
                  <a:pt x="11" y="454"/>
                </a:lnTo>
                <a:lnTo>
                  <a:pt x="17" y="454"/>
                </a:lnTo>
                <a:lnTo>
                  <a:pt x="28" y="454"/>
                </a:lnTo>
                <a:lnTo>
                  <a:pt x="28" y="448"/>
                </a:lnTo>
                <a:lnTo>
                  <a:pt x="34" y="448"/>
                </a:lnTo>
                <a:lnTo>
                  <a:pt x="34" y="442"/>
                </a:lnTo>
                <a:lnTo>
                  <a:pt x="34" y="437"/>
                </a:lnTo>
                <a:lnTo>
                  <a:pt x="39" y="437"/>
                </a:lnTo>
                <a:lnTo>
                  <a:pt x="39" y="431"/>
                </a:lnTo>
                <a:lnTo>
                  <a:pt x="39" y="425"/>
                </a:lnTo>
                <a:lnTo>
                  <a:pt x="39" y="420"/>
                </a:lnTo>
                <a:lnTo>
                  <a:pt x="39" y="397"/>
                </a:lnTo>
                <a:lnTo>
                  <a:pt x="39" y="386"/>
                </a:lnTo>
                <a:lnTo>
                  <a:pt x="34" y="380"/>
                </a:lnTo>
                <a:lnTo>
                  <a:pt x="34" y="374"/>
                </a:lnTo>
                <a:lnTo>
                  <a:pt x="34" y="368"/>
                </a:lnTo>
                <a:lnTo>
                  <a:pt x="34" y="357"/>
                </a:lnTo>
                <a:lnTo>
                  <a:pt x="39" y="357"/>
                </a:lnTo>
                <a:lnTo>
                  <a:pt x="39" y="346"/>
                </a:lnTo>
                <a:lnTo>
                  <a:pt x="45" y="340"/>
                </a:lnTo>
                <a:lnTo>
                  <a:pt x="45" y="334"/>
                </a:lnTo>
                <a:lnTo>
                  <a:pt x="51" y="329"/>
                </a:lnTo>
                <a:lnTo>
                  <a:pt x="56" y="323"/>
                </a:lnTo>
                <a:lnTo>
                  <a:pt x="56" y="317"/>
                </a:lnTo>
                <a:lnTo>
                  <a:pt x="56" y="312"/>
                </a:lnTo>
                <a:lnTo>
                  <a:pt x="62" y="306"/>
                </a:lnTo>
                <a:lnTo>
                  <a:pt x="62" y="295"/>
                </a:lnTo>
                <a:lnTo>
                  <a:pt x="68" y="289"/>
                </a:lnTo>
                <a:lnTo>
                  <a:pt x="73" y="289"/>
                </a:lnTo>
                <a:lnTo>
                  <a:pt x="73" y="283"/>
                </a:lnTo>
                <a:lnTo>
                  <a:pt x="79" y="278"/>
                </a:lnTo>
                <a:lnTo>
                  <a:pt x="79" y="272"/>
                </a:lnTo>
                <a:lnTo>
                  <a:pt x="85" y="272"/>
                </a:lnTo>
                <a:lnTo>
                  <a:pt x="85" y="266"/>
                </a:lnTo>
                <a:lnTo>
                  <a:pt x="85" y="261"/>
                </a:lnTo>
                <a:lnTo>
                  <a:pt x="91" y="255"/>
                </a:lnTo>
                <a:lnTo>
                  <a:pt x="91" y="249"/>
                </a:lnTo>
                <a:lnTo>
                  <a:pt x="96" y="244"/>
                </a:lnTo>
                <a:lnTo>
                  <a:pt x="102" y="232"/>
                </a:lnTo>
                <a:lnTo>
                  <a:pt x="102" y="227"/>
                </a:lnTo>
                <a:lnTo>
                  <a:pt x="102" y="221"/>
                </a:lnTo>
                <a:lnTo>
                  <a:pt x="96" y="221"/>
                </a:lnTo>
                <a:lnTo>
                  <a:pt x="96" y="215"/>
                </a:lnTo>
                <a:lnTo>
                  <a:pt x="91" y="210"/>
                </a:lnTo>
                <a:lnTo>
                  <a:pt x="91" y="204"/>
                </a:lnTo>
                <a:lnTo>
                  <a:pt x="85" y="204"/>
                </a:lnTo>
                <a:lnTo>
                  <a:pt x="85" y="198"/>
                </a:lnTo>
                <a:lnTo>
                  <a:pt x="85" y="193"/>
                </a:lnTo>
                <a:lnTo>
                  <a:pt x="91" y="198"/>
                </a:lnTo>
                <a:lnTo>
                  <a:pt x="91" y="193"/>
                </a:lnTo>
                <a:lnTo>
                  <a:pt x="91" y="187"/>
                </a:lnTo>
                <a:lnTo>
                  <a:pt x="91" y="181"/>
                </a:lnTo>
                <a:lnTo>
                  <a:pt x="91" y="176"/>
                </a:lnTo>
                <a:lnTo>
                  <a:pt x="91" y="164"/>
                </a:lnTo>
                <a:lnTo>
                  <a:pt x="91" y="153"/>
                </a:lnTo>
                <a:lnTo>
                  <a:pt x="91" y="147"/>
                </a:lnTo>
                <a:lnTo>
                  <a:pt x="91" y="142"/>
                </a:lnTo>
                <a:lnTo>
                  <a:pt x="91" y="136"/>
                </a:lnTo>
                <a:lnTo>
                  <a:pt x="91" y="130"/>
                </a:lnTo>
                <a:lnTo>
                  <a:pt x="85" y="130"/>
                </a:lnTo>
                <a:lnTo>
                  <a:pt x="85" y="125"/>
                </a:lnTo>
                <a:lnTo>
                  <a:pt x="79" y="125"/>
                </a:lnTo>
                <a:lnTo>
                  <a:pt x="73" y="119"/>
                </a:lnTo>
                <a:lnTo>
                  <a:pt x="62" y="119"/>
                </a:lnTo>
                <a:lnTo>
                  <a:pt x="56" y="119"/>
                </a:lnTo>
                <a:lnTo>
                  <a:pt x="51" y="113"/>
                </a:lnTo>
                <a:lnTo>
                  <a:pt x="45" y="108"/>
                </a:lnTo>
                <a:lnTo>
                  <a:pt x="39" y="108"/>
                </a:lnTo>
                <a:lnTo>
                  <a:pt x="39" y="102"/>
                </a:lnTo>
                <a:lnTo>
                  <a:pt x="45" y="91"/>
                </a:lnTo>
                <a:lnTo>
                  <a:pt x="45" y="85"/>
                </a:lnTo>
                <a:lnTo>
                  <a:pt x="56" y="79"/>
                </a:lnTo>
                <a:lnTo>
                  <a:pt x="62" y="79"/>
                </a:lnTo>
                <a:lnTo>
                  <a:pt x="68" y="79"/>
                </a:lnTo>
                <a:lnTo>
                  <a:pt x="73" y="79"/>
                </a:lnTo>
                <a:lnTo>
                  <a:pt x="73" y="74"/>
                </a:lnTo>
                <a:lnTo>
                  <a:pt x="79" y="74"/>
                </a:lnTo>
                <a:lnTo>
                  <a:pt x="85" y="74"/>
                </a:lnTo>
                <a:lnTo>
                  <a:pt x="85" y="79"/>
                </a:lnTo>
                <a:lnTo>
                  <a:pt x="91" y="85"/>
                </a:lnTo>
                <a:lnTo>
                  <a:pt x="91" y="91"/>
                </a:lnTo>
                <a:lnTo>
                  <a:pt x="96" y="91"/>
                </a:lnTo>
                <a:lnTo>
                  <a:pt x="102" y="85"/>
                </a:lnTo>
                <a:lnTo>
                  <a:pt x="108" y="85"/>
                </a:lnTo>
                <a:lnTo>
                  <a:pt x="113" y="79"/>
                </a:lnTo>
                <a:lnTo>
                  <a:pt x="113" y="85"/>
                </a:lnTo>
                <a:lnTo>
                  <a:pt x="125" y="85"/>
                </a:lnTo>
                <a:lnTo>
                  <a:pt x="130" y="85"/>
                </a:lnTo>
                <a:lnTo>
                  <a:pt x="130" y="91"/>
                </a:lnTo>
                <a:lnTo>
                  <a:pt x="136" y="91"/>
                </a:lnTo>
                <a:lnTo>
                  <a:pt x="142" y="91"/>
                </a:lnTo>
                <a:lnTo>
                  <a:pt x="142" y="96"/>
                </a:lnTo>
                <a:lnTo>
                  <a:pt x="147" y="96"/>
                </a:lnTo>
                <a:lnTo>
                  <a:pt x="153" y="96"/>
                </a:lnTo>
                <a:lnTo>
                  <a:pt x="159" y="96"/>
                </a:lnTo>
                <a:lnTo>
                  <a:pt x="170" y="102"/>
                </a:lnTo>
                <a:lnTo>
                  <a:pt x="181" y="108"/>
                </a:lnTo>
                <a:lnTo>
                  <a:pt x="187" y="113"/>
                </a:lnTo>
                <a:lnTo>
                  <a:pt x="187" y="119"/>
                </a:lnTo>
                <a:lnTo>
                  <a:pt x="193" y="119"/>
                </a:lnTo>
                <a:lnTo>
                  <a:pt x="198" y="119"/>
                </a:lnTo>
                <a:lnTo>
                  <a:pt x="198" y="113"/>
                </a:lnTo>
                <a:lnTo>
                  <a:pt x="198" y="108"/>
                </a:lnTo>
                <a:lnTo>
                  <a:pt x="198" y="102"/>
                </a:lnTo>
                <a:lnTo>
                  <a:pt x="198" y="96"/>
                </a:lnTo>
                <a:lnTo>
                  <a:pt x="198" y="91"/>
                </a:lnTo>
                <a:lnTo>
                  <a:pt x="193" y="91"/>
                </a:lnTo>
                <a:lnTo>
                  <a:pt x="193" y="85"/>
                </a:lnTo>
                <a:lnTo>
                  <a:pt x="193" y="79"/>
                </a:lnTo>
                <a:lnTo>
                  <a:pt x="198" y="79"/>
                </a:lnTo>
                <a:lnTo>
                  <a:pt x="198" y="74"/>
                </a:lnTo>
                <a:lnTo>
                  <a:pt x="210" y="68"/>
                </a:lnTo>
                <a:lnTo>
                  <a:pt x="210" y="62"/>
                </a:lnTo>
                <a:lnTo>
                  <a:pt x="215" y="57"/>
                </a:lnTo>
                <a:lnTo>
                  <a:pt x="215" y="51"/>
                </a:lnTo>
                <a:lnTo>
                  <a:pt x="215" y="40"/>
                </a:lnTo>
                <a:lnTo>
                  <a:pt x="215" y="34"/>
                </a:lnTo>
                <a:lnTo>
                  <a:pt x="210" y="17"/>
                </a:lnTo>
                <a:lnTo>
                  <a:pt x="210" y="11"/>
                </a:lnTo>
                <a:lnTo>
                  <a:pt x="210" y="6"/>
                </a:lnTo>
                <a:lnTo>
                  <a:pt x="215" y="6"/>
                </a:lnTo>
                <a:lnTo>
                  <a:pt x="215" y="0"/>
                </a:lnTo>
                <a:lnTo>
                  <a:pt x="221" y="0"/>
                </a:lnTo>
                <a:lnTo>
                  <a:pt x="227" y="0"/>
                </a:lnTo>
                <a:lnTo>
                  <a:pt x="232" y="6"/>
                </a:lnTo>
                <a:lnTo>
                  <a:pt x="238" y="6"/>
                </a:lnTo>
                <a:lnTo>
                  <a:pt x="244" y="11"/>
                </a:lnTo>
                <a:lnTo>
                  <a:pt x="249" y="11"/>
                </a:lnTo>
                <a:lnTo>
                  <a:pt x="249" y="17"/>
                </a:lnTo>
                <a:lnTo>
                  <a:pt x="255" y="17"/>
                </a:lnTo>
                <a:lnTo>
                  <a:pt x="255" y="23"/>
                </a:lnTo>
                <a:lnTo>
                  <a:pt x="266" y="23"/>
                </a:lnTo>
                <a:lnTo>
                  <a:pt x="272" y="23"/>
                </a:lnTo>
                <a:lnTo>
                  <a:pt x="272" y="28"/>
                </a:lnTo>
                <a:lnTo>
                  <a:pt x="272" y="34"/>
                </a:lnTo>
                <a:lnTo>
                  <a:pt x="272" y="40"/>
                </a:lnTo>
                <a:lnTo>
                  <a:pt x="278" y="40"/>
                </a:lnTo>
                <a:lnTo>
                  <a:pt x="278" y="45"/>
                </a:lnTo>
                <a:lnTo>
                  <a:pt x="278" y="51"/>
                </a:lnTo>
                <a:lnTo>
                  <a:pt x="283" y="51"/>
                </a:lnTo>
                <a:lnTo>
                  <a:pt x="283" y="57"/>
                </a:lnTo>
                <a:lnTo>
                  <a:pt x="289" y="57"/>
                </a:lnTo>
                <a:lnTo>
                  <a:pt x="289" y="62"/>
                </a:lnTo>
                <a:lnTo>
                  <a:pt x="295" y="62"/>
                </a:lnTo>
                <a:lnTo>
                  <a:pt x="295" y="68"/>
                </a:lnTo>
                <a:lnTo>
                  <a:pt x="300" y="68"/>
                </a:lnTo>
                <a:lnTo>
                  <a:pt x="300" y="74"/>
                </a:lnTo>
                <a:lnTo>
                  <a:pt x="306" y="79"/>
                </a:lnTo>
                <a:lnTo>
                  <a:pt x="312" y="79"/>
                </a:lnTo>
                <a:lnTo>
                  <a:pt x="295" y="79"/>
                </a:lnTo>
                <a:lnTo>
                  <a:pt x="283" y="85"/>
                </a:lnTo>
                <a:lnTo>
                  <a:pt x="283" y="91"/>
                </a:lnTo>
                <a:lnTo>
                  <a:pt x="283" y="96"/>
                </a:lnTo>
                <a:lnTo>
                  <a:pt x="289" y="102"/>
                </a:lnTo>
                <a:lnTo>
                  <a:pt x="289" y="108"/>
                </a:lnTo>
                <a:lnTo>
                  <a:pt x="283" y="119"/>
                </a:lnTo>
                <a:lnTo>
                  <a:pt x="283" y="136"/>
                </a:lnTo>
                <a:lnTo>
                  <a:pt x="272" y="142"/>
                </a:lnTo>
                <a:lnTo>
                  <a:pt x="266" y="147"/>
                </a:lnTo>
                <a:lnTo>
                  <a:pt x="272" y="153"/>
                </a:lnTo>
                <a:lnTo>
                  <a:pt x="272" y="164"/>
                </a:lnTo>
                <a:lnTo>
                  <a:pt x="266" y="170"/>
                </a:lnTo>
                <a:lnTo>
                  <a:pt x="266" y="176"/>
                </a:lnTo>
                <a:lnTo>
                  <a:pt x="261" y="176"/>
                </a:lnTo>
                <a:lnTo>
                  <a:pt x="255" y="187"/>
                </a:lnTo>
                <a:lnTo>
                  <a:pt x="249" y="193"/>
                </a:lnTo>
                <a:lnTo>
                  <a:pt x="255" y="198"/>
                </a:lnTo>
                <a:lnTo>
                  <a:pt x="255" y="204"/>
                </a:lnTo>
                <a:lnTo>
                  <a:pt x="255" y="215"/>
                </a:lnTo>
                <a:lnTo>
                  <a:pt x="255" y="227"/>
                </a:lnTo>
                <a:lnTo>
                  <a:pt x="261" y="244"/>
                </a:lnTo>
                <a:lnTo>
                  <a:pt x="261" y="249"/>
                </a:lnTo>
                <a:lnTo>
                  <a:pt x="261" y="255"/>
                </a:lnTo>
                <a:lnTo>
                  <a:pt x="261" y="261"/>
                </a:lnTo>
                <a:lnTo>
                  <a:pt x="266" y="272"/>
                </a:lnTo>
                <a:lnTo>
                  <a:pt x="272" y="283"/>
                </a:lnTo>
                <a:lnTo>
                  <a:pt x="272" y="289"/>
                </a:lnTo>
                <a:lnTo>
                  <a:pt x="272" y="295"/>
                </a:lnTo>
                <a:lnTo>
                  <a:pt x="278" y="300"/>
                </a:lnTo>
                <a:lnTo>
                  <a:pt x="272" y="312"/>
                </a:lnTo>
                <a:lnTo>
                  <a:pt x="266" y="312"/>
                </a:lnTo>
                <a:lnTo>
                  <a:pt x="255" y="306"/>
                </a:lnTo>
                <a:lnTo>
                  <a:pt x="255" y="300"/>
                </a:lnTo>
                <a:lnTo>
                  <a:pt x="249" y="306"/>
                </a:lnTo>
                <a:lnTo>
                  <a:pt x="244" y="312"/>
                </a:lnTo>
                <a:lnTo>
                  <a:pt x="238" y="306"/>
                </a:lnTo>
                <a:lnTo>
                  <a:pt x="232" y="300"/>
                </a:lnTo>
                <a:lnTo>
                  <a:pt x="221" y="289"/>
                </a:lnTo>
                <a:lnTo>
                  <a:pt x="215" y="283"/>
                </a:lnTo>
                <a:lnTo>
                  <a:pt x="215" y="272"/>
                </a:lnTo>
                <a:lnTo>
                  <a:pt x="210" y="261"/>
                </a:lnTo>
                <a:lnTo>
                  <a:pt x="198" y="255"/>
                </a:lnTo>
                <a:lnTo>
                  <a:pt x="193" y="255"/>
                </a:lnTo>
                <a:lnTo>
                  <a:pt x="187" y="261"/>
                </a:lnTo>
                <a:lnTo>
                  <a:pt x="187" y="266"/>
                </a:lnTo>
                <a:lnTo>
                  <a:pt x="187" y="278"/>
                </a:lnTo>
                <a:lnTo>
                  <a:pt x="181" y="283"/>
                </a:lnTo>
                <a:lnTo>
                  <a:pt x="176" y="289"/>
                </a:lnTo>
                <a:lnTo>
                  <a:pt x="170" y="289"/>
                </a:lnTo>
                <a:lnTo>
                  <a:pt x="164" y="289"/>
                </a:lnTo>
                <a:lnTo>
                  <a:pt x="159" y="295"/>
                </a:lnTo>
                <a:lnTo>
                  <a:pt x="153" y="300"/>
                </a:lnTo>
                <a:lnTo>
                  <a:pt x="153" y="312"/>
                </a:lnTo>
                <a:lnTo>
                  <a:pt x="164" y="312"/>
                </a:lnTo>
                <a:lnTo>
                  <a:pt x="170" y="317"/>
                </a:lnTo>
                <a:lnTo>
                  <a:pt x="170" y="323"/>
                </a:lnTo>
                <a:lnTo>
                  <a:pt x="164" y="329"/>
                </a:lnTo>
                <a:lnTo>
                  <a:pt x="153" y="329"/>
                </a:lnTo>
                <a:lnTo>
                  <a:pt x="142" y="329"/>
                </a:lnTo>
                <a:lnTo>
                  <a:pt x="130" y="329"/>
                </a:lnTo>
                <a:lnTo>
                  <a:pt x="130" y="334"/>
                </a:lnTo>
                <a:lnTo>
                  <a:pt x="125" y="334"/>
                </a:lnTo>
                <a:lnTo>
                  <a:pt x="125" y="340"/>
                </a:lnTo>
                <a:lnTo>
                  <a:pt x="130" y="340"/>
                </a:lnTo>
                <a:lnTo>
                  <a:pt x="130" y="346"/>
                </a:lnTo>
                <a:lnTo>
                  <a:pt x="142" y="346"/>
                </a:lnTo>
                <a:lnTo>
                  <a:pt x="136" y="351"/>
                </a:lnTo>
                <a:lnTo>
                  <a:pt x="130" y="351"/>
                </a:lnTo>
                <a:lnTo>
                  <a:pt x="125" y="363"/>
                </a:lnTo>
                <a:lnTo>
                  <a:pt x="125" y="368"/>
                </a:lnTo>
                <a:lnTo>
                  <a:pt x="125" y="374"/>
                </a:lnTo>
                <a:lnTo>
                  <a:pt x="125" y="386"/>
                </a:lnTo>
                <a:lnTo>
                  <a:pt x="125" y="391"/>
                </a:lnTo>
                <a:lnTo>
                  <a:pt x="130" y="397"/>
                </a:lnTo>
                <a:lnTo>
                  <a:pt x="125" y="408"/>
                </a:lnTo>
                <a:lnTo>
                  <a:pt x="125" y="420"/>
                </a:lnTo>
                <a:lnTo>
                  <a:pt x="119" y="425"/>
                </a:lnTo>
                <a:lnTo>
                  <a:pt x="113" y="431"/>
                </a:lnTo>
                <a:lnTo>
                  <a:pt x="113" y="437"/>
                </a:lnTo>
                <a:lnTo>
                  <a:pt x="108" y="437"/>
                </a:lnTo>
                <a:lnTo>
                  <a:pt x="102" y="442"/>
                </a:lnTo>
                <a:lnTo>
                  <a:pt x="102" y="448"/>
                </a:lnTo>
                <a:lnTo>
                  <a:pt x="108" y="448"/>
                </a:lnTo>
                <a:lnTo>
                  <a:pt x="119" y="448"/>
                </a:lnTo>
                <a:lnTo>
                  <a:pt x="125" y="442"/>
                </a:lnTo>
                <a:lnTo>
                  <a:pt x="125" y="448"/>
                </a:lnTo>
                <a:lnTo>
                  <a:pt x="125" y="454"/>
                </a:lnTo>
                <a:lnTo>
                  <a:pt x="119" y="454"/>
                </a:lnTo>
                <a:lnTo>
                  <a:pt x="113" y="465"/>
                </a:lnTo>
                <a:lnTo>
                  <a:pt x="108" y="465"/>
                </a:lnTo>
                <a:lnTo>
                  <a:pt x="108" y="471"/>
                </a:lnTo>
                <a:lnTo>
                  <a:pt x="102" y="471"/>
                </a:lnTo>
                <a:lnTo>
                  <a:pt x="113" y="476"/>
                </a:lnTo>
                <a:lnTo>
                  <a:pt x="113" y="482"/>
                </a:lnTo>
                <a:lnTo>
                  <a:pt x="119" y="482"/>
                </a:lnTo>
                <a:lnTo>
                  <a:pt x="119" y="488"/>
                </a:lnTo>
                <a:lnTo>
                  <a:pt x="113" y="493"/>
                </a:lnTo>
                <a:lnTo>
                  <a:pt x="113" y="499"/>
                </a:lnTo>
                <a:lnTo>
                  <a:pt x="108" y="49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69" name="Freeform 30"/>
          <p:cNvSpPr>
            <a:spLocks noEditPoints="1"/>
          </p:cNvSpPr>
          <p:nvPr/>
        </p:nvSpPr>
        <p:spPr bwMode="gray">
          <a:xfrm>
            <a:off x="3696476" y="5763053"/>
            <a:ext cx="536168" cy="633321"/>
          </a:xfrm>
          <a:custGeom>
            <a:avLst/>
            <a:gdLst>
              <a:gd name="T0" fmla="*/ 2147483647 w 317"/>
              <a:gd name="T1" fmla="*/ 2147483647 h 374"/>
              <a:gd name="T2" fmla="*/ 0 w 317"/>
              <a:gd name="T3" fmla="*/ 2147483647 h 374"/>
              <a:gd name="T4" fmla="*/ 2147483647 w 317"/>
              <a:gd name="T5" fmla="*/ 2147483647 h 374"/>
              <a:gd name="T6" fmla="*/ 2147483647 w 317"/>
              <a:gd name="T7" fmla="*/ 2147483647 h 374"/>
              <a:gd name="T8" fmla="*/ 2147483647 w 317"/>
              <a:gd name="T9" fmla="*/ 2147483647 h 374"/>
              <a:gd name="T10" fmla="*/ 2147483647 w 317"/>
              <a:gd name="T11" fmla="*/ 2147483647 h 374"/>
              <a:gd name="T12" fmla="*/ 2147483647 w 317"/>
              <a:gd name="T13" fmla="*/ 2147483647 h 374"/>
              <a:gd name="T14" fmla="*/ 2147483647 w 317"/>
              <a:gd name="T15" fmla="*/ 2147483647 h 374"/>
              <a:gd name="T16" fmla="*/ 2147483647 w 317"/>
              <a:gd name="T17" fmla="*/ 2147483647 h 374"/>
              <a:gd name="T18" fmla="*/ 2147483647 w 317"/>
              <a:gd name="T19" fmla="*/ 2147483647 h 374"/>
              <a:gd name="T20" fmla="*/ 2147483647 w 317"/>
              <a:gd name="T21" fmla="*/ 2147483647 h 374"/>
              <a:gd name="T22" fmla="*/ 2147483647 w 317"/>
              <a:gd name="T23" fmla="*/ 2147483647 h 374"/>
              <a:gd name="T24" fmla="*/ 2147483647 w 317"/>
              <a:gd name="T25" fmla="*/ 2147483647 h 374"/>
              <a:gd name="T26" fmla="*/ 2147483647 w 317"/>
              <a:gd name="T27" fmla="*/ 2147483647 h 374"/>
              <a:gd name="T28" fmla="*/ 2147483647 w 317"/>
              <a:gd name="T29" fmla="*/ 2147483647 h 374"/>
              <a:gd name="T30" fmla="*/ 2147483647 w 317"/>
              <a:gd name="T31" fmla="*/ 2147483647 h 374"/>
              <a:gd name="T32" fmla="*/ 2147483647 w 317"/>
              <a:gd name="T33" fmla="*/ 2147483647 h 374"/>
              <a:gd name="T34" fmla="*/ 2147483647 w 317"/>
              <a:gd name="T35" fmla="*/ 2147483647 h 374"/>
              <a:gd name="T36" fmla="*/ 2147483647 w 317"/>
              <a:gd name="T37" fmla="*/ 2147483647 h 374"/>
              <a:gd name="T38" fmla="*/ 2147483647 w 317"/>
              <a:gd name="T39" fmla="*/ 2147483647 h 374"/>
              <a:gd name="T40" fmla="*/ 2147483647 w 317"/>
              <a:gd name="T41" fmla="*/ 2147483647 h 374"/>
              <a:gd name="T42" fmla="*/ 2147483647 w 317"/>
              <a:gd name="T43" fmla="*/ 2147483647 h 374"/>
              <a:gd name="T44" fmla="*/ 2147483647 w 317"/>
              <a:gd name="T45" fmla="*/ 2147483647 h 374"/>
              <a:gd name="T46" fmla="*/ 2147483647 w 317"/>
              <a:gd name="T47" fmla="*/ 2147483647 h 374"/>
              <a:gd name="T48" fmla="*/ 2147483647 w 317"/>
              <a:gd name="T49" fmla="*/ 2147483647 h 374"/>
              <a:gd name="T50" fmla="*/ 2147483647 w 317"/>
              <a:gd name="T51" fmla="*/ 2147483647 h 374"/>
              <a:gd name="T52" fmla="*/ 2147483647 w 317"/>
              <a:gd name="T53" fmla="*/ 2147483647 h 374"/>
              <a:gd name="T54" fmla="*/ 2147483647 w 317"/>
              <a:gd name="T55" fmla="*/ 2147483647 h 374"/>
              <a:gd name="T56" fmla="*/ 2147483647 w 317"/>
              <a:gd name="T57" fmla="*/ 2147483647 h 374"/>
              <a:gd name="T58" fmla="*/ 2147483647 w 317"/>
              <a:gd name="T59" fmla="*/ 2147483647 h 374"/>
              <a:gd name="T60" fmla="*/ 2147483647 w 317"/>
              <a:gd name="T61" fmla="*/ 2147483647 h 374"/>
              <a:gd name="T62" fmla="*/ 2147483647 w 317"/>
              <a:gd name="T63" fmla="*/ 2147483647 h 374"/>
              <a:gd name="T64" fmla="*/ 2147483647 w 317"/>
              <a:gd name="T65" fmla="*/ 2147483647 h 374"/>
              <a:gd name="T66" fmla="*/ 2147483647 w 317"/>
              <a:gd name="T67" fmla="*/ 2147483647 h 374"/>
              <a:gd name="T68" fmla="*/ 2147483647 w 317"/>
              <a:gd name="T69" fmla="*/ 2147483647 h 374"/>
              <a:gd name="T70" fmla="*/ 2147483647 w 317"/>
              <a:gd name="T71" fmla="*/ 2147483647 h 374"/>
              <a:gd name="T72" fmla="*/ 2147483647 w 317"/>
              <a:gd name="T73" fmla="*/ 2147483647 h 374"/>
              <a:gd name="T74" fmla="*/ 2147483647 w 317"/>
              <a:gd name="T75" fmla="*/ 2147483647 h 374"/>
              <a:gd name="T76" fmla="*/ 2147483647 w 317"/>
              <a:gd name="T77" fmla="*/ 2147483647 h 374"/>
              <a:gd name="T78" fmla="*/ 2147483647 w 317"/>
              <a:gd name="T79" fmla="*/ 2147483647 h 374"/>
              <a:gd name="T80" fmla="*/ 2147483647 w 317"/>
              <a:gd name="T81" fmla="*/ 2147483647 h 374"/>
              <a:gd name="T82" fmla="*/ 2147483647 w 317"/>
              <a:gd name="T83" fmla="*/ 2147483647 h 374"/>
              <a:gd name="T84" fmla="*/ 2147483647 w 317"/>
              <a:gd name="T85" fmla="*/ 2147483647 h 374"/>
              <a:gd name="T86" fmla="*/ 2147483647 w 317"/>
              <a:gd name="T87" fmla="*/ 2147483647 h 374"/>
              <a:gd name="T88" fmla="*/ 2147483647 w 317"/>
              <a:gd name="T89" fmla="*/ 2147483647 h 374"/>
              <a:gd name="T90" fmla="*/ 2147483647 w 317"/>
              <a:gd name="T91" fmla="*/ 2147483647 h 374"/>
              <a:gd name="T92" fmla="*/ 2147483647 w 317"/>
              <a:gd name="T93" fmla="*/ 2147483647 h 374"/>
              <a:gd name="T94" fmla="*/ 2147483647 w 317"/>
              <a:gd name="T95" fmla="*/ 2147483647 h 374"/>
              <a:gd name="T96" fmla="*/ 2147483647 w 317"/>
              <a:gd name="T97" fmla="*/ 2147483647 h 37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17"/>
              <a:gd name="T148" fmla="*/ 0 h 374"/>
              <a:gd name="T149" fmla="*/ 317 w 317"/>
              <a:gd name="T150" fmla="*/ 374 h 37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17" h="374">
                <a:moveTo>
                  <a:pt x="6" y="244"/>
                </a:moveTo>
                <a:lnTo>
                  <a:pt x="11" y="244"/>
                </a:lnTo>
                <a:lnTo>
                  <a:pt x="11" y="238"/>
                </a:lnTo>
                <a:lnTo>
                  <a:pt x="17" y="233"/>
                </a:lnTo>
                <a:lnTo>
                  <a:pt x="17" y="227"/>
                </a:lnTo>
                <a:lnTo>
                  <a:pt x="11" y="227"/>
                </a:lnTo>
                <a:lnTo>
                  <a:pt x="11" y="221"/>
                </a:lnTo>
                <a:lnTo>
                  <a:pt x="0" y="216"/>
                </a:lnTo>
                <a:lnTo>
                  <a:pt x="6" y="216"/>
                </a:lnTo>
                <a:lnTo>
                  <a:pt x="6" y="210"/>
                </a:lnTo>
                <a:lnTo>
                  <a:pt x="11" y="210"/>
                </a:lnTo>
                <a:lnTo>
                  <a:pt x="17" y="199"/>
                </a:lnTo>
                <a:lnTo>
                  <a:pt x="23" y="199"/>
                </a:lnTo>
                <a:lnTo>
                  <a:pt x="23" y="193"/>
                </a:lnTo>
                <a:lnTo>
                  <a:pt x="23" y="187"/>
                </a:lnTo>
                <a:lnTo>
                  <a:pt x="17" y="193"/>
                </a:lnTo>
                <a:lnTo>
                  <a:pt x="6" y="193"/>
                </a:lnTo>
                <a:lnTo>
                  <a:pt x="0" y="193"/>
                </a:lnTo>
                <a:lnTo>
                  <a:pt x="0" y="187"/>
                </a:lnTo>
                <a:lnTo>
                  <a:pt x="6" y="182"/>
                </a:lnTo>
                <a:lnTo>
                  <a:pt x="11" y="182"/>
                </a:lnTo>
                <a:lnTo>
                  <a:pt x="11" y="176"/>
                </a:lnTo>
                <a:lnTo>
                  <a:pt x="17" y="170"/>
                </a:lnTo>
                <a:lnTo>
                  <a:pt x="23" y="165"/>
                </a:lnTo>
                <a:lnTo>
                  <a:pt x="23" y="153"/>
                </a:lnTo>
                <a:lnTo>
                  <a:pt x="28" y="142"/>
                </a:lnTo>
                <a:lnTo>
                  <a:pt x="23" y="136"/>
                </a:lnTo>
                <a:lnTo>
                  <a:pt x="23" y="131"/>
                </a:lnTo>
                <a:lnTo>
                  <a:pt x="23" y="119"/>
                </a:lnTo>
                <a:lnTo>
                  <a:pt x="23" y="113"/>
                </a:lnTo>
                <a:lnTo>
                  <a:pt x="23" y="108"/>
                </a:lnTo>
                <a:lnTo>
                  <a:pt x="28" y="96"/>
                </a:lnTo>
                <a:lnTo>
                  <a:pt x="34" y="96"/>
                </a:lnTo>
                <a:lnTo>
                  <a:pt x="40" y="91"/>
                </a:lnTo>
                <a:lnTo>
                  <a:pt x="28" y="91"/>
                </a:lnTo>
                <a:lnTo>
                  <a:pt x="28" y="85"/>
                </a:lnTo>
                <a:lnTo>
                  <a:pt x="23" y="85"/>
                </a:lnTo>
                <a:lnTo>
                  <a:pt x="23" y="79"/>
                </a:lnTo>
                <a:lnTo>
                  <a:pt x="28" y="79"/>
                </a:lnTo>
                <a:lnTo>
                  <a:pt x="28" y="74"/>
                </a:lnTo>
                <a:lnTo>
                  <a:pt x="40" y="74"/>
                </a:lnTo>
                <a:lnTo>
                  <a:pt x="51" y="74"/>
                </a:lnTo>
                <a:lnTo>
                  <a:pt x="62" y="74"/>
                </a:lnTo>
                <a:lnTo>
                  <a:pt x="68" y="68"/>
                </a:lnTo>
                <a:lnTo>
                  <a:pt x="68" y="62"/>
                </a:lnTo>
                <a:lnTo>
                  <a:pt x="62" y="57"/>
                </a:lnTo>
                <a:lnTo>
                  <a:pt x="51" y="57"/>
                </a:lnTo>
                <a:lnTo>
                  <a:pt x="51" y="45"/>
                </a:lnTo>
                <a:lnTo>
                  <a:pt x="57" y="40"/>
                </a:lnTo>
                <a:lnTo>
                  <a:pt x="62" y="34"/>
                </a:lnTo>
                <a:lnTo>
                  <a:pt x="68" y="34"/>
                </a:lnTo>
                <a:lnTo>
                  <a:pt x="74" y="34"/>
                </a:lnTo>
                <a:lnTo>
                  <a:pt x="79" y="28"/>
                </a:lnTo>
                <a:lnTo>
                  <a:pt x="85" y="23"/>
                </a:lnTo>
                <a:lnTo>
                  <a:pt x="85" y="11"/>
                </a:lnTo>
                <a:lnTo>
                  <a:pt x="85" y="6"/>
                </a:lnTo>
                <a:lnTo>
                  <a:pt x="91" y="0"/>
                </a:lnTo>
                <a:lnTo>
                  <a:pt x="96" y="0"/>
                </a:lnTo>
                <a:lnTo>
                  <a:pt x="108" y="6"/>
                </a:lnTo>
                <a:lnTo>
                  <a:pt x="113" y="17"/>
                </a:lnTo>
                <a:lnTo>
                  <a:pt x="113" y="28"/>
                </a:lnTo>
                <a:lnTo>
                  <a:pt x="119" y="34"/>
                </a:lnTo>
                <a:lnTo>
                  <a:pt x="130" y="45"/>
                </a:lnTo>
                <a:lnTo>
                  <a:pt x="136" y="51"/>
                </a:lnTo>
                <a:lnTo>
                  <a:pt x="142" y="57"/>
                </a:lnTo>
                <a:lnTo>
                  <a:pt x="147" y="62"/>
                </a:lnTo>
                <a:lnTo>
                  <a:pt x="147" y="68"/>
                </a:lnTo>
                <a:lnTo>
                  <a:pt x="142" y="68"/>
                </a:lnTo>
                <a:lnTo>
                  <a:pt x="136" y="68"/>
                </a:lnTo>
                <a:lnTo>
                  <a:pt x="136" y="74"/>
                </a:lnTo>
                <a:lnTo>
                  <a:pt x="142" y="74"/>
                </a:lnTo>
                <a:lnTo>
                  <a:pt x="142" y="79"/>
                </a:lnTo>
                <a:lnTo>
                  <a:pt x="153" y="85"/>
                </a:lnTo>
                <a:lnTo>
                  <a:pt x="159" y="85"/>
                </a:lnTo>
                <a:lnTo>
                  <a:pt x="164" y="91"/>
                </a:lnTo>
                <a:lnTo>
                  <a:pt x="170" y="91"/>
                </a:lnTo>
                <a:lnTo>
                  <a:pt x="181" y="96"/>
                </a:lnTo>
                <a:lnTo>
                  <a:pt x="193" y="96"/>
                </a:lnTo>
                <a:lnTo>
                  <a:pt x="198" y="96"/>
                </a:lnTo>
                <a:lnTo>
                  <a:pt x="210" y="96"/>
                </a:lnTo>
                <a:lnTo>
                  <a:pt x="221" y="102"/>
                </a:lnTo>
                <a:lnTo>
                  <a:pt x="227" y="113"/>
                </a:lnTo>
                <a:lnTo>
                  <a:pt x="227" y="119"/>
                </a:lnTo>
                <a:lnTo>
                  <a:pt x="221" y="131"/>
                </a:lnTo>
                <a:lnTo>
                  <a:pt x="221" y="142"/>
                </a:lnTo>
                <a:lnTo>
                  <a:pt x="221" y="148"/>
                </a:lnTo>
                <a:lnTo>
                  <a:pt x="232" y="165"/>
                </a:lnTo>
                <a:lnTo>
                  <a:pt x="238" y="182"/>
                </a:lnTo>
                <a:lnTo>
                  <a:pt x="249" y="193"/>
                </a:lnTo>
                <a:lnTo>
                  <a:pt x="255" y="193"/>
                </a:lnTo>
                <a:lnTo>
                  <a:pt x="266" y="199"/>
                </a:lnTo>
                <a:lnTo>
                  <a:pt x="278" y="204"/>
                </a:lnTo>
                <a:lnTo>
                  <a:pt x="278" y="210"/>
                </a:lnTo>
                <a:lnTo>
                  <a:pt x="295" y="227"/>
                </a:lnTo>
                <a:lnTo>
                  <a:pt x="300" y="244"/>
                </a:lnTo>
                <a:lnTo>
                  <a:pt x="295" y="244"/>
                </a:lnTo>
                <a:lnTo>
                  <a:pt x="289" y="250"/>
                </a:lnTo>
                <a:lnTo>
                  <a:pt x="295" y="250"/>
                </a:lnTo>
                <a:lnTo>
                  <a:pt x="289" y="250"/>
                </a:lnTo>
                <a:lnTo>
                  <a:pt x="289" y="255"/>
                </a:lnTo>
                <a:lnTo>
                  <a:pt x="289" y="261"/>
                </a:lnTo>
                <a:lnTo>
                  <a:pt x="295" y="261"/>
                </a:lnTo>
                <a:lnTo>
                  <a:pt x="295" y="267"/>
                </a:lnTo>
                <a:lnTo>
                  <a:pt x="300" y="267"/>
                </a:lnTo>
                <a:lnTo>
                  <a:pt x="306" y="272"/>
                </a:lnTo>
                <a:lnTo>
                  <a:pt x="312" y="272"/>
                </a:lnTo>
                <a:lnTo>
                  <a:pt x="312" y="278"/>
                </a:lnTo>
                <a:lnTo>
                  <a:pt x="312" y="284"/>
                </a:lnTo>
                <a:lnTo>
                  <a:pt x="312" y="289"/>
                </a:lnTo>
                <a:lnTo>
                  <a:pt x="306" y="289"/>
                </a:lnTo>
                <a:lnTo>
                  <a:pt x="312" y="289"/>
                </a:lnTo>
                <a:lnTo>
                  <a:pt x="306" y="289"/>
                </a:lnTo>
                <a:lnTo>
                  <a:pt x="312" y="289"/>
                </a:lnTo>
                <a:lnTo>
                  <a:pt x="312" y="295"/>
                </a:lnTo>
                <a:lnTo>
                  <a:pt x="312" y="306"/>
                </a:lnTo>
                <a:lnTo>
                  <a:pt x="312" y="312"/>
                </a:lnTo>
                <a:lnTo>
                  <a:pt x="306" y="312"/>
                </a:lnTo>
                <a:lnTo>
                  <a:pt x="312" y="312"/>
                </a:lnTo>
                <a:lnTo>
                  <a:pt x="317" y="318"/>
                </a:lnTo>
                <a:lnTo>
                  <a:pt x="312" y="323"/>
                </a:lnTo>
                <a:lnTo>
                  <a:pt x="312" y="329"/>
                </a:lnTo>
                <a:lnTo>
                  <a:pt x="306" y="329"/>
                </a:lnTo>
                <a:lnTo>
                  <a:pt x="306" y="335"/>
                </a:lnTo>
                <a:lnTo>
                  <a:pt x="300" y="340"/>
                </a:lnTo>
                <a:lnTo>
                  <a:pt x="306" y="340"/>
                </a:lnTo>
                <a:lnTo>
                  <a:pt x="300" y="346"/>
                </a:lnTo>
                <a:lnTo>
                  <a:pt x="295" y="352"/>
                </a:lnTo>
                <a:lnTo>
                  <a:pt x="300" y="352"/>
                </a:lnTo>
                <a:lnTo>
                  <a:pt x="295" y="352"/>
                </a:lnTo>
                <a:lnTo>
                  <a:pt x="283" y="352"/>
                </a:lnTo>
                <a:lnTo>
                  <a:pt x="272" y="352"/>
                </a:lnTo>
                <a:lnTo>
                  <a:pt x="266" y="352"/>
                </a:lnTo>
                <a:lnTo>
                  <a:pt x="249" y="352"/>
                </a:lnTo>
                <a:lnTo>
                  <a:pt x="244" y="352"/>
                </a:lnTo>
                <a:lnTo>
                  <a:pt x="238" y="352"/>
                </a:lnTo>
                <a:lnTo>
                  <a:pt x="210" y="352"/>
                </a:lnTo>
                <a:lnTo>
                  <a:pt x="204" y="352"/>
                </a:lnTo>
                <a:lnTo>
                  <a:pt x="198" y="352"/>
                </a:lnTo>
                <a:lnTo>
                  <a:pt x="193" y="352"/>
                </a:lnTo>
                <a:lnTo>
                  <a:pt x="187" y="352"/>
                </a:lnTo>
                <a:lnTo>
                  <a:pt x="176" y="352"/>
                </a:lnTo>
                <a:lnTo>
                  <a:pt x="170" y="352"/>
                </a:lnTo>
                <a:lnTo>
                  <a:pt x="176" y="357"/>
                </a:lnTo>
                <a:lnTo>
                  <a:pt x="164" y="357"/>
                </a:lnTo>
                <a:lnTo>
                  <a:pt x="159" y="357"/>
                </a:lnTo>
                <a:lnTo>
                  <a:pt x="130" y="363"/>
                </a:lnTo>
                <a:lnTo>
                  <a:pt x="125" y="363"/>
                </a:lnTo>
                <a:lnTo>
                  <a:pt x="119" y="363"/>
                </a:lnTo>
                <a:lnTo>
                  <a:pt x="113" y="363"/>
                </a:lnTo>
                <a:lnTo>
                  <a:pt x="96" y="363"/>
                </a:lnTo>
                <a:lnTo>
                  <a:pt x="91" y="369"/>
                </a:lnTo>
                <a:lnTo>
                  <a:pt x="85" y="369"/>
                </a:lnTo>
                <a:lnTo>
                  <a:pt x="79" y="369"/>
                </a:lnTo>
                <a:lnTo>
                  <a:pt x="74" y="369"/>
                </a:lnTo>
                <a:lnTo>
                  <a:pt x="62" y="374"/>
                </a:lnTo>
                <a:lnTo>
                  <a:pt x="57" y="374"/>
                </a:lnTo>
                <a:lnTo>
                  <a:pt x="57" y="369"/>
                </a:lnTo>
                <a:lnTo>
                  <a:pt x="51" y="369"/>
                </a:lnTo>
                <a:lnTo>
                  <a:pt x="51" y="363"/>
                </a:lnTo>
                <a:lnTo>
                  <a:pt x="45" y="363"/>
                </a:lnTo>
                <a:lnTo>
                  <a:pt x="40" y="357"/>
                </a:lnTo>
                <a:lnTo>
                  <a:pt x="40" y="352"/>
                </a:lnTo>
                <a:lnTo>
                  <a:pt x="40" y="340"/>
                </a:lnTo>
                <a:lnTo>
                  <a:pt x="40" y="335"/>
                </a:lnTo>
                <a:lnTo>
                  <a:pt x="40" y="323"/>
                </a:lnTo>
                <a:lnTo>
                  <a:pt x="40" y="318"/>
                </a:lnTo>
                <a:lnTo>
                  <a:pt x="40" y="312"/>
                </a:lnTo>
                <a:lnTo>
                  <a:pt x="40" y="306"/>
                </a:lnTo>
                <a:lnTo>
                  <a:pt x="40" y="301"/>
                </a:lnTo>
                <a:lnTo>
                  <a:pt x="40" y="295"/>
                </a:lnTo>
                <a:lnTo>
                  <a:pt x="40" y="289"/>
                </a:lnTo>
                <a:lnTo>
                  <a:pt x="40" y="284"/>
                </a:lnTo>
                <a:lnTo>
                  <a:pt x="40" y="272"/>
                </a:lnTo>
                <a:lnTo>
                  <a:pt x="28" y="267"/>
                </a:lnTo>
                <a:lnTo>
                  <a:pt x="28" y="261"/>
                </a:lnTo>
                <a:lnTo>
                  <a:pt x="28" y="255"/>
                </a:lnTo>
                <a:lnTo>
                  <a:pt x="23" y="255"/>
                </a:lnTo>
                <a:lnTo>
                  <a:pt x="23" y="250"/>
                </a:lnTo>
                <a:lnTo>
                  <a:pt x="17" y="250"/>
                </a:lnTo>
                <a:lnTo>
                  <a:pt x="11" y="250"/>
                </a:lnTo>
                <a:lnTo>
                  <a:pt x="6" y="244"/>
                </a:lnTo>
                <a:close/>
                <a:moveTo>
                  <a:pt x="300" y="255"/>
                </a:moveTo>
                <a:lnTo>
                  <a:pt x="295" y="250"/>
                </a:lnTo>
                <a:lnTo>
                  <a:pt x="300" y="250"/>
                </a:lnTo>
                <a:lnTo>
                  <a:pt x="306" y="250"/>
                </a:lnTo>
                <a:lnTo>
                  <a:pt x="306" y="255"/>
                </a:lnTo>
                <a:lnTo>
                  <a:pt x="306" y="261"/>
                </a:lnTo>
                <a:lnTo>
                  <a:pt x="300" y="261"/>
                </a:lnTo>
                <a:lnTo>
                  <a:pt x="300" y="255"/>
                </a:lnTo>
                <a:close/>
                <a:moveTo>
                  <a:pt x="312" y="335"/>
                </a:moveTo>
                <a:lnTo>
                  <a:pt x="306" y="329"/>
                </a:lnTo>
                <a:lnTo>
                  <a:pt x="312" y="329"/>
                </a:lnTo>
                <a:lnTo>
                  <a:pt x="312" y="323"/>
                </a:lnTo>
                <a:lnTo>
                  <a:pt x="312" y="318"/>
                </a:lnTo>
                <a:lnTo>
                  <a:pt x="317" y="318"/>
                </a:lnTo>
                <a:lnTo>
                  <a:pt x="317" y="323"/>
                </a:lnTo>
                <a:lnTo>
                  <a:pt x="317" y="329"/>
                </a:lnTo>
                <a:lnTo>
                  <a:pt x="317" y="335"/>
                </a:lnTo>
                <a:lnTo>
                  <a:pt x="312" y="33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70" name="Freeform 31"/>
          <p:cNvSpPr>
            <a:spLocks/>
          </p:cNvSpPr>
          <p:nvPr/>
        </p:nvSpPr>
        <p:spPr bwMode="gray">
          <a:xfrm>
            <a:off x="3195946" y="5032549"/>
            <a:ext cx="450316" cy="604164"/>
          </a:xfrm>
          <a:custGeom>
            <a:avLst/>
            <a:gdLst>
              <a:gd name="T0" fmla="*/ 2147483647 w 266"/>
              <a:gd name="T1" fmla="*/ 2147483647 h 357"/>
              <a:gd name="T2" fmla="*/ 2147483647 w 266"/>
              <a:gd name="T3" fmla="*/ 2147483647 h 357"/>
              <a:gd name="T4" fmla="*/ 2147483647 w 266"/>
              <a:gd name="T5" fmla="*/ 2147483647 h 357"/>
              <a:gd name="T6" fmla="*/ 2147483647 w 266"/>
              <a:gd name="T7" fmla="*/ 2147483647 h 357"/>
              <a:gd name="T8" fmla="*/ 2147483647 w 266"/>
              <a:gd name="T9" fmla="*/ 2147483647 h 357"/>
              <a:gd name="T10" fmla="*/ 2147483647 w 266"/>
              <a:gd name="T11" fmla="*/ 2147483647 h 357"/>
              <a:gd name="T12" fmla="*/ 2147483647 w 266"/>
              <a:gd name="T13" fmla="*/ 2147483647 h 357"/>
              <a:gd name="T14" fmla="*/ 2147483647 w 266"/>
              <a:gd name="T15" fmla="*/ 2147483647 h 357"/>
              <a:gd name="T16" fmla="*/ 2147483647 w 266"/>
              <a:gd name="T17" fmla="*/ 2147483647 h 357"/>
              <a:gd name="T18" fmla="*/ 2147483647 w 266"/>
              <a:gd name="T19" fmla="*/ 2147483647 h 357"/>
              <a:gd name="T20" fmla="*/ 2147483647 w 266"/>
              <a:gd name="T21" fmla="*/ 2147483647 h 357"/>
              <a:gd name="T22" fmla="*/ 2147483647 w 266"/>
              <a:gd name="T23" fmla="*/ 2147483647 h 357"/>
              <a:gd name="T24" fmla="*/ 2147483647 w 266"/>
              <a:gd name="T25" fmla="*/ 2147483647 h 357"/>
              <a:gd name="T26" fmla="*/ 2147483647 w 266"/>
              <a:gd name="T27" fmla="*/ 2147483647 h 357"/>
              <a:gd name="T28" fmla="*/ 2147483647 w 266"/>
              <a:gd name="T29" fmla="*/ 2147483647 h 357"/>
              <a:gd name="T30" fmla="*/ 2147483647 w 266"/>
              <a:gd name="T31" fmla="*/ 2147483647 h 357"/>
              <a:gd name="T32" fmla="*/ 2147483647 w 266"/>
              <a:gd name="T33" fmla="*/ 0 h 357"/>
              <a:gd name="T34" fmla="*/ 2147483647 w 266"/>
              <a:gd name="T35" fmla="*/ 2147483647 h 357"/>
              <a:gd name="T36" fmla="*/ 2147483647 w 266"/>
              <a:gd name="T37" fmla="*/ 2147483647 h 357"/>
              <a:gd name="T38" fmla="*/ 2147483647 w 266"/>
              <a:gd name="T39" fmla="*/ 2147483647 h 357"/>
              <a:gd name="T40" fmla="*/ 2147483647 w 266"/>
              <a:gd name="T41" fmla="*/ 2147483647 h 357"/>
              <a:gd name="T42" fmla="*/ 2147483647 w 266"/>
              <a:gd name="T43" fmla="*/ 2147483647 h 357"/>
              <a:gd name="T44" fmla="*/ 2147483647 w 266"/>
              <a:gd name="T45" fmla="*/ 2147483647 h 357"/>
              <a:gd name="T46" fmla="*/ 2147483647 w 266"/>
              <a:gd name="T47" fmla="*/ 2147483647 h 357"/>
              <a:gd name="T48" fmla="*/ 2147483647 w 266"/>
              <a:gd name="T49" fmla="*/ 2147483647 h 357"/>
              <a:gd name="T50" fmla="*/ 2147483647 w 266"/>
              <a:gd name="T51" fmla="*/ 2147483647 h 357"/>
              <a:gd name="T52" fmla="*/ 2147483647 w 266"/>
              <a:gd name="T53" fmla="*/ 2147483647 h 357"/>
              <a:gd name="T54" fmla="*/ 2147483647 w 266"/>
              <a:gd name="T55" fmla="*/ 2147483647 h 357"/>
              <a:gd name="T56" fmla="*/ 2147483647 w 266"/>
              <a:gd name="T57" fmla="*/ 2147483647 h 357"/>
              <a:gd name="T58" fmla="*/ 2147483647 w 266"/>
              <a:gd name="T59" fmla="*/ 2147483647 h 357"/>
              <a:gd name="T60" fmla="*/ 2147483647 w 266"/>
              <a:gd name="T61" fmla="*/ 2147483647 h 357"/>
              <a:gd name="T62" fmla="*/ 2147483647 w 266"/>
              <a:gd name="T63" fmla="*/ 2147483647 h 357"/>
              <a:gd name="T64" fmla="*/ 2147483647 w 266"/>
              <a:gd name="T65" fmla="*/ 2147483647 h 357"/>
              <a:gd name="T66" fmla="*/ 2147483647 w 266"/>
              <a:gd name="T67" fmla="*/ 2147483647 h 357"/>
              <a:gd name="T68" fmla="*/ 2147483647 w 266"/>
              <a:gd name="T69" fmla="*/ 2147483647 h 357"/>
              <a:gd name="T70" fmla="*/ 2147483647 w 266"/>
              <a:gd name="T71" fmla="*/ 2147483647 h 357"/>
              <a:gd name="T72" fmla="*/ 2147483647 w 266"/>
              <a:gd name="T73" fmla="*/ 2147483647 h 357"/>
              <a:gd name="T74" fmla="*/ 2147483647 w 266"/>
              <a:gd name="T75" fmla="*/ 2147483647 h 357"/>
              <a:gd name="T76" fmla="*/ 2147483647 w 266"/>
              <a:gd name="T77" fmla="*/ 2147483647 h 357"/>
              <a:gd name="T78" fmla="*/ 2147483647 w 266"/>
              <a:gd name="T79" fmla="*/ 2147483647 h 357"/>
              <a:gd name="T80" fmla="*/ 2147483647 w 266"/>
              <a:gd name="T81" fmla="*/ 2147483647 h 357"/>
              <a:gd name="T82" fmla="*/ 2147483647 w 266"/>
              <a:gd name="T83" fmla="*/ 2147483647 h 357"/>
              <a:gd name="T84" fmla="*/ 2147483647 w 266"/>
              <a:gd name="T85" fmla="*/ 2147483647 h 357"/>
              <a:gd name="T86" fmla="*/ 2147483647 w 266"/>
              <a:gd name="T87" fmla="*/ 2147483647 h 357"/>
              <a:gd name="T88" fmla="*/ 2147483647 w 266"/>
              <a:gd name="T89" fmla="*/ 2147483647 h 357"/>
              <a:gd name="T90" fmla="*/ 2147483647 w 266"/>
              <a:gd name="T91" fmla="*/ 2147483647 h 357"/>
              <a:gd name="T92" fmla="*/ 2147483647 w 266"/>
              <a:gd name="T93" fmla="*/ 2147483647 h 357"/>
              <a:gd name="T94" fmla="*/ 2147483647 w 266"/>
              <a:gd name="T95" fmla="*/ 2147483647 h 357"/>
              <a:gd name="T96" fmla="*/ 2147483647 w 266"/>
              <a:gd name="T97" fmla="*/ 2147483647 h 357"/>
              <a:gd name="T98" fmla="*/ 2147483647 w 266"/>
              <a:gd name="T99" fmla="*/ 2147483647 h 357"/>
              <a:gd name="T100" fmla="*/ 2147483647 w 266"/>
              <a:gd name="T101" fmla="*/ 2147483647 h 357"/>
              <a:gd name="T102" fmla="*/ 2147483647 w 266"/>
              <a:gd name="T103" fmla="*/ 2147483647 h 357"/>
              <a:gd name="T104" fmla="*/ 2147483647 w 266"/>
              <a:gd name="T105" fmla="*/ 2147483647 h 357"/>
              <a:gd name="T106" fmla="*/ 2147483647 w 266"/>
              <a:gd name="T107" fmla="*/ 2147483647 h 35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66"/>
              <a:gd name="T163" fmla="*/ 0 h 357"/>
              <a:gd name="T164" fmla="*/ 266 w 266"/>
              <a:gd name="T165" fmla="*/ 357 h 35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66" h="357">
                <a:moveTo>
                  <a:pt x="6" y="352"/>
                </a:moveTo>
                <a:lnTo>
                  <a:pt x="0" y="352"/>
                </a:lnTo>
                <a:lnTo>
                  <a:pt x="6" y="346"/>
                </a:lnTo>
                <a:lnTo>
                  <a:pt x="6" y="335"/>
                </a:lnTo>
                <a:lnTo>
                  <a:pt x="11" y="323"/>
                </a:lnTo>
                <a:lnTo>
                  <a:pt x="11" y="312"/>
                </a:lnTo>
                <a:lnTo>
                  <a:pt x="11" y="306"/>
                </a:lnTo>
                <a:lnTo>
                  <a:pt x="17" y="301"/>
                </a:lnTo>
                <a:lnTo>
                  <a:pt x="17" y="295"/>
                </a:lnTo>
                <a:lnTo>
                  <a:pt x="23" y="284"/>
                </a:lnTo>
                <a:lnTo>
                  <a:pt x="28" y="278"/>
                </a:lnTo>
                <a:lnTo>
                  <a:pt x="28" y="267"/>
                </a:lnTo>
                <a:lnTo>
                  <a:pt x="28" y="255"/>
                </a:lnTo>
                <a:lnTo>
                  <a:pt x="34" y="250"/>
                </a:lnTo>
                <a:lnTo>
                  <a:pt x="34" y="238"/>
                </a:lnTo>
                <a:lnTo>
                  <a:pt x="40" y="227"/>
                </a:lnTo>
                <a:lnTo>
                  <a:pt x="45" y="216"/>
                </a:lnTo>
                <a:lnTo>
                  <a:pt x="45" y="210"/>
                </a:lnTo>
                <a:lnTo>
                  <a:pt x="40" y="199"/>
                </a:lnTo>
                <a:lnTo>
                  <a:pt x="40" y="182"/>
                </a:lnTo>
                <a:lnTo>
                  <a:pt x="40" y="176"/>
                </a:lnTo>
                <a:lnTo>
                  <a:pt x="40" y="165"/>
                </a:lnTo>
                <a:lnTo>
                  <a:pt x="34" y="153"/>
                </a:lnTo>
                <a:lnTo>
                  <a:pt x="28" y="136"/>
                </a:lnTo>
                <a:lnTo>
                  <a:pt x="28" y="131"/>
                </a:lnTo>
                <a:lnTo>
                  <a:pt x="23" y="114"/>
                </a:lnTo>
                <a:lnTo>
                  <a:pt x="17" y="102"/>
                </a:lnTo>
                <a:lnTo>
                  <a:pt x="17" y="91"/>
                </a:lnTo>
                <a:lnTo>
                  <a:pt x="17" y="85"/>
                </a:lnTo>
                <a:lnTo>
                  <a:pt x="23" y="85"/>
                </a:lnTo>
                <a:lnTo>
                  <a:pt x="28" y="85"/>
                </a:lnTo>
                <a:lnTo>
                  <a:pt x="23" y="74"/>
                </a:lnTo>
                <a:lnTo>
                  <a:pt x="40" y="74"/>
                </a:lnTo>
                <a:lnTo>
                  <a:pt x="45" y="74"/>
                </a:lnTo>
                <a:lnTo>
                  <a:pt x="51" y="74"/>
                </a:lnTo>
                <a:lnTo>
                  <a:pt x="57" y="74"/>
                </a:lnTo>
                <a:lnTo>
                  <a:pt x="62" y="74"/>
                </a:lnTo>
                <a:lnTo>
                  <a:pt x="68" y="68"/>
                </a:lnTo>
                <a:lnTo>
                  <a:pt x="74" y="68"/>
                </a:lnTo>
                <a:lnTo>
                  <a:pt x="79" y="63"/>
                </a:lnTo>
                <a:lnTo>
                  <a:pt x="79" y="57"/>
                </a:lnTo>
                <a:lnTo>
                  <a:pt x="79" y="51"/>
                </a:lnTo>
                <a:lnTo>
                  <a:pt x="85" y="40"/>
                </a:lnTo>
                <a:lnTo>
                  <a:pt x="85" y="29"/>
                </a:lnTo>
                <a:lnTo>
                  <a:pt x="85" y="23"/>
                </a:lnTo>
                <a:lnTo>
                  <a:pt x="91" y="17"/>
                </a:lnTo>
                <a:lnTo>
                  <a:pt x="96" y="17"/>
                </a:lnTo>
                <a:lnTo>
                  <a:pt x="96" y="12"/>
                </a:lnTo>
                <a:lnTo>
                  <a:pt x="102" y="6"/>
                </a:lnTo>
                <a:lnTo>
                  <a:pt x="108" y="0"/>
                </a:lnTo>
                <a:lnTo>
                  <a:pt x="113" y="0"/>
                </a:lnTo>
                <a:lnTo>
                  <a:pt x="113" y="6"/>
                </a:lnTo>
                <a:lnTo>
                  <a:pt x="113" y="12"/>
                </a:lnTo>
                <a:lnTo>
                  <a:pt x="113" y="17"/>
                </a:lnTo>
                <a:lnTo>
                  <a:pt x="119" y="17"/>
                </a:lnTo>
                <a:lnTo>
                  <a:pt x="125" y="17"/>
                </a:lnTo>
                <a:lnTo>
                  <a:pt x="125" y="12"/>
                </a:lnTo>
                <a:lnTo>
                  <a:pt x="130" y="12"/>
                </a:lnTo>
                <a:lnTo>
                  <a:pt x="136" y="12"/>
                </a:lnTo>
                <a:lnTo>
                  <a:pt x="142" y="12"/>
                </a:lnTo>
                <a:lnTo>
                  <a:pt x="147" y="17"/>
                </a:lnTo>
                <a:lnTo>
                  <a:pt x="153" y="17"/>
                </a:lnTo>
                <a:lnTo>
                  <a:pt x="159" y="23"/>
                </a:lnTo>
                <a:lnTo>
                  <a:pt x="164" y="23"/>
                </a:lnTo>
                <a:lnTo>
                  <a:pt x="170" y="23"/>
                </a:lnTo>
                <a:lnTo>
                  <a:pt x="176" y="29"/>
                </a:lnTo>
                <a:lnTo>
                  <a:pt x="181" y="29"/>
                </a:lnTo>
                <a:lnTo>
                  <a:pt x="187" y="34"/>
                </a:lnTo>
                <a:lnTo>
                  <a:pt x="187" y="40"/>
                </a:lnTo>
                <a:lnTo>
                  <a:pt x="181" y="46"/>
                </a:lnTo>
                <a:lnTo>
                  <a:pt x="181" y="51"/>
                </a:lnTo>
                <a:lnTo>
                  <a:pt x="181" y="57"/>
                </a:lnTo>
                <a:lnTo>
                  <a:pt x="176" y="57"/>
                </a:lnTo>
                <a:lnTo>
                  <a:pt x="176" y="63"/>
                </a:lnTo>
                <a:lnTo>
                  <a:pt x="170" y="63"/>
                </a:lnTo>
                <a:lnTo>
                  <a:pt x="164" y="68"/>
                </a:lnTo>
                <a:lnTo>
                  <a:pt x="159" y="74"/>
                </a:lnTo>
                <a:lnTo>
                  <a:pt x="159" y="80"/>
                </a:lnTo>
                <a:lnTo>
                  <a:pt x="153" y="85"/>
                </a:lnTo>
                <a:lnTo>
                  <a:pt x="153" y="91"/>
                </a:lnTo>
                <a:lnTo>
                  <a:pt x="159" y="97"/>
                </a:lnTo>
                <a:lnTo>
                  <a:pt x="153" y="97"/>
                </a:lnTo>
                <a:lnTo>
                  <a:pt x="153" y="102"/>
                </a:lnTo>
                <a:lnTo>
                  <a:pt x="153" y="108"/>
                </a:lnTo>
                <a:lnTo>
                  <a:pt x="153" y="114"/>
                </a:lnTo>
                <a:lnTo>
                  <a:pt x="159" y="114"/>
                </a:lnTo>
                <a:lnTo>
                  <a:pt x="164" y="114"/>
                </a:lnTo>
                <a:lnTo>
                  <a:pt x="170" y="114"/>
                </a:lnTo>
                <a:lnTo>
                  <a:pt x="170" y="119"/>
                </a:lnTo>
                <a:lnTo>
                  <a:pt x="176" y="125"/>
                </a:lnTo>
                <a:lnTo>
                  <a:pt x="181" y="125"/>
                </a:lnTo>
                <a:lnTo>
                  <a:pt x="181" y="131"/>
                </a:lnTo>
                <a:lnTo>
                  <a:pt x="187" y="131"/>
                </a:lnTo>
                <a:lnTo>
                  <a:pt x="193" y="136"/>
                </a:lnTo>
                <a:lnTo>
                  <a:pt x="193" y="142"/>
                </a:lnTo>
                <a:lnTo>
                  <a:pt x="193" y="153"/>
                </a:lnTo>
                <a:lnTo>
                  <a:pt x="198" y="153"/>
                </a:lnTo>
                <a:lnTo>
                  <a:pt x="198" y="159"/>
                </a:lnTo>
                <a:lnTo>
                  <a:pt x="193" y="165"/>
                </a:lnTo>
                <a:lnTo>
                  <a:pt x="193" y="170"/>
                </a:lnTo>
                <a:lnTo>
                  <a:pt x="193" y="176"/>
                </a:lnTo>
                <a:lnTo>
                  <a:pt x="193" y="182"/>
                </a:lnTo>
                <a:lnTo>
                  <a:pt x="198" y="182"/>
                </a:lnTo>
                <a:lnTo>
                  <a:pt x="204" y="182"/>
                </a:lnTo>
                <a:lnTo>
                  <a:pt x="210" y="182"/>
                </a:lnTo>
                <a:lnTo>
                  <a:pt x="210" y="187"/>
                </a:lnTo>
                <a:lnTo>
                  <a:pt x="210" y="193"/>
                </a:lnTo>
                <a:lnTo>
                  <a:pt x="210" y="199"/>
                </a:lnTo>
                <a:lnTo>
                  <a:pt x="215" y="199"/>
                </a:lnTo>
                <a:lnTo>
                  <a:pt x="221" y="199"/>
                </a:lnTo>
                <a:lnTo>
                  <a:pt x="221" y="204"/>
                </a:lnTo>
                <a:lnTo>
                  <a:pt x="221" y="216"/>
                </a:lnTo>
                <a:lnTo>
                  <a:pt x="221" y="221"/>
                </a:lnTo>
                <a:lnTo>
                  <a:pt x="227" y="227"/>
                </a:lnTo>
                <a:lnTo>
                  <a:pt x="227" y="238"/>
                </a:lnTo>
                <a:lnTo>
                  <a:pt x="232" y="244"/>
                </a:lnTo>
                <a:lnTo>
                  <a:pt x="238" y="244"/>
                </a:lnTo>
                <a:lnTo>
                  <a:pt x="238" y="250"/>
                </a:lnTo>
                <a:lnTo>
                  <a:pt x="244" y="250"/>
                </a:lnTo>
                <a:lnTo>
                  <a:pt x="249" y="250"/>
                </a:lnTo>
                <a:lnTo>
                  <a:pt x="255" y="250"/>
                </a:lnTo>
                <a:lnTo>
                  <a:pt x="261" y="250"/>
                </a:lnTo>
                <a:lnTo>
                  <a:pt x="266" y="250"/>
                </a:lnTo>
                <a:lnTo>
                  <a:pt x="266" y="255"/>
                </a:lnTo>
                <a:lnTo>
                  <a:pt x="261" y="255"/>
                </a:lnTo>
                <a:lnTo>
                  <a:pt x="255" y="255"/>
                </a:lnTo>
                <a:lnTo>
                  <a:pt x="249" y="255"/>
                </a:lnTo>
                <a:lnTo>
                  <a:pt x="238" y="261"/>
                </a:lnTo>
                <a:lnTo>
                  <a:pt x="238" y="267"/>
                </a:lnTo>
                <a:lnTo>
                  <a:pt x="232" y="278"/>
                </a:lnTo>
                <a:lnTo>
                  <a:pt x="232" y="284"/>
                </a:lnTo>
                <a:lnTo>
                  <a:pt x="227" y="284"/>
                </a:lnTo>
                <a:lnTo>
                  <a:pt x="221" y="289"/>
                </a:lnTo>
                <a:lnTo>
                  <a:pt x="210" y="295"/>
                </a:lnTo>
                <a:lnTo>
                  <a:pt x="198" y="295"/>
                </a:lnTo>
                <a:lnTo>
                  <a:pt x="187" y="295"/>
                </a:lnTo>
                <a:lnTo>
                  <a:pt x="181" y="295"/>
                </a:lnTo>
                <a:lnTo>
                  <a:pt x="170" y="289"/>
                </a:lnTo>
                <a:lnTo>
                  <a:pt x="164" y="289"/>
                </a:lnTo>
                <a:lnTo>
                  <a:pt x="147" y="295"/>
                </a:lnTo>
                <a:lnTo>
                  <a:pt x="136" y="295"/>
                </a:lnTo>
                <a:lnTo>
                  <a:pt x="130" y="295"/>
                </a:lnTo>
                <a:lnTo>
                  <a:pt x="125" y="295"/>
                </a:lnTo>
                <a:lnTo>
                  <a:pt x="119" y="295"/>
                </a:lnTo>
                <a:lnTo>
                  <a:pt x="113" y="301"/>
                </a:lnTo>
                <a:lnTo>
                  <a:pt x="113" y="306"/>
                </a:lnTo>
                <a:lnTo>
                  <a:pt x="119" y="312"/>
                </a:lnTo>
                <a:lnTo>
                  <a:pt x="119" y="318"/>
                </a:lnTo>
                <a:lnTo>
                  <a:pt x="113" y="329"/>
                </a:lnTo>
                <a:lnTo>
                  <a:pt x="108" y="335"/>
                </a:lnTo>
                <a:lnTo>
                  <a:pt x="96" y="340"/>
                </a:lnTo>
                <a:lnTo>
                  <a:pt x="96" y="352"/>
                </a:lnTo>
                <a:lnTo>
                  <a:pt x="85" y="352"/>
                </a:lnTo>
                <a:lnTo>
                  <a:pt x="74" y="346"/>
                </a:lnTo>
                <a:lnTo>
                  <a:pt x="68" y="340"/>
                </a:lnTo>
                <a:lnTo>
                  <a:pt x="57" y="340"/>
                </a:lnTo>
                <a:lnTo>
                  <a:pt x="45" y="340"/>
                </a:lnTo>
                <a:lnTo>
                  <a:pt x="40" y="340"/>
                </a:lnTo>
                <a:lnTo>
                  <a:pt x="28" y="346"/>
                </a:lnTo>
                <a:lnTo>
                  <a:pt x="23" y="352"/>
                </a:lnTo>
                <a:lnTo>
                  <a:pt x="17" y="357"/>
                </a:lnTo>
                <a:lnTo>
                  <a:pt x="6" y="35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71" name="Freeform 32"/>
          <p:cNvSpPr>
            <a:spLocks/>
          </p:cNvSpPr>
          <p:nvPr/>
        </p:nvSpPr>
        <p:spPr bwMode="gray">
          <a:xfrm>
            <a:off x="3205665" y="5513612"/>
            <a:ext cx="490811" cy="471346"/>
          </a:xfrm>
          <a:custGeom>
            <a:avLst/>
            <a:gdLst>
              <a:gd name="T0" fmla="*/ 2147483647 w 289"/>
              <a:gd name="T1" fmla="*/ 2147483647 h 278"/>
              <a:gd name="T2" fmla="*/ 2147483647 w 289"/>
              <a:gd name="T3" fmla="*/ 2147483647 h 278"/>
              <a:gd name="T4" fmla="*/ 2147483647 w 289"/>
              <a:gd name="T5" fmla="*/ 2147483647 h 278"/>
              <a:gd name="T6" fmla="*/ 2147483647 w 289"/>
              <a:gd name="T7" fmla="*/ 2147483647 h 278"/>
              <a:gd name="T8" fmla="*/ 2147483647 w 289"/>
              <a:gd name="T9" fmla="*/ 2147483647 h 278"/>
              <a:gd name="T10" fmla="*/ 2147483647 w 289"/>
              <a:gd name="T11" fmla="*/ 2147483647 h 278"/>
              <a:gd name="T12" fmla="*/ 2147483647 w 289"/>
              <a:gd name="T13" fmla="*/ 2147483647 h 278"/>
              <a:gd name="T14" fmla="*/ 2147483647 w 289"/>
              <a:gd name="T15" fmla="*/ 2147483647 h 278"/>
              <a:gd name="T16" fmla="*/ 2147483647 w 289"/>
              <a:gd name="T17" fmla="*/ 2147483647 h 278"/>
              <a:gd name="T18" fmla="*/ 2147483647 w 289"/>
              <a:gd name="T19" fmla="*/ 2147483647 h 278"/>
              <a:gd name="T20" fmla="*/ 2147483647 w 289"/>
              <a:gd name="T21" fmla="*/ 2147483647 h 278"/>
              <a:gd name="T22" fmla="*/ 2147483647 w 289"/>
              <a:gd name="T23" fmla="*/ 2147483647 h 278"/>
              <a:gd name="T24" fmla="*/ 2147483647 w 289"/>
              <a:gd name="T25" fmla="*/ 2147483647 h 278"/>
              <a:gd name="T26" fmla="*/ 2147483647 w 289"/>
              <a:gd name="T27" fmla="*/ 2147483647 h 278"/>
              <a:gd name="T28" fmla="*/ 2147483647 w 289"/>
              <a:gd name="T29" fmla="*/ 2147483647 h 278"/>
              <a:gd name="T30" fmla="*/ 2147483647 w 289"/>
              <a:gd name="T31" fmla="*/ 2147483647 h 278"/>
              <a:gd name="T32" fmla="*/ 2147483647 w 289"/>
              <a:gd name="T33" fmla="*/ 2147483647 h 278"/>
              <a:gd name="T34" fmla="*/ 0 w 289"/>
              <a:gd name="T35" fmla="*/ 2147483647 h 278"/>
              <a:gd name="T36" fmla="*/ 2147483647 w 289"/>
              <a:gd name="T37" fmla="*/ 2147483647 h 278"/>
              <a:gd name="T38" fmla="*/ 2147483647 w 289"/>
              <a:gd name="T39" fmla="*/ 2147483647 h 278"/>
              <a:gd name="T40" fmla="*/ 2147483647 w 289"/>
              <a:gd name="T41" fmla="*/ 2147483647 h 278"/>
              <a:gd name="T42" fmla="*/ 2147483647 w 289"/>
              <a:gd name="T43" fmla="*/ 2147483647 h 278"/>
              <a:gd name="T44" fmla="*/ 2147483647 w 289"/>
              <a:gd name="T45" fmla="*/ 2147483647 h 278"/>
              <a:gd name="T46" fmla="*/ 2147483647 w 289"/>
              <a:gd name="T47" fmla="*/ 2147483647 h 278"/>
              <a:gd name="T48" fmla="*/ 2147483647 w 289"/>
              <a:gd name="T49" fmla="*/ 2147483647 h 278"/>
              <a:gd name="T50" fmla="*/ 2147483647 w 289"/>
              <a:gd name="T51" fmla="*/ 2147483647 h 278"/>
              <a:gd name="T52" fmla="*/ 2147483647 w 289"/>
              <a:gd name="T53" fmla="*/ 2147483647 h 278"/>
              <a:gd name="T54" fmla="*/ 2147483647 w 289"/>
              <a:gd name="T55" fmla="*/ 2147483647 h 278"/>
              <a:gd name="T56" fmla="*/ 2147483647 w 289"/>
              <a:gd name="T57" fmla="*/ 2147483647 h 278"/>
              <a:gd name="T58" fmla="*/ 2147483647 w 289"/>
              <a:gd name="T59" fmla="*/ 2147483647 h 278"/>
              <a:gd name="T60" fmla="*/ 2147483647 w 289"/>
              <a:gd name="T61" fmla="*/ 2147483647 h 278"/>
              <a:gd name="T62" fmla="*/ 2147483647 w 289"/>
              <a:gd name="T63" fmla="*/ 2147483647 h 278"/>
              <a:gd name="T64" fmla="*/ 2147483647 w 289"/>
              <a:gd name="T65" fmla="*/ 0 h 278"/>
              <a:gd name="T66" fmla="*/ 2147483647 w 289"/>
              <a:gd name="T67" fmla="*/ 2147483647 h 278"/>
              <a:gd name="T68" fmla="*/ 2147483647 w 289"/>
              <a:gd name="T69" fmla="*/ 2147483647 h 278"/>
              <a:gd name="T70" fmla="*/ 2147483647 w 289"/>
              <a:gd name="T71" fmla="*/ 2147483647 h 278"/>
              <a:gd name="T72" fmla="*/ 2147483647 w 289"/>
              <a:gd name="T73" fmla="*/ 2147483647 h 278"/>
              <a:gd name="T74" fmla="*/ 2147483647 w 289"/>
              <a:gd name="T75" fmla="*/ 2147483647 h 278"/>
              <a:gd name="T76" fmla="*/ 2147483647 w 289"/>
              <a:gd name="T77" fmla="*/ 2147483647 h 278"/>
              <a:gd name="T78" fmla="*/ 2147483647 w 289"/>
              <a:gd name="T79" fmla="*/ 2147483647 h 278"/>
              <a:gd name="T80" fmla="*/ 2147483647 w 289"/>
              <a:gd name="T81" fmla="*/ 2147483647 h 278"/>
              <a:gd name="T82" fmla="*/ 2147483647 w 289"/>
              <a:gd name="T83" fmla="*/ 2147483647 h 278"/>
              <a:gd name="T84" fmla="*/ 2147483647 w 289"/>
              <a:gd name="T85" fmla="*/ 2147483647 h 278"/>
              <a:gd name="T86" fmla="*/ 2147483647 w 289"/>
              <a:gd name="T87" fmla="*/ 2147483647 h 278"/>
              <a:gd name="T88" fmla="*/ 2147483647 w 289"/>
              <a:gd name="T89" fmla="*/ 2147483647 h 278"/>
              <a:gd name="T90" fmla="*/ 2147483647 w 289"/>
              <a:gd name="T91" fmla="*/ 2147483647 h 278"/>
              <a:gd name="T92" fmla="*/ 2147483647 w 289"/>
              <a:gd name="T93" fmla="*/ 2147483647 h 278"/>
              <a:gd name="T94" fmla="*/ 2147483647 w 289"/>
              <a:gd name="T95" fmla="*/ 2147483647 h 278"/>
              <a:gd name="T96" fmla="*/ 2147483647 w 289"/>
              <a:gd name="T97" fmla="*/ 2147483647 h 278"/>
              <a:gd name="T98" fmla="*/ 2147483647 w 289"/>
              <a:gd name="T99" fmla="*/ 2147483647 h 278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89"/>
              <a:gd name="T151" fmla="*/ 0 h 278"/>
              <a:gd name="T152" fmla="*/ 289 w 289"/>
              <a:gd name="T153" fmla="*/ 278 h 278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89" h="278">
                <a:moveTo>
                  <a:pt x="221" y="272"/>
                </a:moveTo>
                <a:lnTo>
                  <a:pt x="215" y="278"/>
                </a:lnTo>
                <a:lnTo>
                  <a:pt x="209" y="278"/>
                </a:lnTo>
                <a:lnTo>
                  <a:pt x="198" y="272"/>
                </a:lnTo>
                <a:lnTo>
                  <a:pt x="192" y="272"/>
                </a:lnTo>
                <a:lnTo>
                  <a:pt x="192" y="266"/>
                </a:lnTo>
                <a:lnTo>
                  <a:pt x="187" y="266"/>
                </a:lnTo>
                <a:lnTo>
                  <a:pt x="187" y="272"/>
                </a:lnTo>
                <a:lnTo>
                  <a:pt x="181" y="272"/>
                </a:lnTo>
                <a:lnTo>
                  <a:pt x="175" y="266"/>
                </a:lnTo>
                <a:lnTo>
                  <a:pt x="175" y="272"/>
                </a:lnTo>
                <a:lnTo>
                  <a:pt x="170" y="272"/>
                </a:lnTo>
                <a:lnTo>
                  <a:pt x="164" y="266"/>
                </a:lnTo>
                <a:lnTo>
                  <a:pt x="158" y="266"/>
                </a:lnTo>
                <a:lnTo>
                  <a:pt x="153" y="266"/>
                </a:lnTo>
                <a:lnTo>
                  <a:pt x="147" y="266"/>
                </a:lnTo>
                <a:lnTo>
                  <a:pt x="136" y="266"/>
                </a:lnTo>
                <a:lnTo>
                  <a:pt x="130" y="266"/>
                </a:lnTo>
                <a:lnTo>
                  <a:pt x="124" y="266"/>
                </a:lnTo>
                <a:lnTo>
                  <a:pt x="119" y="266"/>
                </a:lnTo>
                <a:lnTo>
                  <a:pt x="113" y="266"/>
                </a:lnTo>
                <a:lnTo>
                  <a:pt x="102" y="266"/>
                </a:lnTo>
                <a:lnTo>
                  <a:pt x="96" y="266"/>
                </a:lnTo>
                <a:lnTo>
                  <a:pt x="85" y="266"/>
                </a:lnTo>
                <a:lnTo>
                  <a:pt x="79" y="266"/>
                </a:lnTo>
                <a:lnTo>
                  <a:pt x="73" y="266"/>
                </a:lnTo>
                <a:lnTo>
                  <a:pt x="68" y="266"/>
                </a:lnTo>
                <a:lnTo>
                  <a:pt x="68" y="260"/>
                </a:lnTo>
                <a:lnTo>
                  <a:pt x="62" y="260"/>
                </a:lnTo>
                <a:lnTo>
                  <a:pt x="62" y="249"/>
                </a:lnTo>
                <a:lnTo>
                  <a:pt x="56" y="249"/>
                </a:lnTo>
                <a:lnTo>
                  <a:pt x="51" y="249"/>
                </a:lnTo>
                <a:lnTo>
                  <a:pt x="51" y="243"/>
                </a:lnTo>
                <a:lnTo>
                  <a:pt x="51" y="238"/>
                </a:lnTo>
                <a:lnTo>
                  <a:pt x="45" y="238"/>
                </a:lnTo>
                <a:lnTo>
                  <a:pt x="39" y="232"/>
                </a:lnTo>
                <a:lnTo>
                  <a:pt x="34" y="232"/>
                </a:lnTo>
                <a:lnTo>
                  <a:pt x="34" y="226"/>
                </a:lnTo>
                <a:lnTo>
                  <a:pt x="34" y="221"/>
                </a:lnTo>
                <a:lnTo>
                  <a:pt x="39" y="221"/>
                </a:lnTo>
                <a:lnTo>
                  <a:pt x="39" y="215"/>
                </a:lnTo>
                <a:lnTo>
                  <a:pt x="39" y="209"/>
                </a:lnTo>
                <a:lnTo>
                  <a:pt x="39" y="204"/>
                </a:lnTo>
                <a:lnTo>
                  <a:pt x="39" y="192"/>
                </a:lnTo>
                <a:lnTo>
                  <a:pt x="45" y="181"/>
                </a:lnTo>
                <a:lnTo>
                  <a:pt x="51" y="181"/>
                </a:lnTo>
                <a:lnTo>
                  <a:pt x="51" y="175"/>
                </a:lnTo>
                <a:lnTo>
                  <a:pt x="45" y="175"/>
                </a:lnTo>
                <a:lnTo>
                  <a:pt x="39" y="175"/>
                </a:lnTo>
                <a:lnTo>
                  <a:pt x="34" y="175"/>
                </a:lnTo>
                <a:lnTo>
                  <a:pt x="22" y="175"/>
                </a:lnTo>
                <a:lnTo>
                  <a:pt x="11" y="175"/>
                </a:lnTo>
                <a:lnTo>
                  <a:pt x="0" y="175"/>
                </a:lnTo>
                <a:lnTo>
                  <a:pt x="0" y="170"/>
                </a:lnTo>
                <a:lnTo>
                  <a:pt x="0" y="164"/>
                </a:lnTo>
                <a:lnTo>
                  <a:pt x="5" y="158"/>
                </a:lnTo>
                <a:lnTo>
                  <a:pt x="5" y="153"/>
                </a:lnTo>
                <a:lnTo>
                  <a:pt x="5" y="147"/>
                </a:lnTo>
                <a:lnTo>
                  <a:pt x="11" y="141"/>
                </a:lnTo>
                <a:lnTo>
                  <a:pt x="11" y="130"/>
                </a:lnTo>
                <a:lnTo>
                  <a:pt x="11" y="124"/>
                </a:lnTo>
                <a:lnTo>
                  <a:pt x="17" y="119"/>
                </a:lnTo>
                <a:lnTo>
                  <a:pt x="17" y="113"/>
                </a:lnTo>
                <a:lnTo>
                  <a:pt x="17" y="107"/>
                </a:lnTo>
                <a:lnTo>
                  <a:pt x="22" y="107"/>
                </a:lnTo>
                <a:lnTo>
                  <a:pt x="22" y="96"/>
                </a:lnTo>
                <a:lnTo>
                  <a:pt x="22" y="90"/>
                </a:lnTo>
                <a:lnTo>
                  <a:pt x="11" y="73"/>
                </a:lnTo>
                <a:lnTo>
                  <a:pt x="17" y="68"/>
                </a:lnTo>
                <a:lnTo>
                  <a:pt x="22" y="62"/>
                </a:lnTo>
                <a:lnTo>
                  <a:pt x="34" y="56"/>
                </a:lnTo>
                <a:lnTo>
                  <a:pt x="39" y="56"/>
                </a:lnTo>
                <a:lnTo>
                  <a:pt x="51" y="56"/>
                </a:lnTo>
                <a:lnTo>
                  <a:pt x="62" y="56"/>
                </a:lnTo>
                <a:lnTo>
                  <a:pt x="68" y="62"/>
                </a:lnTo>
                <a:lnTo>
                  <a:pt x="79" y="68"/>
                </a:lnTo>
                <a:lnTo>
                  <a:pt x="90" y="68"/>
                </a:lnTo>
                <a:lnTo>
                  <a:pt x="90" y="56"/>
                </a:lnTo>
                <a:lnTo>
                  <a:pt x="102" y="51"/>
                </a:lnTo>
                <a:lnTo>
                  <a:pt x="107" y="45"/>
                </a:lnTo>
                <a:lnTo>
                  <a:pt x="113" y="34"/>
                </a:lnTo>
                <a:lnTo>
                  <a:pt x="113" y="28"/>
                </a:lnTo>
                <a:lnTo>
                  <a:pt x="107" y="22"/>
                </a:lnTo>
                <a:lnTo>
                  <a:pt x="107" y="17"/>
                </a:lnTo>
                <a:lnTo>
                  <a:pt x="113" y="11"/>
                </a:lnTo>
                <a:lnTo>
                  <a:pt x="119" y="11"/>
                </a:lnTo>
                <a:lnTo>
                  <a:pt x="124" y="11"/>
                </a:lnTo>
                <a:lnTo>
                  <a:pt x="130" y="11"/>
                </a:lnTo>
                <a:lnTo>
                  <a:pt x="141" y="11"/>
                </a:lnTo>
                <a:lnTo>
                  <a:pt x="158" y="5"/>
                </a:lnTo>
                <a:lnTo>
                  <a:pt x="164" y="5"/>
                </a:lnTo>
                <a:lnTo>
                  <a:pt x="175" y="11"/>
                </a:lnTo>
                <a:lnTo>
                  <a:pt x="181" y="11"/>
                </a:lnTo>
                <a:lnTo>
                  <a:pt x="192" y="11"/>
                </a:lnTo>
                <a:lnTo>
                  <a:pt x="204" y="11"/>
                </a:lnTo>
                <a:lnTo>
                  <a:pt x="215" y="5"/>
                </a:lnTo>
                <a:lnTo>
                  <a:pt x="221" y="0"/>
                </a:lnTo>
                <a:lnTo>
                  <a:pt x="226" y="0"/>
                </a:lnTo>
                <a:lnTo>
                  <a:pt x="232" y="0"/>
                </a:lnTo>
                <a:lnTo>
                  <a:pt x="238" y="5"/>
                </a:lnTo>
                <a:lnTo>
                  <a:pt x="243" y="11"/>
                </a:lnTo>
                <a:lnTo>
                  <a:pt x="249" y="11"/>
                </a:lnTo>
                <a:lnTo>
                  <a:pt x="260" y="11"/>
                </a:lnTo>
                <a:lnTo>
                  <a:pt x="266" y="17"/>
                </a:lnTo>
                <a:lnTo>
                  <a:pt x="272" y="17"/>
                </a:lnTo>
                <a:lnTo>
                  <a:pt x="272" y="22"/>
                </a:lnTo>
                <a:lnTo>
                  <a:pt x="278" y="22"/>
                </a:lnTo>
                <a:lnTo>
                  <a:pt x="278" y="28"/>
                </a:lnTo>
                <a:lnTo>
                  <a:pt x="278" y="34"/>
                </a:lnTo>
                <a:lnTo>
                  <a:pt x="278" y="39"/>
                </a:lnTo>
                <a:lnTo>
                  <a:pt x="278" y="45"/>
                </a:lnTo>
                <a:lnTo>
                  <a:pt x="278" y="56"/>
                </a:lnTo>
                <a:lnTo>
                  <a:pt x="278" y="68"/>
                </a:lnTo>
                <a:lnTo>
                  <a:pt x="278" y="73"/>
                </a:lnTo>
                <a:lnTo>
                  <a:pt x="278" y="79"/>
                </a:lnTo>
                <a:lnTo>
                  <a:pt x="278" y="85"/>
                </a:lnTo>
                <a:lnTo>
                  <a:pt x="278" y="90"/>
                </a:lnTo>
                <a:lnTo>
                  <a:pt x="272" y="85"/>
                </a:lnTo>
                <a:lnTo>
                  <a:pt x="272" y="90"/>
                </a:lnTo>
                <a:lnTo>
                  <a:pt x="272" y="96"/>
                </a:lnTo>
                <a:lnTo>
                  <a:pt x="278" y="96"/>
                </a:lnTo>
                <a:lnTo>
                  <a:pt x="278" y="102"/>
                </a:lnTo>
                <a:lnTo>
                  <a:pt x="283" y="107"/>
                </a:lnTo>
                <a:lnTo>
                  <a:pt x="283" y="113"/>
                </a:lnTo>
                <a:lnTo>
                  <a:pt x="289" y="113"/>
                </a:lnTo>
                <a:lnTo>
                  <a:pt x="289" y="119"/>
                </a:lnTo>
                <a:lnTo>
                  <a:pt x="289" y="124"/>
                </a:lnTo>
                <a:lnTo>
                  <a:pt x="283" y="136"/>
                </a:lnTo>
                <a:lnTo>
                  <a:pt x="278" y="141"/>
                </a:lnTo>
                <a:lnTo>
                  <a:pt x="278" y="147"/>
                </a:lnTo>
                <a:lnTo>
                  <a:pt x="272" y="153"/>
                </a:lnTo>
                <a:lnTo>
                  <a:pt x="272" y="158"/>
                </a:lnTo>
                <a:lnTo>
                  <a:pt x="272" y="164"/>
                </a:lnTo>
                <a:lnTo>
                  <a:pt x="266" y="164"/>
                </a:lnTo>
                <a:lnTo>
                  <a:pt x="266" y="170"/>
                </a:lnTo>
                <a:lnTo>
                  <a:pt x="260" y="175"/>
                </a:lnTo>
                <a:lnTo>
                  <a:pt x="260" y="181"/>
                </a:lnTo>
                <a:lnTo>
                  <a:pt x="255" y="181"/>
                </a:lnTo>
                <a:lnTo>
                  <a:pt x="249" y="187"/>
                </a:lnTo>
                <a:lnTo>
                  <a:pt x="249" y="198"/>
                </a:lnTo>
                <a:lnTo>
                  <a:pt x="243" y="204"/>
                </a:lnTo>
                <a:lnTo>
                  <a:pt x="243" y="209"/>
                </a:lnTo>
                <a:lnTo>
                  <a:pt x="243" y="215"/>
                </a:lnTo>
                <a:lnTo>
                  <a:pt x="238" y="221"/>
                </a:lnTo>
                <a:lnTo>
                  <a:pt x="232" y="226"/>
                </a:lnTo>
                <a:lnTo>
                  <a:pt x="232" y="232"/>
                </a:lnTo>
                <a:lnTo>
                  <a:pt x="226" y="238"/>
                </a:lnTo>
                <a:lnTo>
                  <a:pt x="226" y="249"/>
                </a:lnTo>
                <a:lnTo>
                  <a:pt x="221" y="249"/>
                </a:lnTo>
                <a:lnTo>
                  <a:pt x="221" y="260"/>
                </a:lnTo>
                <a:lnTo>
                  <a:pt x="221" y="266"/>
                </a:lnTo>
                <a:lnTo>
                  <a:pt x="221" y="27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72" name="Rectangle 3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56254" y="3207096"/>
            <a:ext cx="1007392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Adamwar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73" name="Rectangle 3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997712" y="1903201"/>
            <a:ext cx="570669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Born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74" name="Rectangle 3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001007" y="5617276"/>
            <a:ext cx="1029577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Cross River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75" name="Rectangle 3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591745" y="5761433"/>
            <a:ext cx="495713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Delt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76" name="Rectangle 3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658159" y="5128113"/>
            <a:ext cx="352469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Ed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77" name="Rectangle 3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443781" y="3756189"/>
            <a:ext cx="277384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Fct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78" name="Rectangle 3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909737" y="1556575"/>
            <a:ext cx="613501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Jigaw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79" name="Rectangle 4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707815" y="2842653"/>
            <a:ext cx="70307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adun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0" name="Rectangle 4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240742" y="1977709"/>
            <a:ext cx="470642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an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1" name="Rectangle 4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403285" y="1499884"/>
            <a:ext cx="676917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atsin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2" name="Rectangle 4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550188" y="2133205"/>
            <a:ext cx="528030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ebbi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3" name="Rectangle 4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095516" y="4417045"/>
            <a:ext cx="399789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ogi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4" name="Rectangle 4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836899" y="3678441"/>
            <a:ext cx="568682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war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5" name="Rectangle 4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54947" y="5128113"/>
            <a:ext cx="52738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Lagos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6" name="Rectangle 4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321233" y="3033783"/>
            <a:ext cx="504625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Niger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7" name="Rectangle 4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078814" y="4841418"/>
            <a:ext cx="504946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Ogun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8" name="Rectangle 49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172207" y="4744233"/>
            <a:ext cx="517770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Ond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89" name="Rectangle 5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788304" y="4532047"/>
            <a:ext cx="485710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Osun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90" name="Rectangle 51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245658" y="3963516"/>
            <a:ext cx="375616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Oy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91" name="Rectangle 52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3226723" y="6202004"/>
            <a:ext cx="561244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Rivers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92" name="Rectangle 53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596605" y="1558195"/>
            <a:ext cx="762516" cy="27699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Zamfara</a:t>
            </a:r>
          </a:p>
        </p:txBody>
      </p:sp>
      <p:sp>
        <p:nvSpPr>
          <p:cNvPr id="14393" name="Rectangle 54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5742335" y="4763670"/>
            <a:ext cx="62324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Tarab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94" name="Rectangle 55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5922137" y="1624605"/>
            <a:ext cx="454035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Yobe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395" name="Freeform 56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046921" y="5910450"/>
            <a:ext cx="77752" cy="586348"/>
          </a:xfrm>
          <a:custGeom>
            <a:avLst/>
            <a:gdLst>
              <a:gd name="T0" fmla="*/ 2147483647 w 36"/>
              <a:gd name="T1" fmla="*/ 0 h 273"/>
              <a:gd name="T2" fmla="*/ 2147483647 w 36"/>
              <a:gd name="T3" fmla="*/ 2147483647 h 273"/>
              <a:gd name="T4" fmla="*/ 2147483647 w 36"/>
              <a:gd name="T5" fmla="*/ 2147483647 h 273"/>
              <a:gd name="T6" fmla="*/ 2147483647 w 36"/>
              <a:gd name="T7" fmla="*/ 2147483647 h 273"/>
              <a:gd name="T8" fmla="*/ 0 w 36"/>
              <a:gd name="T9" fmla="*/ 2147483647 h 273"/>
              <a:gd name="T10" fmla="*/ 2147483647 w 36"/>
              <a:gd name="T11" fmla="*/ 2147483647 h 273"/>
              <a:gd name="T12" fmla="*/ 2147483647 w 36"/>
              <a:gd name="T13" fmla="*/ 2147483647 h 273"/>
              <a:gd name="T14" fmla="*/ 2147483647 w 36"/>
              <a:gd name="T15" fmla="*/ 2147483647 h 273"/>
              <a:gd name="T16" fmla="*/ 2147483647 w 36"/>
              <a:gd name="T17" fmla="*/ 2147483647 h 273"/>
              <a:gd name="T18" fmla="*/ 2147483647 w 36"/>
              <a:gd name="T19" fmla="*/ 2147483647 h 2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6"/>
              <a:gd name="T31" fmla="*/ 0 h 273"/>
              <a:gd name="T32" fmla="*/ 36 w 36"/>
              <a:gd name="T33" fmla="*/ 273 h 2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6" h="273">
                <a:moveTo>
                  <a:pt x="24" y="0"/>
                </a:moveTo>
                <a:lnTo>
                  <a:pt x="30" y="42"/>
                </a:lnTo>
                <a:lnTo>
                  <a:pt x="21" y="90"/>
                </a:lnTo>
                <a:lnTo>
                  <a:pt x="9" y="126"/>
                </a:lnTo>
                <a:lnTo>
                  <a:pt x="0" y="165"/>
                </a:lnTo>
                <a:lnTo>
                  <a:pt x="36" y="180"/>
                </a:lnTo>
                <a:lnTo>
                  <a:pt x="21" y="204"/>
                </a:lnTo>
                <a:lnTo>
                  <a:pt x="12" y="237"/>
                </a:lnTo>
                <a:lnTo>
                  <a:pt x="12" y="261"/>
                </a:lnTo>
                <a:lnTo>
                  <a:pt x="33" y="273"/>
                </a:lnTo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96" name="Freeform 57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702453" y="724027"/>
            <a:ext cx="1529129" cy="1099806"/>
          </a:xfrm>
          <a:custGeom>
            <a:avLst/>
            <a:gdLst>
              <a:gd name="T0" fmla="*/ 2147483647 w 713"/>
              <a:gd name="T1" fmla="*/ 2147483647 h 513"/>
              <a:gd name="T2" fmla="*/ 2147483647 w 713"/>
              <a:gd name="T3" fmla="*/ 2147483647 h 513"/>
              <a:gd name="T4" fmla="*/ 2147483647 w 713"/>
              <a:gd name="T5" fmla="*/ 2147483647 h 513"/>
              <a:gd name="T6" fmla="*/ 2147483647 w 713"/>
              <a:gd name="T7" fmla="*/ 2147483647 h 513"/>
              <a:gd name="T8" fmla="*/ 2147483647 w 713"/>
              <a:gd name="T9" fmla="*/ 2147483647 h 513"/>
              <a:gd name="T10" fmla="*/ 2147483647 w 713"/>
              <a:gd name="T11" fmla="*/ 2147483647 h 513"/>
              <a:gd name="T12" fmla="*/ 2147483647 w 713"/>
              <a:gd name="T13" fmla="*/ 2147483647 h 513"/>
              <a:gd name="T14" fmla="*/ 2147483647 w 713"/>
              <a:gd name="T15" fmla="*/ 2147483647 h 513"/>
              <a:gd name="T16" fmla="*/ 2147483647 w 713"/>
              <a:gd name="T17" fmla="*/ 2147483647 h 513"/>
              <a:gd name="T18" fmla="*/ 2147483647 w 713"/>
              <a:gd name="T19" fmla="*/ 2147483647 h 513"/>
              <a:gd name="T20" fmla="*/ 2147483647 w 713"/>
              <a:gd name="T21" fmla="*/ 2147483647 h 513"/>
              <a:gd name="T22" fmla="*/ 2147483647 w 713"/>
              <a:gd name="T23" fmla="*/ 2147483647 h 513"/>
              <a:gd name="T24" fmla="*/ 2147483647 w 713"/>
              <a:gd name="T25" fmla="*/ 2147483647 h 513"/>
              <a:gd name="T26" fmla="*/ 2147483647 w 713"/>
              <a:gd name="T27" fmla="*/ 2147483647 h 513"/>
              <a:gd name="T28" fmla="*/ 2147483647 w 713"/>
              <a:gd name="T29" fmla="*/ 2147483647 h 513"/>
              <a:gd name="T30" fmla="*/ 2147483647 w 713"/>
              <a:gd name="T31" fmla="*/ 2147483647 h 513"/>
              <a:gd name="T32" fmla="*/ 2147483647 w 713"/>
              <a:gd name="T33" fmla="*/ 2147483647 h 513"/>
              <a:gd name="T34" fmla="*/ 2147483647 w 713"/>
              <a:gd name="T35" fmla="*/ 2147483647 h 513"/>
              <a:gd name="T36" fmla="*/ 2147483647 w 713"/>
              <a:gd name="T37" fmla="*/ 2147483647 h 513"/>
              <a:gd name="T38" fmla="*/ 2147483647 w 713"/>
              <a:gd name="T39" fmla="*/ 2147483647 h 513"/>
              <a:gd name="T40" fmla="*/ 2147483647 w 713"/>
              <a:gd name="T41" fmla="*/ 2147483647 h 513"/>
              <a:gd name="T42" fmla="*/ 2147483647 w 713"/>
              <a:gd name="T43" fmla="*/ 2147483647 h 513"/>
              <a:gd name="T44" fmla="*/ 2147483647 w 713"/>
              <a:gd name="T45" fmla="*/ 2147483647 h 513"/>
              <a:gd name="T46" fmla="*/ 2147483647 w 713"/>
              <a:gd name="T47" fmla="*/ 2147483647 h 513"/>
              <a:gd name="T48" fmla="*/ 2147483647 w 713"/>
              <a:gd name="T49" fmla="*/ 2147483647 h 513"/>
              <a:gd name="T50" fmla="*/ 2147483647 w 713"/>
              <a:gd name="T51" fmla="*/ 2147483647 h 513"/>
              <a:gd name="T52" fmla="*/ 2147483647 w 713"/>
              <a:gd name="T53" fmla="*/ 2147483647 h 513"/>
              <a:gd name="T54" fmla="*/ 2147483647 w 713"/>
              <a:gd name="T55" fmla="*/ 2147483647 h 513"/>
              <a:gd name="T56" fmla="*/ 2147483647 w 713"/>
              <a:gd name="T57" fmla="*/ 2147483647 h 513"/>
              <a:gd name="T58" fmla="*/ 2147483647 w 713"/>
              <a:gd name="T59" fmla="*/ 2147483647 h 513"/>
              <a:gd name="T60" fmla="*/ 2147483647 w 713"/>
              <a:gd name="T61" fmla="*/ 2147483647 h 513"/>
              <a:gd name="T62" fmla="*/ 2147483647 w 713"/>
              <a:gd name="T63" fmla="*/ 2147483647 h 513"/>
              <a:gd name="T64" fmla="*/ 2147483647 w 713"/>
              <a:gd name="T65" fmla="*/ 2147483647 h 513"/>
              <a:gd name="T66" fmla="*/ 2147483647 w 713"/>
              <a:gd name="T67" fmla="*/ 2147483647 h 513"/>
              <a:gd name="T68" fmla="*/ 2147483647 w 713"/>
              <a:gd name="T69" fmla="*/ 2147483647 h 513"/>
              <a:gd name="T70" fmla="*/ 2147483647 w 713"/>
              <a:gd name="T71" fmla="*/ 2147483647 h 513"/>
              <a:gd name="T72" fmla="*/ 2147483647 w 713"/>
              <a:gd name="T73" fmla="*/ 2147483647 h 513"/>
              <a:gd name="T74" fmla="*/ 2147483647 w 713"/>
              <a:gd name="T75" fmla="*/ 2147483647 h 513"/>
              <a:gd name="T76" fmla="*/ 2147483647 w 713"/>
              <a:gd name="T77" fmla="*/ 2147483647 h 513"/>
              <a:gd name="T78" fmla="*/ 2147483647 w 713"/>
              <a:gd name="T79" fmla="*/ 2147483647 h 513"/>
              <a:gd name="T80" fmla="*/ 2147483647 w 713"/>
              <a:gd name="T81" fmla="*/ 2147483647 h 513"/>
              <a:gd name="T82" fmla="*/ 2147483647 w 713"/>
              <a:gd name="T83" fmla="*/ 2147483647 h 513"/>
              <a:gd name="T84" fmla="*/ 2147483647 w 713"/>
              <a:gd name="T85" fmla="*/ 2147483647 h 513"/>
              <a:gd name="T86" fmla="*/ 2147483647 w 713"/>
              <a:gd name="T87" fmla="*/ 2147483647 h 513"/>
              <a:gd name="T88" fmla="*/ 2147483647 w 713"/>
              <a:gd name="T89" fmla="*/ 2147483647 h 513"/>
              <a:gd name="T90" fmla="*/ 2147483647 w 713"/>
              <a:gd name="T91" fmla="*/ 2147483647 h 513"/>
              <a:gd name="T92" fmla="*/ 2147483647 w 713"/>
              <a:gd name="T93" fmla="*/ 2147483647 h 513"/>
              <a:gd name="T94" fmla="*/ 2147483647 w 713"/>
              <a:gd name="T95" fmla="*/ 2147483647 h 513"/>
              <a:gd name="T96" fmla="*/ 2147483647 w 713"/>
              <a:gd name="T97" fmla="*/ 2147483647 h 513"/>
              <a:gd name="T98" fmla="*/ 2147483647 w 713"/>
              <a:gd name="T99" fmla="*/ 2147483647 h 513"/>
              <a:gd name="T100" fmla="*/ 2147483647 w 713"/>
              <a:gd name="T101" fmla="*/ 2147483647 h 513"/>
              <a:gd name="T102" fmla="*/ 2147483647 w 713"/>
              <a:gd name="T103" fmla="*/ 2147483647 h 513"/>
              <a:gd name="T104" fmla="*/ 2147483647 w 713"/>
              <a:gd name="T105" fmla="*/ 2147483647 h 513"/>
              <a:gd name="T106" fmla="*/ 2147483647 w 713"/>
              <a:gd name="T107" fmla="*/ 2147483647 h 513"/>
              <a:gd name="T108" fmla="*/ 2147483647 w 713"/>
              <a:gd name="T109" fmla="*/ 2147483647 h 513"/>
              <a:gd name="T110" fmla="*/ 2147483647 w 713"/>
              <a:gd name="T111" fmla="*/ 2147483647 h 51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713"/>
              <a:gd name="T169" fmla="*/ 0 h 513"/>
              <a:gd name="T170" fmla="*/ 713 w 713"/>
              <a:gd name="T171" fmla="*/ 513 h 51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713" h="513">
                <a:moveTo>
                  <a:pt x="120" y="513"/>
                </a:moveTo>
                <a:lnTo>
                  <a:pt x="123" y="433"/>
                </a:lnTo>
                <a:lnTo>
                  <a:pt x="135" y="421"/>
                </a:lnTo>
                <a:lnTo>
                  <a:pt x="149" y="411"/>
                </a:lnTo>
                <a:lnTo>
                  <a:pt x="162" y="409"/>
                </a:lnTo>
                <a:lnTo>
                  <a:pt x="180" y="418"/>
                </a:lnTo>
                <a:lnTo>
                  <a:pt x="188" y="400"/>
                </a:lnTo>
                <a:lnTo>
                  <a:pt x="186" y="366"/>
                </a:lnTo>
                <a:lnTo>
                  <a:pt x="182" y="355"/>
                </a:lnTo>
                <a:lnTo>
                  <a:pt x="179" y="345"/>
                </a:lnTo>
                <a:lnTo>
                  <a:pt x="185" y="334"/>
                </a:lnTo>
                <a:lnTo>
                  <a:pt x="188" y="312"/>
                </a:lnTo>
                <a:lnTo>
                  <a:pt x="186" y="298"/>
                </a:lnTo>
                <a:lnTo>
                  <a:pt x="174" y="279"/>
                </a:lnTo>
                <a:lnTo>
                  <a:pt x="165" y="268"/>
                </a:lnTo>
                <a:lnTo>
                  <a:pt x="174" y="255"/>
                </a:lnTo>
                <a:lnTo>
                  <a:pt x="176" y="241"/>
                </a:lnTo>
                <a:lnTo>
                  <a:pt x="180" y="228"/>
                </a:lnTo>
                <a:lnTo>
                  <a:pt x="188" y="216"/>
                </a:lnTo>
                <a:lnTo>
                  <a:pt x="182" y="208"/>
                </a:lnTo>
                <a:lnTo>
                  <a:pt x="164" y="223"/>
                </a:lnTo>
                <a:lnTo>
                  <a:pt x="155" y="232"/>
                </a:lnTo>
                <a:lnTo>
                  <a:pt x="141" y="229"/>
                </a:lnTo>
                <a:lnTo>
                  <a:pt x="120" y="216"/>
                </a:lnTo>
                <a:lnTo>
                  <a:pt x="95" y="213"/>
                </a:lnTo>
                <a:lnTo>
                  <a:pt x="83" y="201"/>
                </a:lnTo>
                <a:lnTo>
                  <a:pt x="71" y="192"/>
                </a:lnTo>
                <a:lnTo>
                  <a:pt x="59" y="180"/>
                </a:lnTo>
                <a:lnTo>
                  <a:pt x="48" y="175"/>
                </a:lnTo>
                <a:lnTo>
                  <a:pt x="36" y="184"/>
                </a:lnTo>
                <a:lnTo>
                  <a:pt x="14" y="184"/>
                </a:lnTo>
                <a:lnTo>
                  <a:pt x="3" y="181"/>
                </a:lnTo>
                <a:lnTo>
                  <a:pt x="0" y="115"/>
                </a:lnTo>
                <a:lnTo>
                  <a:pt x="20" y="117"/>
                </a:lnTo>
                <a:lnTo>
                  <a:pt x="48" y="93"/>
                </a:lnTo>
                <a:lnTo>
                  <a:pt x="66" y="82"/>
                </a:lnTo>
                <a:lnTo>
                  <a:pt x="84" y="63"/>
                </a:lnTo>
                <a:lnTo>
                  <a:pt x="99" y="52"/>
                </a:lnTo>
                <a:lnTo>
                  <a:pt x="120" y="51"/>
                </a:lnTo>
                <a:lnTo>
                  <a:pt x="143" y="40"/>
                </a:lnTo>
                <a:lnTo>
                  <a:pt x="164" y="40"/>
                </a:lnTo>
                <a:lnTo>
                  <a:pt x="194" y="31"/>
                </a:lnTo>
                <a:lnTo>
                  <a:pt x="213" y="30"/>
                </a:lnTo>
                <a:lnTo>
                  <a:pt x="221" y="40"/>
                </a:lnTo>
                <a:lnTo>
                  <a:pt x="243" y="40"/>
                </a:lnTo>
                <a:lnTo>
                  <a:pt x="267" y="37"/>
                </a:lnTo>
                <a:lnTo>
                  <a:pt x="300" y="40"/>
                </a:lnTo>
                <a:lnTo>
                  <a:pt x="326" y="34"/>
                </a:lnTo>
                <a:lnTo>
                  <a:pt x="342" y="19"/>
                </a:lnTo>
                <a:lnTo>
                  <a:pt x="365" y="4"/>
                </a:lnTo>
                <a:lnTo>
                  <a:pt x="395" y="0"/>
                </a:lnTo>
                <a:lnTo>
                  <a:pt x="425" y="15"/>
                </a:lnTo>
                <a:lnTo>
                  <a:pt x="449" y="22"/>
                </a:lnTo>
                <a:lnTo>
                  <a:pt x="477" y="34"/>
                </a:lnTo>
                <a:lnTo>
                  <a:pt x="521" y="46"/>
                </a:lnTo>
                <a:lnTo>
                  <a:pt x="540" y="57"/>
                </a:lnTo>
                <a:lnTo>
                  <a:pt x="564" y="66"/>
                </a:lnTo>
                <a:lnTo>
                  <a:pt x="593" y="61"/>
                </a:lnTo>
                <a:lnTo>
                  <a:pt x="618" y="67"/>
                </a:lnTo>
                <a:lnTo>
                  <a:pt x="642" y="78"/>
                </a:lnTo>
                <a:lnTo>
                  <a:pt x="666" y="102"/>
                </a:lnTo>
                <a:lnTo>
                  <a:pt x="681" y="112"/>
                </a:lnTo>
                <a:lnTo>
                  <a:pt x="695" y="129"/>
                </a:lnTo>
                <a:lnTo>
                  <a:pt x="704" y="138"/>
                </a:lnTo>
                <a:lnTo>
                  <a:pt x="713" y="148"/>
                </a:lnTo>
                <a:lnTo>
                  <a:pt x="684" y="160"/>
                </a:lnTo>
                <a:lnTo>
                  <a:pt x="672" y="171"/>
                </a:lnTo>
                <a:lnTo>
                  <a:pt x="659" y="183"/>
                </a:lnTo>
                <a:lnTo>
                  <a:pt x="638" y="180"/>
                </a:lnTo>
                <a:lnTo>
                  <a:pt x="590" y="169"/>
                </a:lnTo>
                <a:lnTo>
                  <a:pt x="564" y="163"/>
                </a:lnTo>
                <a:lnTo>
                  <a:pt x="555" y="154"/>
                </a:lnTo>
                <a:lnTo>
                  <a:pt x="534" y="157"/>
                </a:lnTo>
                <a:lnTo>
                  <a:pt x="519" y="157"/>
                </a:lnTo>
                <a:lnTo>
                  <a:pt x="519" y="172"/>
                </a:lnTo>
                <a:lnTo>
                  <a:pt x="522" y="193"/>
                </a:lnTo>
                <a:lnTo>
                  <a:pt x="521" y="214"/>
                </a:lnTo>
                <a:lnTo>
                  <a:pt x="524" y="225"/>
                </a:lnTo>
                <a:lnTo>
                  <a:pt x="534" y="237"/>
                </a:lnTo>
                <a:lnTo>
                  <a:pt x="548" y="246"/>
                </a:lnTo>
                <a:lnTo>
                  <a:pt x="539" y="262"/>
                </a:lnTo>
                <a:lnTo>
                  <a:pt x="533" y="270"/>
                </a:lnTo>
                <a:lnTo>
                  <a:pt x="524" y="280"/>
                </a:lnTo>
                <a:lnTo>
                  <a:pt x="510" y="297"/>
                </a:lnTo>
                <a:lnTo>
                  <a:pt x="503" y="307"/>
                </a:lnTo>
                <a:lnTo>
                  <a:pt x="482" y="309"/>
                </a:lnTo>
                <a:lnTo>
                  <a:pt x="468" y="306"/>
                </a:lnTo>
                <a:lnTo>
                  <a:pt x="455" y="307"/>
                </a:lnTo>
                <a:lnTo>
                  <a:pt x="437" y="322"/>
                </a:lnTo>
                <a:lnTo>
                  <a:pt x="423" y="336"/>
                </a:lnTo>
                <a:lnTo>
                  <a:pt x="410" y="346"/>
                </a:lnTo>
                <a:lnTo>
                  <a:pt x="399" y="355"/>
                </a:lnTo>
                <a:lnTo>
                  <a:pt x="387" y="364"/>
                </a:lnTo>
                <a:lnTo>
                  <a:pt x="378" y="375"/>
                </a:lnTo>
                <a:lnTo>
                  <a:pt x="383" y="384"/>
                </a:lnTo>
                <a:lnTo>
                  <a:pt x="377" y="399"/>
                </a:lnTo>
                <a:lnTo>
                  <a:pt x="375" y="421"/>
                </a:lnTo>
                <a:lnTo>
                  <a:pt x="371" y="433"/>
                </a:lnTo>
                <a:lnTo>
                  <a:pt x="369" y="444"/>
                </a:lnTo>
                <a:lnTo>
                  <a:pt x="366" y="456"/>
                </a:lnTo>
                <a:lnTo>
                  <a:pt x="351" y="459"/>
                </a:lnTo>
                <a:lnTo>
                  <a:pt x="330" y="459"/>
                </a:lnTo>
                <a:lnTo>
                  <a:pt x="306" y="460"/>
                </a:lnTo>
                <a:lnTo>
                  <a:pt x="293" y="453"/>
                </a:lnTo>
                <a:lnTo>
                  <a:pt x="282" y="447"/>
                </a:lnTo>
                <a:lnTo>
                  <a:pt x="264" y="448"/>
                </a:lnTo>
                <a:lnTo>
                  <a:pt x="246" y="456"/>
                </a:lnTo>
                <a:lnTo>
                  <a:pt x="228" y="456"/>
                </a:lnTo>
                <a:lnTo>
                  <a:pt x="204" y="462"/>
                </a:lnTo>
                <a:lnTo>
                  <a:pt x="174" y="472"/>
                </a:lnTo>
                <a:lnTo>
                  <a:pt x="153" y="490"/>
                </a:lnTo>
                <a:lnTo>
                  <a:pt x="143" y="502"/>
                </a:lnTo>
                <a:lnTo>
                  <a:pt x="120" y="51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97" name="Rectangle 58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2175447" y="1109526"/>
            <a:ext cx="642420" cy="27699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Sokoto</a:t>
            </a:r>
          </a:p>
        </p:txBody>
      </p:sp>
      <p:sp>
        <p:nvSpPr>
          <p:cNvPr id="14398" name="Freeform 59"/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2165728" y="4235634"/>
            <a:ext cx="578283" cy="489163"/>
          </a:xfrm>
          <a:custGeom>
            <a:avLst/>
            <a:gdLst>
              <a:gd name="T0" fmla="*/ 2147483647 w 270"/>
              <a:gd name="T1" fmla="*/ 2147483647 h 228"/>
              <a:gd name="T2" fmla="*/ 2147483647 w 270"/>
              <a:gd name="T3" fmla="*/ 2147483647 h 228"/>
              <a:gd name="T4" fmla="*/ 2147483647 w 270"/>
              <a:gd name="T5" fmla="*/ 2147483647 h 228"/>
              <a:gd name="T6" fmla="*/ 2147483647 w 270"/>
              <a:gd name="T7" fmla="*/ 2147483647 h 228"/>
              <a:gd name="T8" fmla="*/ 2147483647 w 270"/>
              <a:gd name="T9" fmla="*/ 2147483647 h 228"/>
              <a:gd name="T10" fmla="*/ 0 w 270"/>
              <a:gd name="T11" fmla="*/ 2147483647 h 228"/>
              <a:gd name="T12" fmla="*/ 2147483647 w 270"/>
              <a:gd name="T13" fmla="*/ 2147483647 h 228"/>
              <a:gd name="T14" fmla="*/ 2147483647 w 270"/>
              <a:gd name="T15" fmla="*/ 2147483647 h 228"/>
              <a:gd name="T16" fmla="*/ 2147483647 w 270"/>
              <a:gd name="T17" fmla="*/ 2147483647 h 228"/>
              <a:gd name="T18" fmla="*/ 2147483647 w 270"/>
              <a:gd name="T19" fmla="*/ 2147483647 h 228"/>
              <a:gd name="T20" fmla="*/ 2147483647 w 270"/>
              <a:gd name="T21" fmla="*/ 2147483647 h 228"/>
              <a:gd name="T22" fmla="*/ 2147483647 w 270"/>
              <a:gd name="T23" fmla="*/ 2147483647 h 228"/>
              <a:gd name="T24" fmla="*/ 2147483647 w 270"/>
              <a:gd name="T25" fmla="*/ 2147483647 h 228"/>
              <a:gd name="T26" fmla="*/ 2147483647 w 270"/>
              <a:gd name="T27" fmla="*/ 2147483647 h 228"/>
              <a:gd name="T28" fmla="*/ 2147483647 w 270"/>
              <a:gd name="T29" fmla="*/ 2147483647 h 228"/>
              <a:gd name="T30" fmla="*/ 2147483647 w 270"/>
              <a:gd name="T31" fmla="*/ 2147483647 h 228"/>
              <a:gd name="T32" fmla="*/ 2147483647 w 270"/>
              <a:gd name="T33" fmla="*/ 2147483647 h 228"/>
              <a:gd name="T34" fmla="*/ 2147483647 w 270"/>
              <a:gd name="T35" fmla="*/ 2147483647 h 228"/>
              <a:gd name="T36" fmla="*/ 2147483647 w 270"/>
              <a:gd name="T37" fmla="*/ 2147483647 h 228"/>
              <a:gd name="T38" fmla="*/ 2147483647 w 270"/>
              <a:gd name="T39" fmla="*/ 2147483647 h 228"/>
              <a:gd name="T40" fmla="*/ 2147483647 w 270"/>
              <a:gd name="T41" fmla="*/ 2147483647 h 228"/>
              <a:gd name="T42" fmla="*/ 2147483647 w 270"/>
              <a:gd name="T43" fmla="*/ 0 h 228"/>
              <a:gd name="T44" fmla="*/ 2147483647 w 270"/>
              <a:gd name="T45" fmla="*/ 2147483647 h 228"/>
              <a:gd name="T46" fmla="*/ 2147483647 w 270"/>
              <a:gd name="T47" fmla="*/ 2147483647 h 228"/>
              <a:gd name="T48" fmla="*/ 2147483647 w 270"/>
              <a:gd name="T49" fmla="*/ 2147483647 h 228"/>
              <a:gd name="T50" fmla="*/ 2147483647 w 270"/>
              <a:gd name="T51" fmla="*/ 2147483647 h 228"/>
              <a:gd name="T52" fmla="*/ 2147483647 w 270"/>
              <a:gd name="T53" fmla="*/ 2147483647 h 228"/>
              <a:gd name="T54" fmla="*/ 2147483647 w 270"/>
              <a:gd name="T55" fmla="*/ 2147483647 h 228"/>
              <a:gd name="T56" fmla="*/ 2147483647 w 270"/>
              <a:gd name="T57" fmla="*/ 2147483647 h 228"/>
              <a:gd name="T58" fmla="*/ 2147483647 w 270"/>
              <a:gd name="T59" fmla="*/ 2147483647 h 228"/>
              <a:gd name="T60" fmla="*/ 2147483647 w 270"/>
              <a:gd name="T61" fmla="*/ 2147483647 h 228"/>
              <a:gd name="T62" fmla="*/ 2147483647 w 270"/>
              <a:gd name="T63" fmla="*/ 2147483647 h 228"/>
              <a:gd name="T64" fmla="*/ 2147483647 w 270"/>
              <a:gd name="T65" fmla="*/ 2147483647 h 228"/>
              <a:gd name="T66" fmla="*/ 2147483647 w 270"/>
              <a:gd name="T67" fmla="*/ 2147483647 h 228"/>
              <a:gd name="T68" fmla="*/ 2147483647 w 270"/>
              <a:gd name="T69" fmla="*/ 2147483647 h 228"/>
              <a:gd name="T70" fmla="*/ 2147483647 w 270"/>
              <a:gd name="T71" fmla="*/ 2147483647 h 228"/>
              <a:gd name="T72" fmla="*/ 2147483647 w 270"/>
              <a:gd name="T73" fmla="*/ 2147483647 h 228"/>
              <a:gd name="T74" fmla="*/ 2147483647 w 270"/>
              <a:gd name="T75" fmla="*/ 2147483647 h 228"/>
              <a:gd name="T76" fmla="*/ 2147483647 w 270"/>
              <a:gd name="T77" fmla="*/ 2147483647 h 228"/>
              <a:gd name="T78" fmla="*/ 2147483647 w 270"/>
              <a:gd name="T79" fmla="*/ 2147483647 h 228"/>
              <a:gd name="T80" fmla="*/ 2147483647 w 270"/>
              <a:gd name="T81" fmla="*/ 2147483647 h 228"/>
              <a:gd name="T82" fmla="*/ 2147483647 w 270"/>
              <a:gd name="T83" fmla="*/ 2147483647 h 228"/>
              <a:gd name="T84" fmla="*/ 2147483647 w 270"/>
              <a:gd name="T85" fmla="*/ 2147483647 h 228"/>
              <a:gd name="T86" fmla="*/ 2147483647 w 270"/>
              <a:gd name="T87" fmla="*/ 2147483647 h 228"/>
              <a:gd name="T88" fmla="*/ 2147483647 w 270"/>
              <a:gd name="T89" fmla="*/ 2147483647 h 228"/>
              <a:gd name="T90" fmla="*/ 2147483647 w 270"/>
              <a:gd name="T91" fmla="*/ 2147483647 h 228"/>
              <a:gd name="T92" fmla="*/ 2147483647 w 270"/>
              <a:gd name="T93" fmla="*/ 2147483647 h 228"/>
              <a:gd name="T94" fmla="*/ 2147483647 w 270"/>
              <a:gd name="T95" fmla="*/ 2147483647 h 228"/>
              <a:gd name="T96" fmla="*/ 2147483647 w 270"/>
              <a:gd name="T97" fmla="*/ 2147483647 h 228"/>
              <a:gd name="T98" fmla="*/ 2147483647 w 270"/>
              <a:gd name="T99" fmla="*/ 2147483647 h 228"/>
              <a:gd name="T100" fmla="*/ 2147483647 w 270"/>
              <a:gd name="T101" fmla="*/ 2147483647 h 228"/>
              <a:gd name="T102" fmla="*/ 2147483647 w 270"/>
              <a:gd name="T103" fmla="*/ 2147483647 h 22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70"/>
              <a:gd name="T157" fmla="*/ 0 h 228"/>
              <a:gd name="T158" fmla="*/ 270 w 270"/>
              <a:gd name="T159" fmla="*/ 228 h 22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70" h="228">
                <a:moveTo>
                  <a:pt x="14" y="204"/>
                </a:moveTo>
                <a:lnTo>
                  <a:pt x="17" y="193"/>
                </a:lnTo>
                <a:lnTo>
                  <a:pt x="6" y="184"/>
                </a:lnTo>
                <a:lnTo>
                  <a:pt x="6" y="168"/>
                </a:lnTo>
                <a:lnTo>
                  <a:pt x="6" y="153"/>
                </a:lnTo>
                <a:lnTo>
                  <a:pt x="0" y="132"/>
                </a:lnTo>
                <a:lnTo>
                  <a:pt x="5" y="112"/>
                </a:lnTo>
                <a:lnTo>
                  <a:pt x="5" y="93"/>
                </a:lnTo>
                <a:lnTo>
                  <a:pt x="5" y="76"/>
                </a:lnTo>
                <a:lnTo>
                  <a:pt x="9" y="55"/>
                </a:lnTo>
                <a:lnTo>
                  <a:pt x="23" y="42"/>
                </a:lnTo>
                <a:lnTo>
                  <a:pt x="36" y="34"/>
                </a:lnTo>
                <a:lnTo>
                  <a:pt x="47" y="24"/>
                </a:lnTo>
                <a:lnTo>
                  <a:pt x="65" y="19"/>
                </a:lnTo>
                <a:lnTo>
                  <a:pt x="75" y="15"/>
                </a:lnTo>
                <a:lnTo>
                  <a:pt x="89" y="24"/>
                </a:lnTo>
                <a:lnTo>
                  <a:pt x="101" y="33"/>
                </a:lnTo>
                <a:lnTo>
                  <a:pt x="120" y="34"/>
                </a:lnTo>
                <a:lnTo>
                  <a:pt x="131" y="31"/>
                </a:lnTo>
                <a:lnTo>
                  <a:pt x="135" y="18"/>
                </a:lnTo>
                <a:lnTo>
                  <a:pt x="144" y="1"/>
                </a:lnTo>
                <a:lnTo>
                  <a:pt x="162" y="0"/>
                </a:lnTo>
                <a:lnTo>
                  <a:pt x="177" y="7"/>
                </a:lnTo>
                <a:lnTo>
                  <a:pt x="177" y="27"/>
                </a:lnTo>
                <a:lnTo>
                  <a:pt x="189" y="25"/>
                </a:lnTo>
                <a:lnTo>
                  <a:pt x="209" y="18"/>
                </a:lnTo>
                <a:lnTo>
                  <a:pt x="215" y="28"/>
                </a:lnTo>
                <a:lnTo>
                  <a:pt x="201" y="45"/>
                </a:lnTo>
                <a:lnTo>
                  <a:pt x="201" y="61"/>
                </a:lnTo>
                <a:lnTo>
                  <a:pt x="210" y="75"/>
                </a:lnTo>
                <a:lnTo>
                  <a:pt x="225" y="82"/>
                </a:lnTo>
                <a:lnTo>
                  <a:pt x="245" y="87"/>
                </a:lnTo>
                <a:lnTo>
                  <a:pt x="252" y="96"/>
                </a:lnTo>
                <a:lnTo>
                  <a:pt x="270" y="91"/>
                </a:lnTo>
                <a:lnTo>
                  <a:pt x="266" y="103"/>
                </a:lnTo>
                <a:lnTo>
                  <a:pt x="252" y="115"/>
                </a:lnTo>
                <a:lnTo>
                  <a:pt x="246" y="123"/>
                </a:lnTo>
                <a:lnTo>
                  <a:pt x="233" y="135"/>
                </a:lnTo>
                <a:lnTo>
                  <a:pt x="212" y="138"/>
                </a:lnTo>
                <a:lnTo>
                  <a:pt x="206" y="159"/>
                </a:lnTo>
                <a:lnTo>
                  <a:pt x="204" y="175"/>
                </a:lnTo>
                <a:lnTo>
                  <a:pt x="197" y="186"/>
                </a:lnTo>
                <a:lnTo>
                  <a:pt x="180" y="196"/>
                </a:lnTo>
                <a:lnTo>
                  <a:pt x="164" y="208"/>
                </a:lnTo>
                <a:lnTo>
                  <a:pt x="141" y="205"/>
                </a:lnTo>
                <a:lnTo>
                  <a:pt x="114" y="195"/>
                </a:lnTo>
                <a:lnTo>
                  <a:pt x="90" y="207"/>
                </a:lnTo>
                <a:lnTo>
                  <a:pt x="72" y="217"/>
                </a:lnTo>
                <a:lnTo>
                  <a:pt x="51" y="228"/>
                </a:lnTo>
                <a:lnTo>
                  <a:pt x="39" y="223"/>
                </a:lnTo>
                <a:lnTo>
                  <a:pt x="26" y="210"/>
                </a:lnTo>
                <a:lnTo>
                  <a:pt x="14" y="204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399" name="Freeform 60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5504218" y="2321096"/>
            <a:ext cx="840698" cy="1065792"/>
          </a:xfrm>
          <a:custGeom>
            <a:avLst/>
            <a:gdLst>
              <a:gd name="T0" fmla="*/ 2147483647 w 392"/>
              <a:gd name="T1" fmla="*/ 2147483647 h 497"/>
              <a:gd name="T2" fmla="*/ 2147483647 w 392"/>
              <a:gd name="T3" fmla="*/ 2147483647 h 497"/>
              <a:gd name="T4" fmla="*/ 2147483647 w 392"/>
              <a:gd name="T5" fmla="*/ 2147483647 h 497"/>
              <a:gd name="T6" fmla="*/ 2147483647 w 392"/>
              <a:gd name="T7" fmla="*/ 2147483647 h 497"/>
              <a:gd name="T8" fmla="*/ 2147483647 w 392"/>
              <a:gd name="T9" fmla="*/ 2147483647 h 497"/>
              <a:gd name="T10" fmla="*/ 2147483647 w 392"/>
              <a:gd name="T11" fmla="*/ 2147483647 h 497"/>
              <a:gd name="T12" fmla="*/ 2147483647 w 392"/>
              <a:gd name="T13" fmla="*/ 2147483647 h 497"/>
              <a:gd name="T14" fmla="*/ 2147483647 w 392"/>
              <a:gd name="T15" fmla="*/ 2147483647 h 497"/>
              <a:gd name="T16" fmla="*/ 2147483647 w 392"/>
              <a:gd name="T17" fmla="*/ 2147483647 h 497"/>
              <a:gd name="T18" fmla="*/ 2147483647 w 392"/>
              <a:gd name="T19" fmla="*/ 2147483647 h 497"/>
              <a:gd name="T20" fmla="*/ 2147483647 w 392"/>
              <a:gd name="T21" fmla="*/ 2147483647 h 497"/>
              <a:gd name="T22" fmla="*/ 2147483647 w 392"/>
              <a:gd name="T23" fmla="*/ 2147483647 h 497"/>
              <a:gd name="T24" fmla="*/ 2147483647 w 392"/>
              <a:gd name="T25" fmla="*/ 2147483647 h 497"/>
              <a:gd name="T26" fmla="*/ 2147483647 w 392"/>
              <a:gd name="T27" fmla="*/ 2147483647 h 497"/>
              <a:gd name="T28" fmla="*/ 2147483647 w 392"/>
              <a:gd name="T29" fmla="*/ 2147483647 h 497"/>
              <a:gd name="T30" fmla="*/ 2147483647 w 392"/>
              <a:gd name="T31" fmla="*/ 2147483647 h 497"/>
              <a:gd name="T32" fmla="*/ 2147483647 w 392"/>
              <a:gd name="T33" fmla="*/ 2147483647 h 497"/>
              <a:gd name="T34" fmla="*/ 2147483647 w 392"/>
              <a:gd name="T35" fmla="*/ 2147483647 h 497"/>
              <a:gd name="T36" fmla="*/ 2147483647 w 392"/>
              <a:gd name="T37" fmla="*/ 2147483647 h 497"/>
              <a:gd name="T38" fmla="*/ 2147483647 w 392"/>
              <a:gd name="T39" fmla="*/ 2147483647 h 497"/>
              <a:gd name="T40" fmla="*/ 2147483647 w 392"/>
              <a:gd name="T41" fmla="*/ 2147483647 h 497"/>
              <a:gd name="T42" fmla="*/ 2147483647 w 392"/>
              <a:gd name="T43" fmla="*/ 2147483647 h 497"/>
              <a:gd name="T44" fmla="*/ 2147483647 w 392"/>
              <a:gd name="T45" fmla="*/ 2147483647 h 497"/>
              <a:gd name="T46" fmla="*/ 2147483647 w 392"/>
              <a:gd name="T47" fmla="*/ 2147483647 h 497"/>
              <a:gd name="T48" fmla="*/ 2147483647 w 392"/>
              <a:gd name="T49" fmla="*/ 2147483647 h 497"/>
              <a:gd name="T50" fmla="*/ 2147483647 w 392"/>
              <a:gd name="T51" fmla="*/ 2147483647 h 497"/>
              <a:gd name="T52" fmla="*/ 2147483647 w 392"/>
              <a:gd name="T53" fmla="*/ 2147483647 h 497"/>
              <a:gd name="T54" fmla="*/ 0 w 392"/>
              <a:gd name="T55" fmla="*/ 2147483647 h 497"/>
              <a:gd name="T56" fmla="*/ 2147483647 w 392"/>
              <a:gd name="T57" fmla="*/ 2147483647 h 497"/>
              <a:gd name="T58" fmla="*/ 2147483647 w 392"/>
              <a:gd name="T59" fmla="*/ 2147483647 h 497"/>
              <a:gd name="T60" fmla="*/ 2147483647 w 392"/>
              <a:gd name="T61" fmla="*/ 2147483647 h 497"/>
              <a:gd name="T62" fmla="*/ 2147483647 w 392"/>
              <a:gd name="T63" fmla="*/ 2147483647 h 497"/>
              <a:gd name="T64" fmla="*/ 2147483647 w 392"/>
              <a:gd name="T65" fmla="*/ 2147483647 h 497"/>
              <a:gd name="T66" fmla="*/ 2147483647 w 392"/>
              <a:gd name="T67" fmla="*/ 2147483647 h 497"/>
              <a:gd name="T68" fmla="*/ 2147483647 w 392"/>
              <a:gd name="T69" fmla="*/ 2147483647 h 497"/>
              <a:gd name="T70" fmla="*/ 2147483647 w 392"/>
              <a:gd name="T71" fmla="*/ 2147483647 h 497"/>
              <a:gd name="T72" fmla="*/ 2147483647 w 392"/>
              <a:gd name="T73" fmla="*/ 2147483647 h 497"/>
              <a:gd name="T74" fmla="*/ 2147483647 w 392"/>
              <a:gd name="T75" fmla="*/ 2147483647 h 497"/>
              <a:gd name="T76" fmla="*/ 2147483647 w 392"/>
              <a:gd name="T77" fmla="*/ 2147483647 h 497"/>
              <a:gd name="T78" fmla="*/ 2147483647 w 392"/>
              <a:gd name="T79" fmla="*/ 2147483647 h 497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92"/>
              <a:gd name="T121" fmla="*/ 0 h 497"/>
              <a:gd name="T122" fmla="*/ 392 w 392"/>
              <a:gd name="T123" fmla="*/ 497 h 497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92" h="497">
                <a:moveTo>
                  <a:pt x="149" y="480"/>
                </a:moveTo>
                <a:lnTo>
                  <a:pt x="165" y="486"/>
                </a:lnTo>
                <a:lnTo>
                  <a:pt x="182" y="483"/>
                </a:lnTo>
                <a:lnTo>
                  <a:pt x="198" y="491"/>
                </a:lnTo>
                <a:lnTo>
                  <a:pt x="222" y="488"/>
                </a:lnTo>
                <a:lnTo>
                  <a:pt x="236" y="494"/>
                </a:lnTo>
                <a:lnTo>
                  <a:pt x="251" y="497"/>
                </a:lnTo>
                <a:lnTo>
                  <a:pt x="269" y="492"/>
                </a:lnTo>
                <a:lnTo>
                  <a:pt x="294" y="485"/>
                </a:lnTo>
                <a:lnTo>
                  <a:pt x="318" y="482"/>
                </a:lnTo>
                <a:lnTo>
                  <a:pt x="341" y="476"/>
                </a:lnTo>
                <a:lnTo>
                  <a:pt x="360" y="464"/>
                </a:lnTo>
                <a:lnTo>
                  <a:pt x="368" y="452"/>
                </a:lnTo>
                <a:lnTo>
                  <a:pt x="383" y="444"/>
                </a:lnTo>
                <a:lnTo>
                  <a:pt x="389" y="429"/>
                </a:lnTo>
                <a:lnTo>
                  <a:pt x="392" y="413"/>
                </a:lnTo>
                <a:lnTo>
                  <a:pt x="392" y="389"/>
                </a:lnTo>
                <a:lnTo>
                  <a:pt x="386" y="365"/>
                </a:lnTo>
                <a:lnTo>
                  <a:pt x="386" y="350"/>
                </a:lnTo>
                <a:lnTo>
                  <a:pt x="372" y="333"/>
                </a:lnTo>
                <a:lnTo>
                  <a:pt x="348" y="321"/>
                </a:lnTo>
                <a:lnTo>
                  <a:pt x="329" y="309"/>
                </a:lnTo>
                <a:lnTo>
                  <a:pt x="327" y="297"/>
                </a:lnTo>
                <a:lnTo>
                  <a:pt x="318" y="288"/>
                </a:lnTo>
                <a:lnTo>
                  <a:pt x="308" y="284"/>
                </a:lnTo>
                <a:lnTo>
                  <a:pt x="312" y="263"/>
                </a:lnTo>
                <a:lnTo>
                  <a:pt x="330" y="248"/>
                </a:lnTo>
                <a:lnTo>
                  <a:pt x="345" y="242"/>
                </a:lnTo>
                <a:lnTo>
                  <a:pt x="357" y="233"/>
                </a:lnTo>
                <a:lnTo>
                  <a:pt x="344" y="222"/>
                </a:lnTo>
                <a:lnTo>
                  <a:pt x="332" y="216"/>
                </a:lnTo>
                <a:lnTo>
                  <a:pt x="320" y="215"/>
                </a:lnTo>
                <a:lnTo>
                  <a:pt x="306" y="200"/>
                </a:lnTo>
                <a:lnTo>
                  <a:pt x="309" y="174"/>
                </a:lnTo>
                <a:lnTo>
                  <a:pt x="309" y="155"/>
                </a:lnTo>
                <a:lnTo>
                  <a:pt x="309" y="143"/>
                </a:lnTo>
                <a:lnTo>
                  <a:pt x="309" y="117"/>
                </a:lnTo>
                <a:lnTo>
                  <a:pt x="299" y="101"/>
                </a:lnTo>
                <a:lnTo>
                  <a:pt x="287" y="84"/>
                </a:lnTo>
                <a:lnTo>
                  <a:pt x="270" y="71"/>
                </a:lnTo>
                <a:lnTo>
                  <a:pt x="254" y="54"/>
                </a:lnTo>
                <a:lnTo>
                  <a:pt x="246" y="33"/>
                </a:lnTo>
                <a:lnTo>
                  <a:pt x="236" y="20"/>
                </a:lnTo>
                <a:lnTo>
                  <a:pt x="222" y="14"/>
                </a:lnTo>
                <a:lnTo>
                  <a:pt x="209" y="12"/>
                </a:lnTo>
                <a:lnTo>
                  <a:pt x="197" y="2"/>
                </a:lnTo>
                <a:lnTo>
                  <a:pt x="174" y="2"/>
                </a:lnTo>
                <a:lnTo>
                  <a:pt x="147" y="2"/>
                </a:lnTo>
                <a:lnTo>
                  <a:pt x="128" y="0"/>
                </a:lnTo>
                <a:lnTo>
                  <a:pt x="116" y="14"/>
                </a:lnTo>
                <a:lnTo>
                  <a:pt x="77" y="44"/>
                </a:lnTo>
                <a:lnTo>
                  <a:pt x="59" y="68"/>
                </a:lnTo>
                <a:lnTo>
                  <a:pt x="38" y="80"/>
                </a:lnTo>
                <a:lnTo>
                  <a:pt x="29" y="99"/>
                </a:lnTo>
                <a:lnTo>
                  <a:pt x="15" y="117"/>
                </a:lnTo>
                <a:lnTo>
                  <a:pt x="0" y="138"/>
                </a:lnTo>
                <a:lnTo>
                  <a:pt x="3" y="159"/>
                </a:lnTo>
                <a:lnTo>
                  <a:pt x="8" y="180"/>
                </a:lnTo>
                <a:lnTo>
                  <a:pt x="12" y="195"/>
                </a:lnTo>
                <a:lnTo>
                  <a:pt x="23" y="206"/>
                </a:lnTo>
                <a:lnTo>
                  <a:pt x="41" y="221"/>
                </a:lnTo>
                <a:lnTo>
                  <a:pt x="57" y="234"/>
                </a:lnTo>
                <a:lnTo>
                  <a:pt x="66" y="240"/>
                </a:lnTo>
                <a:lnTo>
                  <a:pt x="80" y="249"/>
                </a:lnTo>
                <a:lnTo>
                  <a:pt x="99" y="261"/>
                </a:lnTo>
                <a:lnTo>
                  <a:pt x="110" y="272"/>
                </a:lnTo>
                <a:lnTo>
                  <a:pt x="102" y="287"/>
                </a:lnTo>
                <a:lnTo>
                  <a:pt x="99" y="306"/>
                </a:lnTo>
                <a:lnTo>
                  <a:pt x="90" y="315"/>
                </a:lnTo>
                <a:lnTo>
                  <a:pt x="81" y="323"/>
                </a:lnTo>
                <a:lnTo>
                  <a:pt x="78" y="338"/>
                </a:lnTo>
                <a:lnTo>
                  <a:pt x="87" y="357"/>
                </a:lnTo>
                <a:lnTo>
                  <a:pt x="96" y="374"/>
                </a:lnTo>
                <a:lnTo>
                  <a:pt x="107" y="378"/>
                </a:lnTo>
                <a:lnTo>
                  <a:pt x="123" y="396"/>
                </a:lnTo>
                <a:lnTo>
                  <a:pt x="135" y="402"/>
                </a:lnTo>
                <a:lnTo>
                  <a:pt x="140" y="416"/>
                </a:lnTo>
                <a:lnTo>
                  <a:pt x="144" y="432"/>
                </a:lnTo>
                <a:lnTo>
                  <a:pt x="152" y="462"/>
                </a:lnTo>
                <a:lnTo>
                  <a:pt x="149" y="48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400" name="Rectangle 61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5611128" y="2499267"/>
            <a:ext cx="689291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Gombe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01" name="Rectangle 62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4814166" y="3607173"/>
            <a:ext cx="70230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Plateau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02" name="Freeform 63"/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378430" y="2871808"/>
            <a:ext cx="1265095" cy="1224527"/>
          </a:xfrm>
          <a:custGeom>
            <a:avLst/>
            <a:gdLst>
              <a:gd name="T0" fmla="*/ 2147483647 w 590"/>
              <a:gd name="T1" fmla="*/ 2147483647 h 571"/>
              <a:gd name="T2" fmla="*/ 2147483647 w 590"/>
              <a:gd name="T3" fmla="*/ 2147483647 h 571"/>
              <a:gd name="T4" fmla="*/ 2147483647 w 590"/>
              <a:gd name="T5" fmla="*/ 2147483647 h 571"/>
              <a:gd name="T6" fmla="*/ 2147483647 w 590"/>
              <a:gd name="T7" fmla="*/ 2147483647 h 571"/>
              <a:gd name="T8" fmla="*/ 2147483647 w 590"/>
              <a:gd name="T9" fmla="*/ 2147483647 h 571"/>
              <a:gd name="T10" fmla="*/ 2147483647 w 590"/>
              <a:gd name="T11" fmla="*/ 2147483647 h 571"/>
              <a:gd name="T12" fmla="*/ 2147483647 w 590"/>
              <a:gd name="T13" fmla="*/ 2147483647 h 571"/>
              <a:gd name="T14" fmla="*/ 2147483647 w 590"/>
              <a:gd name="T15" fmla="*/ 2147483647 h 571"/>
              <a:gd name="T16" fmla="*/ 2147483647 w 590"/>
              <a:gd name="T17" fmla="*/ 2147483647 h 571"/>
              <a:gd name="T18" fmla="*/ 2147483647 w 590"/>
              <a:gd name="T19" fmla="*/ 2147483647 h 571"/>
              <a:gd name="T20" fmla="*/ 2147483647 w 590"/>
              <a:gd name="T21" fmla="*/ 2147483647 h 571"/>
              <a:gd name="T22" fmla="*/ 2147483647 w 590"/>
              <a:gd name="T23" fmla="*/ 0 h 571"/>
              <a:gd name="T24" fmla="*/ 2147483647 w 590"/>
              <a:gd name="T25" fmla="*/ 2147483647 h 571"/>
              <a:gd name="T26" fmla="*/ 2147483647 w 590"/>
              <a:gd name="T27" fmla="*/ 2147483647 h 571"/>
              <a:gd name="T28" fmla="*/ 2147483647 w 590"/>
              <a:gd name="T29" fmla="*/ 2147483647 h 571"/>
              <a:gd name="T30" fmla="*/ 2147483647 w 590"/>
              <a:gd name="T31" fmla="*/ 2147483647 h 571"/>
              <a:gd name="T32" fmla="*/ 2147483647 w 590"/>
              <a:gd name="T33" fmla="*/ 2147483647 h 571"/>
              <a:gd name="T34" fmla="*/ 2147483647 w 590"/>
              <a:gd name="T35" fmla="*/ 2147483647 h 571"/>
              <a:gd name="T36" fmla="*/ 2147483647 w 590"/>
              <a:gd name="T37" fmla="*/ 2147483647 h 571"/>
              <a:gd name="T38" fmla="*/ 2147483647 w 590"/>
              <a:gd name="T39" fmla="*/ 2147483647 h 571"/>
              <a:gd name="T40" fmla="*/ 2147483647 w 590"/>
              <a:gd name="T41" fmla="*/ 2147483647 h 571"/>
              <a:gd name="T42" fmla="*/ 2147483647 w 590"/>
              <a:gd name="T43" fmla="*/ 2147483647 h 571"/>
              <a:gd name="T44" fmla="*/ 2147483647 w 590"/>
              <a:gd name="T45" fmla="*/ 2147483647 h 571"/>
              <a:gd name="T46" fmla="*/ 2147483647 w 590"/>
              <a:gd name="T47" fmla="*/ 2147483647 h 571"/>
              <a:gd name="T48" fmla="*/ 2147483647 w 590"/>
              <a:gd name="T49" fmla="*/ 2147483647 h 571"/>
              <a:gd name="T50" fmla="*/ 2147483647 w 590"/>
              <a:gd name="T51" fmla="*/ 2147483647 h 571"/>
              <a:gd name="T52" fmla="*/ 2147483647 w 590"/>
              <a:gd name="T53" fmla="*/ 2147483647 h 571"/>
              <a:gd name="T54" fmla="*/ 2147483647 w 590"/>
              <a:gd name="T55" fmla="*/ 2147483647 h 571"/>
              <a:gd name="T56" fmla="*/ 2147483647 w 590"/>
              <a:gd name="T57" fmla="*/ 2147483647 h 571"/>
              <a:gd name="T58" fmla="*/ 2147483647 w 590"/>
              <a:gd name="T59" fmla="*/ 2147483647 h 571"/>
              <a:gd name="T60" fmla="*/ 2147483647 w 590"/>
              <a:gd name="T61" fmla="*/ 2147483647 h 571"/>
              <a:gd name="T62" fmla="*/ 2147483647 w 590"/>
              <a:gd name="T63" fmla="*/ 2147483647 h 571"/>
              <a:gd name="T64" fmla="*/ 2147483647 w 590"/>
              <a:gd name="T65" fmla="*/ 2147483647 h 571"/>
              <a:gd name="T66" fmla="*/ 2147483647 w 590"/>
              <a:gd name="T67" fmla="*/ 2147483647 h 571"/>
              <a:gd name="T68" fmla="*/ 2147483647 w 590"/>
              <a:gd name="T69" fmla="*/ 2147483647 h 571"/>
              <a:gd name="T70" fmla="*/ 2147483647 w 590"/>
              <a:gd name="T71" fmla="*/ 2147483647 h 571"/>
              <a:gd name="T72" fmla="*/ 2147483647 w 590"/>
              <a:gd name="T73" fmla="*/ 2147483647 h 571"/>
              <a:gd name="T74" fmla="*/ 2147483647 w 590"/>
              <a:gd name="T75" fmla="*/ 2147483647 h 571"/>
              <a:gd name="T76" fmla="*/ 2147483647 w 590"/>
              <a:gd name="T77" fmla="*/ 2147483647 h 571"/>
              <a:gd name="T78" fmla="*/ 2147483647 w 590"/>
              <a:gd name="T79" fmla="*/ 2147483647 h 571"/>
              <a:gd name="T80" fmla="*/ 2147483647 w 590"/>
              <a:gd name="T81" fmla="*/ 2147483647 h 571"/>
              <a:gd name="T82" fmla="*/ 2147483647 w 590"/>
              <a:gd name="T83" fmla="*/ 2147483647 h 571"/>
              <a:gd name="T84" fmla="*/ 2147483647 w 590"/>
              <a:gd name="T85" fmla="*/ 2147483647 h 571"/>
              <a:gd name="T86" fmla="*/ 2147483647 w 590"/>
              <a:gd name="T87" fmla="*/ 2147483647 h 571"/>
              <a:gd name="T88" fmla="*/ 2147483647 w 590"/>
              <a:gd name="T89" fmla="*/ 2147483647 h 571"/>
              <a:gd name="T90" fmla="*/ 2147483647 w 590"/>
              <a:gd name="T91" fmla="*/ 2147483647 h 571"/>
              <a:gd name="T92" fmla="*/ 2147483647 w 590"/>
              <a:gd name="T93" fmla="*/ 2147483647 h 571"/>
              <a:gd name="T94" fmla="*/ 2147483647 w 590"/>
              <a:gd name="T95" fmla="*/ 2147483647 h 571"/>
              <a:gd name="T96" fmla="*/ 2147483647 w 590"/>
              <a:gd name="T97" fmla="*/ 2147483647 h 571"/>
              <a:gd name="T98" fmla="*/ 2147483647 w 590"/>
              <a:gd name="T99" fmla="*/ 2147483647 h 571"/>
              <a:gd name="T100" fmla="*/ 2147483647 w 590"/>
              <a:gd name="T101" fmla="*/ 2147483647 h 571"/>
              <a:gd name="T102" fmla="*/ 2147483647 w 590"/>
              <a:gd name="T103" fmla="*/ 2147483647 h 571"/>
              <a:gd name="T104" fmla="*/ 2147483647 w 590"/>
              <a:gd name="T105" fmla="*/ 2147483647 h 571"/>
              <a:gd name="T106" fmla="*/ 2147483647 w 590"/>
              <a:gd name="T107" fmla="*/ 2147483647 h 571"/>
              <a:gd name="T108" fmla="*/ 2147483647 w 590"/>
              <a:gd name="T109" fmla="*/ 2147483647 h 571"/>
              <a:gd name="T110" fmla="*/ 2147483647 w 590"/>
              <a:gd name="T111" fmla="*/ 2147483647 h 571"/>
              <a:gd name="T112" fmla="*/ 2147483647 w 590"/>
              <a:gd name="T113" fmla="*/ 2147483647 h 571"/>
              <a:gd name="T114" fmla="*/ 2147483647 w 590"/>
              <a:gd name="T115" fmla="*/ 2147483647 h 57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90"/>
              <a:gd name="T175" fmla="*/ 0 h 571"/>
              <a:gd name="T176" fmla="*/ 590 w 590"/>
              <a:gd name="T177" fmla="*/ 571 h 57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90" h="571">
                <a:moveTo>
                  <a:pt x="26" y="339"/>
                </a:moveTo>
                <a:lnTo>
                  <a:pt x="32" y="325"/>
                </a:lnTo>
                <a:lnTo>
                  <a:pt x="38" y="316"/>
                </a:lnTo>
                <a:lnTo>
                  <a:pt x="45" y="307"/>
                </a:lnTo>
                <a:lnTo>
                  <a:pt x="39" y="291"/>
                </a:lnTo>
                <a:lnTo>
                  <a:pt x="27" y="285"/>
                </a:lnTo>
                <a:lnTo>
                  <a:pt x="17" y="274"/>
                </a:lnTo>
                <a:lnTo>
                  <a:pt x="5" y="258"/>
                </a:lnTo>
                <a:lnTo>
                  <a:pt x="0" y="241"/>
                </a:lnTo>
                <a:lnTo>
                  <a:pt x="8" y="225"/>
                </a:lnTo>
                <a:lnTo>
                  <a:pt x="11" y="210"/>
                </a:lnTo>
                <a:lnTo>
                  <a:pt x="21" y="192"/>
                </a:lnTo>
                <a:lnTo>
                  <a:pt x="24" y="175"/>
                </a:lnTo>
                <a:lnTo>
                  <a:pt x="21" y="150"/>
                </a:lnTo>
                <a:lnTo>
                  <a:pt x="23" y="130"/>
                </a:lnTo>
                <a:lnTo>
                  <a:pt x="29" y="114"/>
                </a:lnTo>
                <a:lnTo>
                  <a:pt x="36" y="106"/>
                </a:lnTo>
                <a:lnTo>
                  <a:pt x="36" y="88"/>
                </a:lnTo>
                <a:lnTo>
                  <a:pt x="36" y="69"/>
                </a:lnTo>
                <a:lnTo>
                  <a:pt x="35" y="55"/>
                </a:lnTo>
                <a:lnTo>
                  <a:pt x="48" y="46"/>
                </a:lnTo>
                <a:lnTo>
                  <a:pt x="60" y="34"/>
                </a:lnTo>
                <a:lnTo>
                  <a:pt x="60" y="19"/>
                </a:lnTo>
                <a:lnTo>
                  <a:pt x="65" y="0"/>
                </a:lnTo>
                <a:lnTo>
                  <a:pt x="78" y="7"/>
                </a:lnTo>
                <a:lnTo>
                  <a:pt x="96" y="9"/>
                </a:lnTo>
                <a:lnTo>
                  <a:pt x="110" y="18"/>
                </a:lnTo>
                <a:lnTo>
                  <a:pt x="110" y="34"/>
                </a:lnTo>
                <a:lnTo>
                  <a:pt x="114" y="48"/>
                </a:lnTo>
                <a:lnTo>
                  <a:pt x="117" y="64"/>
                </a:lnTo>
                <a:lnTo>
                  <a:pt x="120" y="82"/>
                </a:lnTo>
                <a:lnTo>
                  <a:pt x="117" y="97"/>
                </a:lnTo>
                <a:lnTo>
                  <a:pt x="119" y="108"/>
                </a:lnTo>
                <a:lnTo>
                  <a:pt x="135" y="108"/>
                </a:lnTo>
                <a:lnTo>
                  <a:pt x="147" y="100"/>
                </a:lnTo>
                <a:lnTo>
                  <a:pt x="164" y="99"/>
                </a:lnTo>
                <a:lnTo>
                  <a:pt x="177" y="115"/>
                </a:lnTo>
                <a:lnTo>
                  <a:pt x="183" y="133"/>
                </a:lnTo>
                <a:lnTo>
                  <a:pt x="183" y="150"/>
                </a:lnTo>
                <a:lnTo>
                  <a:pt x="177" y="169"/>
                </a:lnTo>
                <a:lnTo>
                  <a:pt x="171" y="180"/>
                </a:lnTo>
                <a:lnTo>
                  <a:pt x="180" y="192"/>
                </a:lnTo>
                <a:lnTo>
                  <a:pt x="204" y="192"/>
                </a:lnTo>
                <a:lnTo>
                  <a:pt x="207" y="210"/>
                </a:lnTo>
                <a:lnTo>
                  <a:pt x="221" y="225"/>
                </a:lnTo>
                <a:lnTo>
                  <a:pt x="243" y="234"/>
                </a:lnTo>
                <a:lnTo>
                  <a:pt x="281" y="237"/>
                </a:lnTo>
                <a:lnTo>
                  <a:pt x="320" y="235"/>
                </a:lnTo>
                <a:lnTo>
                  <a:pt x="341" y="226"/>
                </a:lnTo>
                <a:lnTo>
                  <a:pt x="347" y="213"/>
                </a:lnTo>
                <a:lnTo>
                  <a:pt x="363" y="207"/>
                </a:lnTo>
                <a:lnTo>
                  <a:pt x="375" y="193"/>
                </a:lnTo>
                <a:lnTo>
                  <a:pt x="369" y="183"/>
                </a:lnTo>
                <a:lnTo>
                  <a:pt x="360" y="174"/>
                </a:lnTo>
                <a:lnTo>
                  <a:pt x="360" y="163"/>
                </a:lnTo>
                <a:lnTo>
                  <a:pt x="375" y="160"/>
                </a:lnTo>
                <a:lnTo>
                  <a:pt x="395" y="166"/>
                </a:lnTo>
                <a:lnTo>
                  <a:pt x="405" y="174"/>
                </a:lnTo>
                <a:lnTo>
                  <a:pt x="431" y="174"/>
                </a:lnTo>
                <a:lnTo>
                  <a:pt x="444" y="192"/>
                </a:lnTo>
                <a:lnTo>
                  <a:pt x="461" y="199"/>
                </a:lnTo>
                <a:lnTo>
                  <a:pt x="486" y="202"/>
                </a:lnTo>
                <a:lnTo>
                  <a:pt x="500" y="210"/>
                </a:lnTo>
                <a:lnTo>
                  <a:pt x="513" y="219"/>
                </a:lnTo>
                <a:lnTo>
                  <a:pt x="530" y="228"/>
                </a:lnTo>
                <a:lnTo>
                  <a:pt x="540" y="237"/>
                </a:lnTo>
                <a:lnTo>
                  <a:pt x="557" y="244"/>
                </a:lnTo>
                <a:lnTo>
                  <a:pt x="564" y="256"/>
                </a:lnTo>
                <a:lnTo>
                  <a:pt x="564" y="280"/>
                </a:lnTo>
                <a:lnTo>
                  <a:pt x="560" y="294"/>
                </a:lnTo>
                <a:lnTo>
                  <a:pt x="563" y="310"/>
                </a:lnTo>
                <a:lnTo>
                  <a:pt x="567" y="324"/>
                </a:lnTo>
                <a:lnTo>
                  <a:pt x="570" y="345"/>
                </a:lnTo>
                <a:lnTo>
                  <a:pt x="575" y="360"/>
                </a:lnTo>
                <a:lnTo>
                  <a:pt x="579" y="375"/>
                </a:lnTo>
                <a:lnTo>
                  <a:pt x="590" y="387"/>
                </a:lnTo>
                <a:lnTo>
                  <a:pt x="585" y="408"/>
                </a:lnTo>
                <a:lnTo>
                  <a:pt x="561" y="418"/>
                </a:lnTo>
                <a:lnTo>
                  <a:pt x="548" y="418"/>
                </a:lnTo>
                <a:lnTo>
                  <a:pt x="533" y="424"/>
                </a:lnTo>
                <a:lnTo>
                  <a:pt x="515" y="433"/>
                </a:lnTo>
                <a:lnTo>
                  <a:pt x="503" y="442"/>
                </a:lnTo>
                <a:lnTo>
                  <a:pt x="492" y="451"/>
                </a:lnTo>
                <a:lnTo>
                  <a:pt x="479" y="466"/>
                </a:lnTo>
                <a:lnTo>
                  <a:pt x="471" y="472"/>
                </a:lnTo>
                <a:lnTo>
                  <a:pt x="456" y="489"/>
                </a:lnTo>
                <a:lnTo>
                  <a:pt x="438" y="504"/>
                </a:lnTo>
                <a:lnTo>
                  <a:pt x="426" y="514"/>
                </a:lnTo>
                <a:lnTo>
                  <a:pt x="404" y="529"/>
                </a:lnTo>
                <a:lnTo>
                  <a:pt x="381" y="543"/>
                </a:lnTo>
                <a:lnTo>
                  <a:pt x="359" y="553"/>
                </a:lnTo>
                <a:lnTo>
                  <a:pt x="344" y="564"/>
                </a:lnTo>
                <a:lnTo>
                  <a:pt x="320" y="568"/>
                </a:lnTo>
                <a:lnTo>
                  <a:pt x="303" y="571"/>
                </a:lnTo>
                <a:lnTo>
                  <a:pt x="290" y="571"/>
                </a:lnTo>
                <a:lnTo>
                  <a:pt x="270" y="568"/>
                </a:lnTo>
                <a:lnTo>
                  <a:pt x="260" y="567"/>
                </a:lnTo>
                <a:lnTo>
                  <a:pt x="246" y="556"/>
                </a:lnTo>
                <a:lnTo>
                  <a:pt x="228" y="549"/>
                </a:lnTo>
                <a:lnTo>
                  <a:pt x="210" y="550"/>
                </a:lnTo>
                <a:lnTo>
                  <a:pt x="182" y="555"/>
                </a:lnTo>
                <a:lnTo>
                  <a:pt x="164" y="555"/>
                </a:lnTo>
                <a:lnTo>
                  <a:pt x="131" y="549"/>
                </a:lnTo>
                <a:lnTo>
                  <a:pt x="110" y="534"/>
                </a:lnTo>
                <a:lnTo>
                  <a:pt x="99" y="522"/>
                </a:lnTo>
                <a:lnTo>
                  <a:pt x="90" y="486"/>
                </a:lnTo>
                <a:lnTo>
                  <a:pt x="93" y="462"/>
                </a:lnTo>
                <a:lnTo>
                  <a:pt x="98" y="444"/>
                </a:lnTo>
                <a:lnTo>
                  <a:pt x="114" y="426"/>
                </a:lnTo>
                <a:lnTo>
                  <a:pt x="123" y="396"/>
                </a:lnTo>
                <a:lnTo>
                  <a:pt x="117" y="384"/>
                </a:lnTo>
                <a:lnTo>
                  <a:pt x="99" y="379"/>
                </a:lnTo>
                <a:lnTo>
                  <a:pt x="72" y="373"/>
                </a:lnTo>
                <a:lnTo>
                  <a:pt x="59" y="370"/>
                </a:lnTo>
                <a:lnTo>
                  <a:pt x="42" y="361"/>
                </a:lnTo>
                <a:lnTo>
                  <a:pt x="35" y="346"/>
                </a:lnTo>
                <a:lnTo>
                  <a:pt x="26" y="33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403" name="Rectangle 64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760712" y="3440339"/>
            <a:ext cx="70230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Plateau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04" name="Freeform 65"/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2455679" y="5897492"/>
            <a:ext cx="678714" cy="634940"/>
          </a:xfrm>
          <a:custGeom>
            <a:avLst/>
            <a:gdLst>
              <a:gd name="T0" fmla="*/ 2147483647 w 316"/>
              <a:gd name="T1" fmla="*/ 2147483647 h 296"/>
              <a:gd name="T2" fmla="*/ 2147483647 w 316"/>
              <a:gd name="T3" fmla="*/ 2147483647 h 296"/>
              <a:gd name="T4" fmla="*/ 2147483647 w 316"/>
              <a:gd name="T5" fmla="*/ 2147483647 h 296"/>
              <a:gd name="T6" fmla="*/ 2147483647 w 316"/>
              <a:gd name="T7" fmla="*/ 2147483647 h 296"/>
              <a:gd name="T8" fmla="*/ 2147483647 w 316"/>
              <a:gd name="T9" fmla="*/ 2147483647 h 296"/>
              <a:gd name="T10" fmla="*/ 2147483647 w 316"/>
              <a:gd name="T11" fmla="*/ 2147483647 h 296"/>
              <a:gd name="T12" fmla="*/ 2147483647 w 316"/>
              <a:gd name="T13" fmla="*/ 2147483647 h 296"/>
              <a:gd name="T14" fmla="*/ 2147483647 w 316"/>
              <a:gd name="T15" fmla="*/ 2147483647 h 296"/>
              <a:gd name="T16" fmla="*/ 2147483647 w 316"/>
              <a:gd name="T17" fmla="*/ 2147483647 h 296"/>
              <a:gd name="T18" fmla="*/ 2147483647 w 316"/>
              <a:gd name="T19" fmla="*/ 2147483647 h 296"/>
              <a:gd name="T20" fmla="*/ 2147483647 w 316"/>
              <a:gd name="T21" fmla="*/ 2147483647 h 296"/>
              <a:gd name="T22" fmla="*/ 2147483647 w 316"/>
              <a:gd name="T23" fmla="*/ 2147483647 h 296"/>
              <a:gd name="T24" fmla="*/ 2147483647 w 316"/>
              <a:gd name="T25" fmla="*/ 2147483647 h 296"/>
              <a:gd name="T26" fmla="*/ 0 w 316"/>
              <a:gd name="T27" fmla="*/ 2147483647 h 296"/>
              <a:gd name="T28" fmla="*/ 2147483647 w 316"/>
              <a:gd name="T29" fmla="*/ 2147483647 h 296"/>
              <a:gd name="T30" fmla="*/ 2147483647 w 316"/>
              <a:gd name="T31" fmla="*/ 2147483647 h 296"/>
              <a:gd name="T32" fmla="*/ 2147483647 w 316"/>
              <a:gd name="T33" fmla="*/ 2147483647 h 296"/>
              <a:gd name="T34" fmla="*/ 2147483647 w 316"/>
              <a:gd name="T35" fmla="*/ 2147483647 h 296"/>
              <a:gd name="T36" fmla="*/ 2147483647 w 316"/>
              <a:gd name="T37" fmla="*/ 2147483647 h 296"/>
              <a:gd name="T38" fmla="*/ 2147483647 w 316"/>
              <a:gd name="T39" fmla="*/ 2147483647 h 296"/>
              <a:gd name="T40" fmla="*/ 2147483647 w 316"/>
              <a:gd name="T41" fmla="*/ 2147483647 h 296"/>
              <a:gd name="T42" fmla="*/ 2147483647 w 316"/>
              <a:gd name="T43" fmla="*/ 2147483647 h 296"/>
              <a:gd name="T44" fmla="*/ 2147483647 w 316"/>
              <a:gd name="T45" fmla="*/ 2147483647 h 296"/>
              <a:gd name="T46" fmla="*/ 2147483647 w 316"/>
              <a:gd name="T47" fmla="*/ 2147483647 h 296"/>
              <a:gd name="T48" fmla="*/ 2147483647 w 316"/>
              <a:gd name="T49" fmla="*/ 0 h 296"/>
              <a:gd name="T50" fmla="*/ 2147483647 w 316"/>
              <a:gd name="T51" fmla="*/ 2147483647 h 296"/>
              <a:gd name="T52" fmla="*/ 2147483647 w 316"/>
              <a:gd name="T53" fmla="*/ 2147483647 h 296"/>
              <a:gd name="T54" fmla="*/ 2147483647 w 316"/>
              <a:gd name="T55" fmla="*/ 2147483647 h 296"/>
              <a:gd name="T56" fmla="*/ 2147483647 w 316"/>
              <a:gd name="T57" fmla="*/ 2147483647 h 296"/>
              <a:gd name="T58" fmla="*/ 2147483647 w 316"/>
              <a:gd name="T59" fmla="*/ 2147483647 h 296"/>
              <a:gd name="T60" fmla="*/ 2147483647 w 316"/>
              <a:gd name="T61" fmla="*/ 2147483647 h 296"/>
              <a:gd name="T62" fmla="*/ 2147483647 w 316"/>
              <a:gd name="T63" fmla="*/ 2147483647 h 296"/>
              <a:gd name="T64" fmla="*/ 2147483647 w 316"/>
              <a:gd name="T65" fmla="*/ 2147483647 h 296"/>
              <a:gd name="T66" fmla="*/ 2147483647 w 316"/>
              <a:gd name="T67" fmla="*/ 2147483647 h 29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16"/>
              <a:gd name="T103" fmla="*/ 0 h 296"/>
              <a:gd name="T104" fmla="*/ 316 w 316"/>
              <a:gd name="T105" fmla="*/ 296 h 29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16" h="296">
                <a:moveTo>
                  <a:pt x="316" y="276"/>
                </a:moveTo>
                <a:lnTo>
                  <a:pt x="306" y="279"/>
                </a:lnTo>
                <a:lnTo>
                  <a:pt x="291" y="272"/>
                </a:lnTo>
                <a:lnTo>
                  <a:pt x="288" y="282"/>
                </a:lnTo>
                <a:lnTo>
                  <a:pt x="276" y="281"/>
                </a:lnTo>
                <a:lnTo>
                  <a:pt x="264" y="284"/>
                </a:lnTo>
                <a:lnTo>
                  <a:pt x="253" y="284"/>
                </a:lnTo>
                <a:lnTo>
                  <a:pt x="228" y="282"/>
                </a:lnTo>
                <a:lnTo>
                  <a:pt x="217" y="290"/>
                </a:lnTo>
                <a:lnTo>
                  <a:pt x="205" y="296"/>
                </a:lnTo>
                <a:lnTo>
                  <a:pt x="196" y="288"/>
                </a:lnTo>
                <a:lnTo>
                  <a:pt x="180" y="281"/>
                </a:lnTo>
                <a:lnTo>
                  <a:pt x="169" y="276"/>
                </a:lnTo>
                <a:lnTo>
                  <a:pt x="156" y="266"/>
                </a:lnTo>
                <a:lnTo>
                  <a:pt x="141" y="258"/>
                </a:lnTo>
                <a:lnTo>
                  <a:pt x="123" y="246"/>
                </a:lnTo>
                <a:lnTo>
                  <a:pt x="109" y="234"/>
                </a:lnTo>
                <a:lnTo>
                  <a:pt x="96" y="221"/>
                </a:lnTo>
                <a:lnTo>
                  <a:pt x="78" y="201"/>
                </a:lnTo>
                <a:lnTo>
                  <a:pt x="61" y="183"/>
                </a:lnTo>
                <a:lnTo>
                  <a:pt x="51" y="165"/>
                </a:lnTo>
                <a:lnTo>
                  <a:pt x="40" y="149"/>
                </a:lnTo>
                <a:lnTo>
                  <a:pt x="30" y="132"/>
                </a:lnTo>
                <a:lnTo>
                  <a:pt x="22" y="111"/>
                </a:lnTo>
                <a:lnTo>
                  <a:pt x="25" y="99"/>
                </a:lnTo>
                <a:lnTo>
                  <a:pt x="16" y="80"/>
                </a:lnTo>
                <a:lnTo>
                  <a:pt x="4" y="63"/>
                </a:lnTo>
                <a:lnTo>
                  <a:pt x="0" y="48"/>
                </a:lnTo>
                <a:lnTo>
                  <a:pt x="12" y="47"/>
                </a:lnTo>
                <a:lnTo>
                  <a:pt x="22" y="48"/>
                </a:lnTo>
                <a:lnTo>
                  <a:pt x="33" y="59"/>
                </a:lnTo>
                <a:lnTo>
                  <a:pt x="48" y="68"/>
                </a:lnTo>
                <a:lnTo>
                  <a:pt x="69" y="75"/>
                </a:lnTo>
                <a:lnTo>
                  <a:pt x="88" y="83"/>
                </a:lnTo>
                <a:lnTo>
                  <a:pt x="111" y="78"/>
                </a:lnTo>
                <a:lnTo>
                  <a:pt x="135" y="69"/>
                </a:lnTo>
                <a:lnTo>
                  <a:pt x="141" y="60"/>
                </a:lnTo>
                <a:lnTo>
                  <a:pt x="151" y="48"/>
                </a:lnTo>
                <a:lnTo>
                  <a:pt x="165" y="42"/>
                </a:lnTo>
                <a:lnTo>
                  <a:pt x="178" y="56"/>
                </a:lnTo>
                <a:lnTo>
                  <a:pt x="199" y="44"/>
                </a:lnTo>
                <a:lnTo>
                  <a:pt x="214" y="48"/>
                </a:lnTo>
                <a:lnTo>
                  <a:pt x="223" y="44"/>
                </a:lnTo>
                <a:lnTo>
                  <a:pt x="229" y="30"/>
                </a:lnTo>
                <a:lnTo>
                  <a:pt x="232" y="18"/>
                </a:lnTo>
                <a:lnTo>
                  <a:pt x="247" y="23"/>
                </a:lnTo>
                <a:lnTo>
                  <a:pt x="256" y="15"/>
                </a:lnTo>
                <a:lnTo>
                  <a:pt x="273" y="6"/>
                </a:lnTo>
                <a:lnTo>
                  <a:pt x="286" y="6"/>
                </a:lnTo>
                <a:lnTo>
                  <a:pt x="303" y="0"/>
                </a:lnTo>
                <a:lnTo>
                  <a:pt x="310" y="15"/>
                </a:lnTo>
                <a:lnTo>
                  <a:pt x="312" y="32"/>
                </a:lnTo>
                <a:lnTo>
                  <a:pt x="306" y="51"/>
                </a:lnTo>
                <a:lnTo>
                  <a:pt x="304" y="71"/>
                </a:lnTo>
                <a:lnTo>
                  <a:pt x="295" y="93"/>
                </a:lnTo>
                <a:lnTo>
                  <a:pt x="292" y="114"/>
                </a:lnTo>
                <a:lnTo>
                  <a:pt x="285" y="132"/>
                </a:lnTo>
                <a:lnTo>
                  <a:pt x="283" y="150"/>
                </a:lnTo>
                <a:lnTo>
                  <a:pt x="277" y="164"/>
                </a:lnTo>
                <a:lnTo>
                  <a:pt x="291" y="167"/>
                </a:lnTo>
                <a:lnTo>
                  <a:pt x="304" y="176"/>
                </a:lnTo>
                <a:lnTo>
                  <a:pt x="315" y="182"/>
                </a:lnTo>
                <a:lnTo>
                  <a:pt x="306" y="197"/>
                </a:lnTo>
                <a:lnTo>
                  <a:pt x="297" y="221"/>
                </a:lnTo>
                <a:lnTo>
                  <a:pt x="294" y="240"/>
                </a:lnTo>
                <a:lnTo>
                  <a:pt x="297" y="255"/>
                </a:lnTo>
                <a:lnTo>
                  <a:pt x="301" y="266"/>
                </a:lnTo>
                <a:lnTo>
                  <a:pt x="316" y="27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405" name="Rectangle 66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2588505" y="6202004"/>
            <a:ext cx="701410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Bayels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06" name="Freeform 67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3850362" y="5042267"/>
            <a:ext cx="508630" cy="494022"/>
          </a:xfrm>
          <a:custGeom>
            <a:avLst/>
            <a:gdLst>
              <a:gd name="T0" fmla="*/ 2147483647 w 237"/>
              <a:gd name="T1" fmla="*/ 2147483647 h 230"/>
              <a:gd name="T2" fmla="*/ 2147483647 w 237"/>
              <a:gd name="T3" fmla="*/ 2147483647 h 230"/>
              <a:gd name="T4" fmla="*/ 0 w 237"/>
              <a:gd name="T5" fmla="*/ 2147483647 h 230"/>
              <a:gd name="T6" fmla="*/ 2147483647 w 237"/>
              <a:gd name="T7" fmla="*/ 2147483647 h 230"/>
              <a:gd name="T8" fmla="*/ 2147483647 w 237"/>
              <a:gd name="T9" fmla="*/ 2147483647 h 230"/>
              <a:gd name="T10" fmla="*/ 2147483647 w 237"/>
              <a:gd name="T11" fmla="*/ 2147483647 h 230"/>
              <a:gd name="T12" fmla="*/ 2147483647 w 237"/>
              <a:gd name="T13" fmla="*/ 2147483647 h 230"/>
              <a:gd name="T14" fmla="*/ 2147483647 w 237"/>
              <a:gd name="T15" fmla="*/ 2147483647 h 230"/>
              <a:gd name="T16" fmla="*/ 2147483647 w 237"/>
              <a:gd name="T17" fmla="*/ 2147483647 h 230"/>
              <a:gd name="T18" fmla="*/ 2147483647 w 237"/>
              <a:gd name="T19" fmla="*/ 2147483647 h 230"/>
              <a:gd name="T20" fmla="*/ 2147483647 w 237"/>
              <a:gd name="T21" fmla="*/ 2147483647 h 230"/>
              <a:gd name="T22" fmla="*/ 2147483647 w 237"/>
              <a:gd name="T23" fmla="*/ 2147483647 h 230"/>
              <a:gd name="T24" fmla="*/ 2147483647 w 237"/>
              <a:gd name="T25" fmla="*/ 2147483647 h 230"/>
              <a:gd name="T26" fmla="*/ 2147483647 w 237"/>
              <a:gd name="T27" fmla="*/ 2147483647 h 230"/>
              <a:gd name="T28" fmla="*/ 2147483647 w 237"/>
              <a:gd name="T29" fmla="*/ 2147483647 h 230"/>
              <a:gd name="T30" fmla="*/ 2147483647 w 237"/>
              <a:gd name="T31" fmla="*/ 2147483647 h 230"/>
              <a:gd name="T32" fmla="*/ 2147483647 w 237"/>
              <a:gd name="T33" fmla="*/ 0 h 230"/>
              <a:gd name="T34" fmla="*/ 2147483647 w 237"/>
              <a:gd name="T35" fmla="*/ 2147483647 h 230"/>
              <a:gd name="T36" fmla="*/ 2147483647 w 237"/>
              <a:gd name="T37" fmla="*/ 2147483647 h 230"/>
              <a:gd name="T38" fmla="*/ 2147483647 w 237"/>
              <a:gd name="T39" fmla="*/ 2147483647 h 230"/>
              <a:gd name="T40" fmla="*/ 2147483647 w 237"/>
              <a:gd name="T41" fmla="*/ 2147483647 h 230"/>
              <a:gd name="T42" fmla="*/ 2147483647 w 237"/>
              <a:gd name="T43" fmla="*/ 2147483647 h 230"/>
              <a:gd name="T44" fmla="*/ 2147483647 w 237"/>
              <a:gd name="T45" fmla="*/ 2147483647 h 230"/>
              <a:gd name="T46" fmla="*/ 2147483647 w 237"/>
              <a:gd name="T47" fmla="*/ 2147483647 h 230"/>
              <a:gd name="T48" fmla="*/ 2147483647 w 237"/>
              <a:gd name="T49" fmla="*/ 2147483647 h 230"/>
              <a:gd name="T50" fmla="*/ 2147483647 w 237"/>
              <a:gd name="T51" fmla="*/ 2147483647 h 230"/>
              <a:gd name="T52" fmla="*/ 2147483647 w 237"/>
              <a:gd name="T53" fmla="*/ 2147483647 h 230"/>
              <a:gd name="T54" fmla="*/ 2147483647 w 237"/>
              <a:gd name="T55" fmla="*/ 2147483647 h 230"/>
              <a:gd name="T56" fmla="*/ 2147483647 w 237"/>
              <a:gd name="T57" fmla="*/ 2147483647 h 230"/>
              <a:gd name="T58" fmla="*/ 2147483647 w 237"/>
              <a:gd name="T59" fmla="*/ 2147483647 h 230"/>
              <a:gd name="T60" fmla="*/ 2147483647 w 237"/>
              <a:gd name="T61" fmla="*/ 2147483647 h 230"/>
              <a:gd name="T62" fmla="*/ 2147483647 w 237"/>
              <a:gd name="T63" fmla="*/ 2147483647 h 230"/>
              <a:gd name="T64" fmla="*/ 2147483647 w 237"/>
              <a:gd name="T65" fmla="*/ 2147483647 h 230"/>
              <a:gd name="T66" fmla="*/ 2147483647 w 237"/>
              <a:gd name="T67" fmla="*/ 2147483647 h 230"/>
              <a:gd name="T68" fmla="*/ 2147483647 w 237"/>
              <a:gd name="T69" fmla="*/ 2147483647 h 230"/>
              <a:gd name="T70" fmla="*/ 2147483647 w 237"/>
              <a:gd name="T71" fmla="*/ 2147483647 h 230"/>
              <a:gd name="T72" fmla="*/ 2147483647 w 237"/>
              <a:gd name="T73" fmla="*/ 2147483647 h 230"/>
              <a:gd name="T74" fmla="*/ 2147483647 w 237"/>
              <a:gd name="T75" fmla="*/ 2147483647 h 230"/>
              <a:gd name="T76" fmla="*/ 2147483647 w 237"/>
              <a:gd name="T77" fmla="*/ 2147483647 h 230"/>
              <a:gd name="T78" fmla="*/ 2147483647 w 237"/>
              <a:gd name="T79" fmla="*/ 2147483647 h 230"/>
              <a:gd name="T80" fmla="*/ 2147483647 w 237"/>
              <a:gd name="T81" fmla="*/ 2147483647 h 230"/>
              <a:gd name="T82" fmla="*/ 2147483647 w 237"/>
              <a:gd name="T83" fmla="*/ 2147483647 h 230"/>
              <a:gd name="T84" fmla="*/ 2147483647 w 237"/>
              <a:gd name="T85" fmla="*/ 2147483647 h 230"/>
              <a:gd name="T86" fmla="*/ 2147483647 w 237"/>
              <a:gd name="T87" fmla="*/ 2147483647 h 230"/>
              <a:gd name="T88" fmla="*/ 2147483647 w 237"/>
              <a:gd name="T89" fmla="*/ 2147483647 h 230"/>
              <a:gd name="T90" fmla="*/ 2147483647 w 237"/>
              <a:gd name="T91" fmla="*/ 2147483647 h 23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37"/>
              <a:gd name="T139" fmla="*/ 0 h 230"/>
              <a:gd name="T140" fmla="*/ 237 w 237"/>
              <a:gd name="T141" fmla="*/ 230 h 23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37" h="230">
                <a:moveTo>
                  <a:pt x="14" y="159"/>
                </a:moveTo>
                <a:lnTo>
                  <a:pt x="2" y="147"/>
                </a:lnTo>
                <a:lnTo>
                  <a:pt x="0" y="125"/>
                </a:lnTo>
                <a:lnTo>
                  <a:pt x="3" y="105"/>
                </a:lnTo>
                <a:lnTo>
                  <a:pt x="8" y="84"/>
                </a:lnTo>
                <a:lnTo>
                  <a:pt x="17" y="71"/>
                </a:lnTo>
                <a:lnTo>
                  <a:pt x="33" y="59"/>
                </a:lnTo>
                <a:lnTo>
                  <a:pt x="50" y="48"/>
                </a:lnTo>
                <a:lnTo>
                  <a:pt x="60" y="54"/>
                </a:lnTo>
                <a:lnTo>
                  <a:pt x="68" y="71"/>
                </a:lnTo>
                <a:lnTo>
                  <a:pt x="83" y="60"/>
                </a:lnTo>
                <a:lnTo>
                  <a:pt x="81" y="45"/>
                </a:lnTo>
                <a:lnTo>
                  <a:pt x="86" y="27"/>
                </a:lnTo>
                <a:lnTo>
                  <a:pt x="98" y="17"/>
                </a:lnTo>
                <a:lnTo>
                  <a:pt x="119" y="17"/>
                </a:lnTo>
                <a:lnTo>
                  <a:pt x="132" y="8"/>
                </a:lnTo>
                <a:lnTo>
                  <a:pt x="149" y="0"/>
                </a:lnTo>
                <a:lnTo>
                  <a:pt x="161" y="3"/>
                </a:lnTo>
                <a:lnTo>
                  <a:pt x="174" y="21"/>
                </a:lnTo>
                <a:lnTo>
                  <a:pt x="189" y="45"/>
                </a:lnTo>
                <a:lnTo>
                  <a:pt x="198" y="56"/>
                </a:lnTo>
                <a:lnTo>
                  <a:pt x="213" y="74"/>
                </a:lnTo>
                <a:lnTo>
                  <a:pt x="222" y="96"/>
                </a:lnTo>
                <a:lnTo>
                  <a:pt x="225" y="111"/>
                </a:lnTo>
                <a:lnTo>
                  <a:pt x="237" y="120"/>
                </a:lnTo>
                <a:lnTo>
                  <a:pt x="228" y="131"/>
                </a:lnTo>
                <a:lnTo>
                  <a:pt x="207" y="132"/>
                </a:lnTo>
                <a:lnTo>
                  <a:pt x="197" y="146"/>
                </a:lnTo>
                <a:lnTo>
                  <a:pt x="182" y="162"/>
                </a:lnTo>
                <a:lnTo>
                  <a:pt x="173" y="174"/>
                </a:lnTo>
                <a:lnTo>
                  <a:pt x="173" y="185"/>
                </a:lnTo>
                <a:lnTo>
                  <a:pt x="174" y="203"/>
                </a:lnTo>
                <a:lnTo>
                  <a:pt x="164" y="215"/>
                </a:lnTo>
                <a:lnTo>
                  <a:pt x="150" y="207"/>
                </a:lnTo>
                <a:lnTo>
                  <a:pt x="137" y="221"/>
                </a:lnTo>
                <a:lnTo>
                  <a:pt x="128" y="230"/>
                </a:lnTo>
                <a:lnTo>
                  <a:pt x="113" y="224"/>
                </a:lnTo>
                <a:lnTo>
                  <a:pt x="99" y="210"/>
                </a:lnTo>
                <a:lnTo>
                  <a:pt x="84" y="207"/>
                </a:lnTo>
                <a:lnTo>
                  <a:pt x="77" y="195"/>
                </a:lnTo>
                <a:lnTo>
                  <a:pt x="68" y="182"/>
                </a:lnTo>
                <a:lnTo>
                  <a:pt x="57" y="165"/>
                </a:lnTo>
                <a:lnTo>
                  <a:pt x="44" y="156"/>
                </a:lnTo>
                <a:lnTo>
                  <a:pt x="36" y="150"/>
                </a:lnTo>
                <a:lnTo>
                  <a:pt x="20" y="144"/>
                </a:lnTo>
                <a:lnTo>
                  <a:pt x="14" y="15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407" name="Rectangle 68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3515054" y="5047126"/>
            <a:ext cx="586699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Enugu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08" name="Rectangle 69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3333632" y="5750095"/>
            <a:ext cx="363882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Im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09" name="Rectangle 70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3733733" y="6125876"/>
            <a:ext cx="991297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Akwalbom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10" name="Oval 71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 rot="-671687">
            <a:off x="1522650" y="2447435"/>
            <a:ext cx="6053344" cy="1036637"/>
          </a:xfrm>
          <a:prstGeom prst="ellipse">
            <a:avLst/>
          </a:prstGeom>
          <a:solidFill>
            <a:schemeClr val="accent2">
              <a:alpha val="47842"/>
            </a:schemeClr>
          </a:solidFill>
          <a:ln w="19050" algn="ctr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4411" name="Oval 72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1890355" y="1187274"/>
            <a:ext cx="4044741" cy="1303894"/>
          </a:xfrm>
          <a:prstGeom prst="ellipse">
            <a:avLst/>
          </a:prstGeom>
          <a:solidFill>
            <a:schemeClr val="accent2">
              <a:alpha val="56862"/>
            </a:schemeClr>
          </a:solidFill>
          <a:ln w="19050" algn="ctr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4412" name="Oval 73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 rot="5400000">
            <a:off x="3044571" y="3096100"/>
            <a:ext cx="2748707" cy="1444898"/>
          </a:xfrm>
          <a:prstGeom prst="ellipse">
            <a:avLst/>
          </a:prstGeom>
          <a:solidFill>
            <a:schemeClr val="accent2">
              <a:alpha val="50980"/>
            </a:schemeClr>
          </a:solidFill>
          <a:ln w="19050" algn="ctr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4413" name="Oval 74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 rot="3205562">
            <a:off x="1710663" y="3182756"/>
            <a:ext cx="3774006" cy="1480534"/>
          </a:xfrm>
          <a:prstGeom prst="ellipse">
            <a:avLst/>
          </a:prstGeom>
          <a:solidFill>
            <a:schemeClr val="accent2">
              <a:alpha val="49019"/>
            </a:schemeClr>
          </a:solidFill>
          <a:ln w="19050" algn="ctr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4414" name="Oval 75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 rot="-1279573">
            <a:off x="3843882" y="1347628"/>
            <a:ext cx="1691113" cy="1067412"/>
          </a:xfrm>
          <a:prstGeom prst="ellipse">
            <a:avLst/>
          </a:prstGeom>
          <a:noFill/>
          <a:ln w="19050" algn="ctr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4415" name="Oval 76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 rot="659458">
            <a:off x="623639" y="4452679"/>
            <a:ext cx="4483718" cy="1320092"/>
          </a:xfrm>
          <a:prstGeom prst="ellipse">
            <a:avLst/>
          </a:prstGeom>
          <a:solidFill>
            <a:schemeClr val="accent2">
              <a:alpha val="49019"/>
            </a:schemeClr>
          </a:solidFill>
          <a:ln w="19050" algn="ctr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4416" name="Rectangle 77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5087919" y="2669340"/>
            <a:ext cx="62998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Bauchi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17" name="Rectangle 78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3714295" y="4012109"/>
            <a:ext cx="100739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Nassaraw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18" name="Rectangle 79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4310396" y="4676204"/>
            <a:ext cx="599523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Benue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19" name="Rectangle 80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3161929" y="5414808"/>
            <a:ext cx="857671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Anambr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20" name="Rectangle 81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3662460" y="5683686"/>
            <a:ext cx="418384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Abi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21" name="Rectangle 82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3926494" y="5207481"/>
            <a:ext cx="630494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Ebonyi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4422" name="Rectangle 83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2287215" y="4400848"/>
            <a:ext cx="399148" cy="27699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Ekiti</a:t>
            </a:r>
          </a:p>
        </p:txBody>
      </p:sp>
      <p:sp>
        <p:nvSpPr>
          <p:cNvPr id="14423" name="Line 84"/>
          <p:cNvSpPr>
            <a:spLocks noChangeShapeType="1"/>
          </p:cNvSpPr>
          <p:nvPr>
            <p:custDataLst>
              <p:tags r:id="rId55"/>
            </p:custDataLst>
          </p:nvPr>
        </p:nvSpPr>
        <p:spPr bwMode="gray">
          <a:xfrm flipH="1">
            <a:off x="5168912" y="3701118"/>
            <a:ext cx="2450818" cy="35634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 type="oval" w="med" len="med"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4424" name="Line 85"/>
          <p:cNvSpPr>
            <a:spLocks noChangeShapeType="1"/>
          </p:cNvSpPr>
          <p:nvPr>
            <p:custDataLst>
              <p:tags r:id="rId56"/>
            </p:custDataLst>
          </p:nvPr>
        </p:nvSpPr>
        <p:spPr bwMode="gray">
          <a:xfrm flipH="1">
            <a:off x="7465846" y="2393983"/>
            <a:ext cx="578283" cy="0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 type="oval" w="med" len="med"/>
          </a:ln>
        </p:spPr>
        <p:txBody>
          <a:bodyPr lIns="93296" tIns="46648" rIns="93296" bIns="46648"/>
          <a:lstStyle/>
          <a:p>
            <a:endParaRPr lang="en-US"/>
          </a:p>
        </p:txBody>
      </p:sp>
      <p:graphicFrame>
        <p:nvGraphicFramePr>
          <p:cNvPr id="14338" name="Object 86" hidden="1"/>
          <p:cNvGraphicFramePr>
            <a:graphicFrameLocks noChangeAspect="1"/>
          </p:cNvGraphicFramePr>
          <p:nvPr>
            <p:custDataLst>
              <p:tags r:id="rId57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71" imgW="360" imgH="360" progId="">
                  <p:embed/>
                </p:oleObj>
              </mc:Choice>
              <mc:Fallback>
                <p:oleObj name="think-cell Slide" r:id="rId71" imgW="360" imgH="360" progId="">
                  <p:embed/>
                  <p:pic>
                    <p:nvPicPr>
                      <p:cNvPr id="14338" name="Object 8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25" name="McK 5. Source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GB" sz="1000" dirty="0"/>
              <a:t>SOURCE: Monitor; USAID; WB; IFDC; IFAD; team analysis – from  Isaac </a:t>
            </a:r>
            <a:r>
              <a:rPr lang="en-GB" sz="1000" dirty="0" err="1"/>
              <a:t>Okarofor</a:t>
            </a:r>
            <a:r>
              <a:rPr lang="en-GB" sz="1000" dirty="0"/>
              <a:t>, 2011</a:t>
            </a:r>
          </a:p>
        </p:txBody>
      </p:sp>
      <p:sp>
        <p:nvSpPr>
          <p:cNvPr id="14426" name="Line 89"/>
          <p:cNvSpPr>
            <a:spLocks noChangeShapeType="1"/>
          </p:cNvSpPr>
          <p:nvPr>
            <p:custDataLst>
              <p:tags r:id="rId59"/>
            </p:custDataLst>
          </p:nvPr>
        </p:nvSpPr>
        <p:spPr bwMode="gray">
          <a:xfrm rot="10800000" flipH="1" flipV="1">
            <a:off x="988103" y="1595450"/>
            <a:ext cx="999442" cy="29155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 type="oval" w="med" len="med"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707674" name="Rectangle 90"/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7619730" y="3335055"/>
            <a:ext cx="1394683" cy="602545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3296" tIns="46648" rIns="93296" bIns="46648" anchor="ctr"/>
          <a:lstStyle/>
          <a:p>
            <a:pPr defTabSz="913526">
              <a:defRPr/>
            </a:pPr>
            <a:r>
              <a:rPr lang="en-ZA" sz="1600" dirty="0">
                <a:solidFill>
                  <a:schemeClr val="bg1"/>
                </a:solidFill>
              </a:rPr>
              <a:t>Soya bean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428" name="Line 91"/>
          <p:cNvSpPr>
            <a:spLocks noChangeShapeType="1"/>
          </p:cNvSpPr>
          <p:nvPr>
            <p:custDataLst>
              <p:tags r:id="rId61"/>
            </p:custDataLst>
          </p:nvPr>
        </p:nvSpPr>
        <p:spPr bwMode="gray">
          <a:xfrm rot="10800000" flipH="1" flipV="1">
            <a:off x="349886" y="3963517"/>
            <a:ext cx="379043" cy="531276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 type="oval" w="med" len="med"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707676" name="Rectangle 92"/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8044128" y="2110528"/>
            <a:ext cx="970285" cy="620362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3296" tIns="46648" rIns="93296" bIns="46648" anchor="ctr"/>
          <a:lstStyle/>
          <a:p>
            <a:pPr algn="ctr" defTabSz="913526">
              <a:defRPr/>
            </a:pPr>
            <a:r>
              <a:rPr lang="en-ZA" sz="1600" dirty="0">
                <a:solidFill>
                  <a:schemeClr val="bg1"/>
                </a:solidFill>
              </a:rPr>
              <a:t>Maize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430" name="Line 93"/>
          <p:cNvSpPr>
            <a:spLocks noChangeShapeType="1"/>
          </p:cNvSpPr>
          <p:nvPr>
            <p:custDataLst>
              <p:tags r:id="rId63"/>
            </p:custDataLst>
          </p:nvPr>
        </p:nvSpPr>
        <p:spPr bwMode="gray">
          <a:xfrm flipH="1" flipV="1">
            <a:off x="5091159" y="4400847"/>
            <a:ext cx="2734291" cy="549093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 type="oval" w="med" len="med"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707678" name="Rectangle 94"/>
          <p:cNvSpPr>
            <a:spLocks noChangeArrowheads="1"/>
          </p:cNvSpPr>
          <p:nvPr>
            <p:custDataLst>
              <p:tags r:id="rId64"/>
            </p:custDataLst>
          </p:nvPr>
        </p:nvSpPr>
        <p:spPr bwMode="gray">
          <a:xfrm>
            <a:off x="7825450" y="4862474"/>
            <a:ext cx="1188963" cy="531276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3296" tIns="46648" rIns="93296" bIns="46648" anchor="ctr"/>
          <a:lstStyle/>
          <a:p>
            <a:pPr algn="ctr" defTabSz="913526">
              <a:defRPr/>
            </a:pPr>
            <a:r>
              <a:rPr lang="en-ZA" sz="1600" dirty="0">
                <a:solidFill>
                  <a:schemeClr val="bg1"/>
                </a:solidFill>
              </a:rPr>
              <a:t>Rice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432" name="Line 95"/>
          <p:cNvSpPr>
            <a:spLocks noChangeShapeType="1"/>
          </p:cNvSpPr>
          <p:nvPr>
            <p:custDataLst>
              <p:tags r:id="rId65"/>
            </p:custDataLst>
          </p:nvPr>
        </p:nvSpPr>
        <p:spPr bwMode="gray">
          <a:xfrm rot="10800000" flipH="1">
            <a:off x="1245658" y="2071654"/>
            <a:ext cx="2604703" cy="38874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 type="oval" w="med" len="med"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707680" name="Rectangle 96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129587" y="1878905"/>
            <a:ext cx="1116071" cy="620363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3296" tIns="46648" rIns="93296" bIns="46648" anchor="ctr"/>
          <a:lstStyle/>
          <a:p>
            <a:pPr algn="ctr" defTabSz="913526">
              <a:defRPr/>
            </a:pPr>
            <a:r>
              <a:rPr lang="en-ZA" sz="1600" dirty="0">
                <a:solidFill>
                  <a:schemeClr val="bg1"/>
                </a:solidFill>
              </a:rPr>
              <a:t>Tomato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07681" name="Rectangle 97"/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129588" y="1109526"/>
            <a:ext cx="970285" cy="576629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3296" tIns="46648" rIns="93296" bIns="46648" anchor="ctr"/>
          <a:lstStyle/>
          <a:p>
            <a:pPr algn="ctr" defTabSz="913526">
              <a:defRPr/>
            </a:pPr>
            <a:r>
              <a:rPr lang="en-ZA" sz="1600" dirty="0">
                <a:solidFill>
                  <a:schemeClr val="bg1"/>
                </a:solidFill>
              </a:rPr>
              <a:t>Cotto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07682" name="Rectangle 98"/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129588" y="3335055"/>
            <a:ext cx="970285" cy="587967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3296" tIns="46648" rIns="93296" bIns="46648" anchor="ctr"/>
          <a:lstStyle/>
          <a:p>
            <a:pPr algn="ctr" defTabSz="913526">
              <a:defRPr/>
            </a:pPr>
            <a:r>
              <a:rPr lang="en-ZA" sz="1600" dirty="0">
                <a:solidFill>
                  <a:schemeClr val="bg1"/>
                </a:solidFill>
              </a:rPr>
              <a:t>Cassava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79" name="Rectangle 87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286712" y="150638"/>
            <a:ext cx="8628890" cy="56529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</a:rPr>
              <a:t> Identified 10 high-potential breadbaskets in which to pilot investments -  (2/2)</a:t>
            </a:r>
            <a:endParaRPr lang="en-GB" sz="1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9699" name="Rectangle 280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fld id="{3E1E7817-C2F2-4117-A8EE-6E6C1AE2C9BD}" type="datetimeFigureOut">
              <a:rPr lang="en-US" smtClean="0"/>
              <a:pPr/>
              <a:t>4/7/2021</a:t>
            </a:fld>
            <a:endParaRPr lang="en-GB" sz="1000" b="0" dirty="0">
              <a:solidFill>
                <a:schemeClr val="bg1"/>
              </a:solidFill>
            </a:endParaRPr>
          </a:p>
        </p:txBody>
      </p:sp>
      <p:sp>
        <p:nvSpPr>
          <p:cNvPr id="15365" name="Freeform 2"/>
          <p:cNvSpPr>
            <a:spLocks/>
          </p:cNvSpPr>
          <p:nvPr/>
        </p:nvSpPr>
        <p:spPr bwMode="gray">
          <a:xfrm>
            <a:off x="6056584" y="2528423"/>
            <a:ext cx="1393063" cy="2092710"/>
          </a:xfrm>
          <a:custGeom>
            <a:avLst/>
            <a:gdLst>
              <a:gd name="T0" fmla="*/ 2147483647 w 822"/>
              <a:gd name="T1" fmla="*/ 2147483647 h 1236"/>
              <a:gd name="T2" fmla="*/ 2147483647 w 822"/>
              <a:gd name="T3" fmla="*/ 2147483647 h 1236"/>
              <a:gd name="T4" fmla="*/ 2147483647 w 822"/>
              <a:gd name="T5" fmla="*/ 2147483647 h 1236"/>
              <a:gd name="T6" fmla="*/ 2147483647 w 822"/>
              <a:gd name="T7" fmla="*/ 2147483647 h 1236"/>
              <a:gd name="T8" fmla="*/ 2147483647 w 822"/>
              <a:gd name="T9" fmla="*/ 2147483647 h 1236"/>
              <a:gd name="T10" fmla="*/ 2147483647 w 822"/>
              <a:gd name="T11" fmla="*/ 2147483647 h 1236"/>
              <a:gd name="T12" fmla="*/ 2147483647 w 822"/>
              <a:gd name="T13" fmla="*/ 2147483647 h 1236"/>
              <a:gd name="T14" fmla="*/ 2147483647 w 822"/>
              <a:gd name="T15" fmla="*/ 2147483647 h 1236"/>
              <a:gd name="T16" fmla="*/ 2147483647 w 822"/>
              <a:gd name="T17" fmla="*/ 2147483647 h 1236"/>
              <a:gd name="T18" fmla="*/ 2147483647 w 822"/>
              <a:gd name="T19" fmla="*/ 2147483647 h 1236"/>
              <a:gd name="T20" fmla="*/ 2147483647 w 822"/>
              <a:gd name="T21" fmla="*/ 2147483647 h 1236"/>
              <a:gd name="T22" fmla="*/ 2147483647 w 822"/>
              <a:gd name="T23" fmla="*/ 2147483647 h 1236"/>
              <a:gd name="T24" fmla="*/ 2147483647 w 822"/>
              <a:gd name="T25" fmla="*/ 2147483647 h 1236"/>
              <a:gd name="T26" fmla="*/ 2147483647 w 822"/>
              <a:gd name="T27" fmla="*/ 2147483647 h 1236"/>
              <a:gd name="T28" fmla="*/ 2147483647 w 822"/>
              <a:gd name="T29" fmla="*/ 2147483647 h 1236"/>
              <a:gd name="T30" fmla="*/ 2147483647 w 822"/>
              <a:gd name="T31" fmla="*/ 2147483647 h 1236"/>
              <a:gd name="T32" fmla="*/ 2147483647 w 822"/>
              <a:gd name="T33" fmla="*/ 2147483647 h 1236"/>
              <a:gd name="T34" fmla="*/ 2147483647 w 822"/>
              <a:gd name="T35" fmla="*/ 2147483647 h 1236"/>
              <a:gd name="T36" fmla="*/ 2147483647 w 822"/>
              <a:gd name="T37" fmla="*/ 2147483647 h 1236"/>
              <a:gd name="T38" fmla="*/ 2147483647 w 822"/>
              <a:gd name="T39" fmla="*/ 2147483647 h 1236"/>
              <a:gd name="T40" fmla="*/ 2147483647 w 822"/>
              <a:gd name="T41" fmla="*/ 2147483647 h 1236"/>
              <a:gd name="T42" fmla="*/ 2147483647 w 822"/>
              <a:gd name="T43" fmla="*/ 2147483647 h 1236"/>
              <a:gd name="T44" fmla="*/ 2147483647 w 822"/>
              <a:gd name="T45" fmla="*/ 2147483647 h 1236"/>
              <a:gd name="T46" fmla="*/ 2147483647 w 822"/>
              <a:gd name="T47" fmla="*/ 2147483647 h 1236"/>
              <a:gd name="T48" fmla="*/ 2147483647 w 822"/>
              <a:gd name="T49" fmla="*/ 2147483647 h 1236"/>
              <a:gd name="T50" fmla="*/ 2147483647 w 822"/>
              <a:gd name="T51" fmla="*/ 2147483647 h 1236"/>
              <a:gd name="T52" fmla="*/ 2147483647 w 822"/>
              <a:gd name="T53" fmla="*/ 2147483647 h 1236"/>
              <a:gd name="T54" fmla="*/ 2147483647 w 822"/>
              <a:gd name="T55" fmla="*/ 2147483647 h 1236"/>
              <a:gd name="T56" fmla="*/ 2147483647 w 822"/>
              <a:gd name="T57" fmla="*/ 2147483647 h 1236"/>
              <a:gd name="T58" fmla="*/ 2147483647 w 822"/>
              <a:gd name="T59" fmla="*/ 2147483647 h 1236"/>
              <a:gd name="T60" fmla="*/ 2147483647 w 822"/>
              <a:gd name="T61" fmla="*/ 2147483647 h 1236"/>
              <a:gd name="T62" fmla="*/ 2147483647 w 822"/>
              <a:gd name="T63" fmla="*/ 2147483647 h 1236"/>
              <a:gd name="T64" fmla="*/ 2147483647 w 822"/>
              <a:gd name="T65" fmla="*/ 2147483647 h 1236"/>
              <a:gd name="T66" fmla="*/ 2147483647 w 822"/>
              <a:gd name="T67" fmla="*/ 2147483647 h 1236"/>
              <a:gd name="T68" fmla="*/ 2147483647 w 822"/>
              <a:gd name="T69" fmla="*/ 2147483647 h 1236"/>
              <a:gd name="T70" fmla="*/ 2147483647 w 822"/>
              <a:gd name="T71" fmla="*/ 2147483647 h 1236"/>
              <a:gd name="T72" fmla="*/ 2147483647 w 822"/>
              <a:gd name="T73" fmla="*/ 2147483647 h 1236"/>
              <a:gd name="T74" fmla="*/ 2147483647 w 822"/>
              <a:gd name="T75" fmla="*/ 2147483647 h 1236"/>
              <a:gd name="T76" fmla="*/ 2147483647 w 822"/>
              <a:gd name="T77" fmla="*/ 2147483647 h 1236"/>
              <a:gd name="T78" fmla="*/ 2147483647 w 822"/>
              <a:gd name="T79" fmla="*/ 2147483647 h 1236"/>
              <a:gd name="T80" fmla="*/ 2147483647 w 822"/>
              <a:gd name="T81" fmla="*/ 2147483647 h 1236"/>
              <a:gd name="T82" fmla="*/ 2147483647 w 822"/>
              <a:gd name="T83" fmla="*/ 2147483647 h 1236"/>
              <a:gd name="T84" fmla="*/ 2147483647 w 822"/>
              <a:gd name="T85" fmla="*/ 2147483647 h 1236"/>
              <a:gd name="T86" fmla="*/ 2147483647 w 822"/>
              <a:gd name="T87" fmla="*/ 2147483647 h 1236"/>
              <a:gd name="T88" fmla="*/ 2147483647 w 822"/>
              <a:gd name="T89" fmla="*/ 2147483647 h 1236"/>
              <a:gd name="T90" fmla="*/ 2147483647 w 822"/>
              <a:gd name="T91" fmla="*/ 2147483647 h 1236"/>
              <a:gd name="T92" fmla="*/ 2147483647 w 822"/>
              <a:gd name="T93" fmla="*/ 2147483647 h 1236"/>
              <a:gd name="T94" fmla="*/ 2147483647 w 822"/>
              <a:gd name="T95" fmla="*/ 2147483647 h 1236"/>
              <a:gd name="T96" fmla="*/ 2147483647 w 822"/>
              <a:gd name="T97" fmla="*/ 2147483647 h 1236"/>
              <a:gd name="T98" fmla="*/ 2147483647 w 822"/>
              <a:gd name="T99" fmla="*/ 2147483647 h 1236"/>
              <a:gd name="T100" fmla="*/ 2147483647 w 822"/>
              <a:gd name="T101" fmla="*/ 2147483647 h 1236"/>
              <a:gd name="T102" fmla="*/ 2147483647 w 822"/>
              <a:gd name="T103" fmla="*/ 2147483647 h 1236"/>
              <a:gd name="T104" fmla="*/ 2147483647 w 822"/>
              <a:gd name="T105" fmla="*/ 2147483647 h 1236"/>
              <a:gd name="T106" fmla="*/ 2147483647 w 822"/>
              <a:gd name="T107" fmla="*/ 2147483647 h 1236"/>
              <a:gd name="T108" fmla="*/ 2147483647 w 822"/>
              <a:gd name="T109" fmla="*/ 2147483647 h 1236"/>
              <a:gd name="T110" fmla="*/ 2147483647 w 822"/>
              <a:gd name="T111" fmla="*/ 2147483647 h 1236"/>
              <a:gd name="T112" fmla="*/ 2147483647 w 822"/>
              <a:gd name="T113" fmla="*/ 2147483647 h 1236"/>
              <a:gd name="T114" fmla="*/ 2147483647 w 822"/>
              <a:gd name="T115" fmla="*/ 2147483647 h 1236"/>
              <a:gd name="T116" fmla="*/ 2147483647 w 822"/>
              <a:gd name="T117" fmla="*/ 2147483647 h 1236"/>
              <a:gd name="T118" fmla="*/ 2147483647 w 822"/>
              <a:gd name="T119" fmla="*/ 2147483647 h 1236"/>
              <a:gd name="T120" fmla="*/ 2147483647 w 822"/>
              <a:gd name="T121" fmla="*/ 2147483647 h 12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22"/>
              <a:gd name="T184" fmla="*/ 0 h 1236"/>
              <a:gd name="T185" fmla="*/ 822 w 822"/>
              <a:gd name="T186" fmla="*/ 1236 h 12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22" h="1236">
                <a:moveTo>
                  <a:pt x="187" y="1236"/>
                </a:moveTo>
                <a:lnTo>
                  <a:pt x="187" y="1230"/>
                </a:lnTo>
                <a:lnTo>
                  <a:pt x="182" y="1219"/>
                </a:lnTo>
                <a:lnTo>
                  <a:pt x="176" y="1213"/>
                </a:lnTo>
                <a:lnTo>
                  <a:pt x="176" y="1202"/>
                </a:lnTo>
                <a:lnTo>
                  <a:pt x="176" y="1196"/>
                </a:lnTo>
                <a:lnTo>
                  <a:pt x="170" y="1179"/>
                </a:lnTo>
                <a:lnTo>
                  <a:pt x="170" y="1173"/>
                </a:lnTo>
                <a:lnTo>
                  <a:pt x="170" y="1168"/>
                </a:lnTo>
                <a:lnTo>
                  <a:pt x="170" y="1162"/>
                </a:lnTo>
                <a:lnTo>
                  <a:pt x="170" y="1156"/>
                </a:lnTo>
                <a:lnTo>
                  <a:pt x="170" y="1151"/>
                </a:lnTo>
                <a:lnTo>
                  <a:pt x="170" y="1145"/>
                </a:lnTo>
                <a:lnTo>
                  <a:pt x="170" y="1139"/>
                </a:lnTo>
                <a:lnTo>
                  <a:pt x="170" y="1134"/>
                </a:lnTo>
                <a:lnTo>
                  <a:pt x="170" y="1122"/>
                </a:lnTo>
                <a:lnTo>
                  <a:pt x="165" y="1122"/>
                </a:lnTo>
                <a:lnTo>
                  <a:pt x="159" y="1117"/>
                </a:lnTo>
                <a:lnTo>
                  <a:pt x="159" y="1111"/>
                </a:lnTo>
                <a:lnTo>
                  <a:pt x="153" y="1111"/>
                </a:lnTo>
                <a:lnTo>
                  <a:pt x="153" y="1105"/>
                </a:lnTo>
                <a:lnTo>
                  <a:pt x="148" y="1105"/>
                </a:lnTo>
                <a:lnTo>
                  <a:pt x="142" y="1105"/>
                </a:lnTo>
                <a:lnTo>
                  <a:pt x="136" y="1094"/>
                </a:lnTo>
                <a:lnTo>
                  <a:pt x="131" y="1094"/>
                </a:lnTo>
                <a:lnTo>
                  <a:pt x="131" y="1082"/>
                </a:lnTo>
                <a:lnTo>
                  <a:pt x="125" y="1082"/>
                </a:lnTo>
                <a:lnTo>
                  <a:pt x="119" y="1077"/>
                </a:lnTo>
                <a:lnTo>
                  <a:pt x="114" y="1071"/>
                </a:lnTo>
                <a:lnTo>
                  <a:pt x="114" y="1065"/>
                </a:lnTo>
                <a:lnTo>
                  <a:pt x="108" y="1065"/>
                </a:lnTo>
                <a:lnTo>
                  <a:pt x="102" y="1060"/>
                </a:lnTo>
                <a:lnTo>
                  <a:pt x="97" y="1060"/>
                </a:lnTo>
                <a:lnTo>
                  <a:pt x="91" y="1060"/>
                </a:lnTo>
                <a:lnTo>
                  <a:pt x="91" y="1065"/>
                </a:lnTo>
                <a:lnTo>
                  <a:pt x="85" y="1065"/>
                </a:lnTo>
                <a:lnTo>
                  <a:pt x="80" y="1071"/>
                </a:lnTo>
                <a:lnTo>
                  <a:pt x="80" y="1077"/>
                </a:lnTo>
                <a:lnTo>
                  <a:pt x="80" y="1082"/>
                </a:lnTo>
                <a:lnTo>
                  <a:pt x="74" y="1088"/>
                </a:lnTo>
                <a:lnTo>
                  <a:pt x="74" y="1094"/>
                </a:lnTo>
                <a:lnTo>
                  <a:pt x="68" y="1099"/>
                </a:lnTo>
                <a:lnTo>
                  <a:pt x="63" y="1105"/>
                </a:lnTo>
                <a:lnTo>
                  <a:pt x="57" y="1099"/>
                </a:lnTo>
                <a:lnTo>
                  <a:pt x="51" y="1099"/>
                </a:lnTo>
                <a:lnTo>
                  <a:pt x="51" y="1094"/>
                </a:lnTo>
                <a:lnTo>
                  <a:pt x="46" y="1094"/>
                </a:lnTo>
                <a:lnTo>
                  <a:pt x="46" y="1082"/>
                </a:lnTo>
                <a:lnTo>
                  <a:pt x="40" y="1077"/>
                </a:lnTo>
                <a:lnTo>
                  <a:pt x="40" y="1071"/>
                </a:lnTo>
                <a:lnTo>
                  <a:pt x="34" y="1060"/>
                </a:lnTo>
                <a:lnTo>
                  <a:pt x="34" y="1054"/>
                </a:lnTo>
                <a:lnTo>
                  <a:pt x="29" y="1048"/>
                </a:lnTo>
                <a:lnTo>
                  <a:pt x="23" y="1037"/>
                </a:lnTo>
                <a:lnTo>
                  <a:pt x="17" y="1031"/>
                </a:lnTo>
                <a:lnTo>
                  <a:pt x="17" y="1026"/>
                </a:lnTo>
                <a:lnTo>
                  <a:pt x="12" y="1026"/>
                </a:lnTo>
                <a:lnTo>
                  <a:pt x="6" y="1026"/>
                </a:lnTo>
                <a:lnTo>
                  <a:pt x="0" y="1020"/>
                </a:lnTo>
                <a:lnTo>
                  <a:pt x="6" y="1020"/>
                </a:lnTo>
                <a:lnTo>
                  <a:pt x="6" y="1014"/>
                </a:lnTo>
                <a:lnTo>
                  <a:pt x="12" y="1009"/>
                </a:lnTo>
                <a:lnTo>
                  <a:pt x="17" y="1009"/>
                </a:lnTo>
                <a:lnTo>
                  <a:pt x="17" y="1003"/>
                </a:lnTo>
                <a:lnTo>
                  <a:pt x="17" y="997"/>
                </a:lnTo>
                <a:lnTo>
                  <a:pt x="23" y="997"/>
                </a:lnTo>
                <a:lnTo>
                  <a:pt x="23" y="992"/>
                </a:lnTo>
                <a:lnTo>
                  <a:pt x="29" y="992"/>
                </a:lnTo>
                <a:lnTo>
                  <a:pt x="29" y="986"/>
                </a:lnTo>
                <a:lnTo>
                  <a:pt x="34" y="986"/>
                </a:lnTo>
                <a:lnTo>
                  <a:pt x="34" y="980"/>
                </a:lnTo>
                <a:lnTo>
                  <a:pt x="40" y="980"/>
                </a:lnTo>
                <a:lnTo>
                  <a:pt x="46" y="975"/>
                </a:lnTo>
                <a:lnTo>
                  <a:pt x="46" y="969"/>
                </a:lnTo>
                <a:lnTo>
                  <a:pt x="46" y="963"/>
                </a:lnTo>
                <a:lnTo>
                  <a:pt x="51" y="963"/>
                </a:lnTo>
                <a:lnTo>
                  <a:pt x="51" y="958"/>
                </a:lnTo>
                <a:lnTo>
                  <a:pt x="51" y="952"/>
                </a:lnTo>
                <a:lnTo>
                  <a:pt x="57" y="952"/>
                </a:lnTo>
                <a:lnTo>
                  <a:pt x="63" y="946"/>
                </a:lnTo>
                <a:lnTo>
                  <a:pt x="63" y="941"/>
                </a:lnTo>
                <a:lnTo>
                  <a:pt x="68" y="941"/>
                </a:lnTo>
                <a:lnTo>
                  <a:pt x="68" y="935"/>
                </a:lnTo>
                <a:lnTo>
                  <a:pt x="74" y="929"/>
                </a:lnTo>
                <a:lnTo>
                  <a:pt x="74" y="924"/>
                </a:lnTo>
                <a:lnTo>
                  <a:pt x="80" y="924"/>
                </a:lnTo>
                <a:lnTo>
                  <a:pt x="80" y="918"/>
                </a:lnTo>
                <a:lnTo>
                  <a:pt x="80" y="912"/>
                </a:lnTo>
                <a:lnTo>
                  <a:pt x="85" y="912"/>
                </a:lnTo>
                <a:lnTo>
                  <a:pt x="85" y="907"/>
                </a:lnTo>
                <a:lnTo>
                  <a:pt x="91" y="901"/>
                </a:lnTo>
                <a:lnTo>
                  <a:pt x="97" y="895"/>
                </a:lnTo>
                <a:lnTo>
                  <a:pt x="102" y="895"/>
                </a:lnTo>
                <a:lnTo>
                  <a:pt x="108" y="895"/>
                </a:lnTo>
                <a:lnTo>
                  <a:pt x="108" y="890"/>
                </a:lnTo>
                <a:lnTo>
                  <a:pt x="114" y="890"/>
                </a:lnTo>
                <a:lnTo>
                  <a:pt x="119" y="884"/>
                </a:lnTo>
                <a:lnTo>
                  <a:pt x="125" y="884"/>
                </a:lnTo>
                <a:lnTo>
                  <a:pt x="131" y="878"/>
                </a:lnTo>
                <a:lnTo>
                  <a:pt x="136" y="873"/>
                </a:lnTo>
                <a:lnTo>
                  <a:pt x="136" y="867"/>
                </a:lnTo>
                <a:lnTo>
                  <a:pt x="142" y="867"/>
                </a:lnTo>
                <a:lnTo>
                  <a:pt x="142" y="861"/>
                </a:lnTo>
                <a:lnTo>
                  <a:pt x="148" y="861"/>
                </a:lnTo>
                <a:lnTo>
                  <a:pt x="148" y="856"/>
                </a:lnTo>
                <a:lnTo>
                  <a:pt x="148" y="850"/>
                </a:lnTo>
                <a:lnTo>
                  <a:pt x="148" y="844"/>
                </a:lnTo>
                <a:lnTo>
                  <a:pt x="148" y="839"/>
                </a:lnTo>
                <a:lnTo>
                  <a:pt x="148" y="816"/>
                </a:lnTo>
                <a:lnTo>
                  <a:pt x="153" y="805"/>
                </a:lnTo>
                <a:lnTo>
                  <a:pt x="153" y="799"/>
                </a:lnTo>
                <a:lnTo>
                  <a:pt x="153" y="793"/>
                </a:lnTo>
                <a:lnTo>
                  <a:pt x="153" y="788"/>
                </a:lnTo>
                <a:lnTo>
                  <a:pt x="159" y="788"/>
                </a:lnTo>
                <a:lnTo>
                  <a:pt x="159" y="776"/>
                </a:lnTo>
                <a:lnTo>
                  <a:pt x="165" y="776"/>
                </a:lnTo>
                <a:lnTo>
                  <a:pt x="165" y="771"/>
                </a:lnTo>
                <a:lnTo>
                  <a:pt x="176" y="759"/>
                </a:lnTo>
                <a:lnTo>
                  <a:pt x="182" y="748"/>
                </a:lnTo>
                <a:lnTo>
                  <a:pt x="182" y="742"/>
                </a:lnTo>
                <a:lnTo>
                  <a:pt x="187" y="731"/>
                </a:lnTo>
                <a:lnTo>
                  <a:pt x="187" y="725"/>
                </a:lnTo>
                <a:lnTo>
                  <a:pt x="187" y="720"/>
                </a:lnTo>
                <a:lnTo>
                  <a:pt x="182" y="714"/>
                </a:lnTo>
                <a:lnTo>
                  <a:pt x="182" y="708"/>
                </a:lnTo>
                <a:lnTo>
                  <a:pt x="182" y="703"/>
                </a:lnTo>
                <a:lnTo>
                  <a:pt x="176" y="703"/>
                </a:lnTo>
                <a:lnTo>
                  <a:pt x="165" y="697"/>
                </a:lnTo>
                <a:lnTo>
                  <a:pt x="165" y="691"/>
                </a:lnTo>
                <a:lnTo>
                  <a:pt x="153" y="691"/>
                </a:lnTo>
                <a:lnTo>
                  <a:pt x="153" y="686"/>
                </a:lnTo>
                <a:lnTo>
                  <a:pt x="148" y="680"/>
                </a:lnTo>
                <a:lnTo>
                  <a:pt x="148" y="674"/>
                </a:lnTo>
                <a:lnTo>
                  <a:pt x="136" y="674"/>
                </a:lnTo>
                <a:lnTo>
                  <a:pt x="136" y="669"/>
                </a:lnTo>
                <a:lnTo>
                  <a:pt x="136" y="663"/>
                </a:lnTo>
                <a:lnTo>
                  <a:pt x="131" y="663"/>
                </a:lnTo>
                <a:lnTo>
                  <a:pt x="125" y="657"/>
                </a:lnTo>
                <a:lnTo>
                  <a:pt x="125" y="652"/>
                </a:lnTo>
                <a:lnTo>
                  <a:pt x="125" y="646"/>
                </a:lnTo>
                <a:lnTo>
                  <a:pt x="125" y="635"/>
                </a:lnTo>
                <a:lnTo>
                  <a:pt x="125" y="623"/>
                </a:lnTo>
                <a:lnTo>
                  <a:pt x="125" y="618"/>
                </a:lnTo>
                <a:lnTo>
                  <a:pt x="125" y="606"/>
                </a:lnTo>
                <a:lnTo>
                  <a:pt x="125" y="601"/>
                </a:lnTo>
                <a:lnTo>
                  <a:pt x="125" y="595"/>
                </a:lnTo>
                <a:lnTo>
                  <a:pt x="119" y="595"/>
                </a:lnTo>
                <a:lnTo>
                  <a:pt x="119" y="589"/>
                </a:lnTo>
                <a:lnTo>
                  <a:pt x="119" y="584"/>
                </a:lnTo>
                <a:lnTo>
                  <a:pt x="114" y="584"/>
                </a:lnTo>
                <a:lnTo>
                  <a:pt x="114" y="578"/>
                </a:lnTo>
                <a:lnTo>
                  <a:pt x="108" y="578"/>
                </a:lnTo>
                <a:lnTo>
                  <a:pt x="108" y="572"/>
                </a:lnTo>
                <a:lnTo>
                  <a:pt x="102" y="572"/>
                </a:lnTo>
                <a:lnTo>
                  <a:pt x="102" y="567"/>
                </a:lnTo>
                <a:lnTo>
                  <a:pt x="97" y="567"/>
                </a:lnTo>
                <a:lnTo>
                  <a:pt x="97" y="561"/>
                </a:lnTo>
                <a:lnTo>
                  <a:pt x="91" y="561"/>
                </a:lnTo>
                <a:lnTo>
                  <a:pt x="85" y="555"/>
                </a:lnTo>
                <a:lnTo>
                  <a:pt x="85" y="550"/>
                </a:lnTo>
                <a:lnTo>
                  <a:pt x="80" y="550"/>
                </a:lnTo>
                <a:lnTo>
                  <a:pt x="68" y="550"/>
                </a:lnTo>
                <a:lnTo>
                  <a:pt x="63" y="544"/>
                </a:lnTo>
                <a:lnTo>
                  <a:pt x="57" y="538"/>
                </a:lnTo>
                <a:lnTo>
                  <a:pt x="51" y="538"/>
                </a:lnTo>
                <a:lnTo>
                  <a:pt x="51" y="533"/>
                </a:lnTo>
                <a:lnTo>
                  <a:pt x="51" y="527"/>
                </a:lnTo>
                <a:lnTo>
                  <a:pt x="51" y="521"/>
                </a:lnTo>
                <a:lnTo>
                  <a:pt x="46" y="521"/>
                </a:lnTo>
                <a:lnTo>
                  <a:pt x="46" y="516"/>
                </a:lnTo>
                <a:lnTo>
                  <a:pt x="40" y="516"/>
                </a:lnTo>
                <a:lnTo>
                  <a:pt x="40" y="510"/>
                </a:lnTo>
                <a:lnTo>
                  <a:pt x="40" y="504"/>
                </a:lnTo>
                <a:lnTo>
                  <a:pt x="40" y="499"/>
                </a:lnTo>
                <a:lnTo>
                  <a:pt x="34" y="499"/>
                </a:lnTo>
                <a:lnTo>
                  <a:pt x="23" y="487"/>
                </a:lnTo>
                <a:lnTo>
                  <a:pt x="29" y="487"/>
                </a:lnTo>
                <a:lnTo>
                  <a:pt x="34" y="482"/>
                </a:lnTo>
                <a:lnTo>
                  <a:pt x="46" y="482"/>
                </a:lnTo>
                <a:lnTo>
                  <a:pt x="63" y="482"/>
                </a:lnTo>
                <a:lnTo>
                  <a:pt x="68" y="482"/>
                </a:lnTo>
                <a:lnTo>
                  <a:pt x="68" y="476"/>
                </a:lnTo>
                <a:lnTo>
                  <a:pt x="74" y="476"/>
                </a:lnTo>
                <a:lnTo>
                  <a:pt x="80" y="470"/>
                </a:lnTo>
                <a:lnTo>
                  <a:pt x="85" y="470"/>
                </a:lnTo>
                <a:lnTo>
                  <a:pt x="91" y="470"/>
                </a:lnTo>
                <a:lnTo>
                  <a:pt x="97" y="470"/>
                </a:lnTo>
                <a:lnTo>
                  <a:pt x="102" y="470"/>
                </a:lnTo>
                <a:lnTo>
                  <a:pt x="102" y="465"/>
                </a:lnTo>
                <a:lnTo>
                  <a:pt x="108" y="465"/>
                </a:lnTo>
                <a:lnTo>
                  <a:pt x="114" y="465"/>
                </a:lnTo>
                <a:lnTo>
                  <a:pt x="119" y="459"/>
                </a:lnTo>
                <a:lnTo>
                  <a:pt x="125" y="453"/>
                </a:lnTo>
                <a:lnTo>
                  <a:pt x="131" y="453"/>
                </a:lnTo>
                <a:lnTo>
                  <a:pt x="136" y="453"/>
                </a:lnTo>
                <a:lnTo>
                  <a:pt x="136" y="448"/>
                </a:lnTo>
                <a:lnTo>
                  <a:pt x="136" y="442"/>
                </a:lnTo>
                <a:lnTo>
                  <a:pt x="142" y="442"/>
                </a:lnTo>
                <a:lnTo>
                  <a:pt x="148" y="436"/>
                </a:lnTo>
                <a:lnTo>
                  <a:pt x="153" y="436"/>
                </a:lnTo>
                <a:lnTo>
                  <a:pt x="153" y="431"/>
                </a:lnTo>
                <a:lnTo>
                  <a:pt x="153" y="425"/>
                </a:lnTo>
                <a:lnTo>
                  <a:pt x="159" y="425"/>
                </a:lnTo>
                <a:lnTo>
                  <a:pt x="165" y="425"/>
                </a:lnTo>
                <a:lnTo>
                  <a:pt x="165" y="419"/>
                </a:lnTo>
                <a:lnTo>
                  <a:pt x="170" y="414"/>
                </a:lnTo>
                <a:lnTo>
                  <a:pt x="170" y="402"/>
                </a:lnTo>
                <a:lnTo>
                  <a:pt x="170" y="397"/>
                </a:lnTo>
                <a:lnTo>
                  <a:pt x="170" y="391"/>
                </a:lnTo>
                <a:lnTo>
                  <a:pt x="170" y="374"/>
                </a:lnTo>
                <a:lnTo>
                  <a:pt x="170" y="368"/>
                </a:lnTo>
                <a:lnTo>
                  <a:pt x="170" y="363"/>
                </a:lnTo>
                <a:lnTo>
                  <a:pt x="170" y="357"/>
                </a:lnTo>
                <a:lnTo>
                  <a:pt x="170" y="351"/>
                </a:lnTo>
                <a:lnTo>
                  <a:pt x="165" y="346"/>
                </a:lnTo>
                <a:lnTo>
                  <a:pt x="165" y="340"/>
                </a:lnTo>
                <a:lnTo>
                  <a:pt x="165" y="334"/>
                </a:lnTo>
                <a:lnTo>
                  <a:pt x="165" y="329"/>
                </a:lnTo>
                <a:lnTo>
                  <a:pt x="159" y="317"/>
                </a:lnTo>
                <a:lnTo>
                  <a:pt x="182" y="329"/>
                </a:lnTo>
                <a:lnTo>
                  <a:pt x="187" y="329"/>
                </a:lnTo>
                <a:lnTo>
                  <a:pt x="199" y="329"/>
                </a:lnTo>
                <a:lnTo>
                  <a:pt x="204" y="329"/>
                </a:lnTo>
                <a:lnTo>
                  <a:pt x="210" y="329"/>
                </a:lnTo>
                <a:lnTo>
                  <a:pt x="216" y="329"/>
                </a:lnTo>
                <a:lnTo>
                  <a:pt x="227" y="329"/>
                </a:lnTo>
                <a:lnTo>
                  <a:pt x="233" y="329"/>
                </a:lnTo>
                <a:lnTo>
                  <a:pt x="244" y="317"/>
                </a:lnTo>
                <a:lnTo>
                  <a:pt x="250" y="317"/>
                </a:lnTo>
                <a:lnTo>
                  <a:pt x="250" y="312"/>
                </a:lnTo>
                <a:lnTo>
                  <a:pt x="250" y="300"/>
                </a:lnTo>
                <a:lnTo>
                  <a:pt x="255" y="289"/>
                </a:lnTo>
                <a:lnTo>
                  <a:pt x="255" y="283"/>
                </a:lnTo>
                <a:lnTo>
                  <a:pt x="255" y="278"/>
                </a:lnTo>
                <a:lnTo>
                  <a:pt x="255" y="272"/>
                </a:lnTo>
                <a:lnTo>
                  <a:pt x="261" y="272"/>
                </a:lnTo>
                <a:lnTo>
                  <a:pt x="267" y="266"/>
                </a:lnTo>
                <a:lnTo>
                  <a:pt x="267" y="261"/>
                </a:lnTo>
                <a:lnTo>
                  <a:pt x="272" y="261"/>
                </a:lnTo>
                <a:lnTo>
                  <a:pt x="272" y="255"/>
                </a:lnTo>
                <a:lnTo>
                  <a:pt x="278" y="255"/>
                </a:lnTo>
                <a:lnTo>
                  <a:pt x="284" y="244"/>
                </a:lnTo>
                <a:lnTo>
                  <a:pt x="289" y="238"/>
                </a:lnTo>
                <a:lnTo>
                  <a:pt x="295" y="238"/>
                </a:lnTo>
                <a:lnTo>
                  <a:pt x="301" y="232"/>
                </a:lnTo>
                <a:lnTo>
                  <a:pt x="306" y="232"/>
                </a:lnTo>
                <a:lnTo>
                  <a:pt x="312" y="227"/>
                </a:lnTo>
                <a:lnTo>
                  <a:pt x="318" y="227"/>
                </a:lnTo>
                <a:lnTo>
                  <a:pt x="323" y="227"/>
                </a:lnTo>
                <a:lnTo>
                  <a:pt x="323" y="221"/>
                </a:lnTo>
                <a:lnTo>
                  <a:pt x="329" y="221"/>
                </a:lnTo>
                <a:lnTo>
                  <a:pt x="335" y="221"/>
                </a:lnTo>
                <a:lnTo>
                  <a:pt x="340" y="215"/>
                </a:lnTo>
                <a:lnTo>
                  <a:pt x="352" y="215"/>
                </a:lnTo>
                <a:lnTo>
                  <a:pt x="357" y="215"/>
                </a:lnTo>
                <a:lnTo>
                  <a:pt x="369" y="215"/>
                </a:lnTo>
                <a:lnTo>
                  <a:pt x="386" y="215"/>
                </a:lnTo>
                <a:lnTo>
                  <a:pt x="397" y="215"/>
                </a:lnTo>
                <a:lnTo>
                  <a:pt x="403" y="215"/>
                </a:lnTo>
                <a:lnTo>
                  <a:pt x="409" y="215"/>
                </a:lnTo>
                <a:lnTo>
                  <a:pt x="414" y="210"/>
                </a:lnTo>
                <a:lnTo>
                  <a:pt x="420" y="204"/>
                </a:lnTo>
                <a:lnTo>
                  <a:pt x="426" y="198"/>
                </a:lnTo>
                <a:lnTo>
                  <a:pt x="443" y="181"/>
                </a:lnTo>
                <a:lnTo>
                  <a:pt x="448" y="181"/>
                </a:lnTo>
                <a:lnTo>
                  <a:pt x="448" y="175"/>
                </a:lnTo>
                <a:lnTo>
                  <a:pt x="454" y="170"/>
                </a:lnTo>
                <a:lnTo>
                  <a:pt x="460" y="164"/>
                </a:lnTo>
                <a:lnTo>
                  <a:pt x="465" y="164"/>
                </a:lnTo>
                <a:lnTo>
                  <a:pt x="477" y="153"/>
                </a:lnTo>
                <a:lnTo>
                  <a:pt x="482" y="147"/>
                </a:lnTo>
                <a:lnTo>
                  <a:pt x="482" y="141"/>
                </a:lnTo>
                <a:lnTo>
                  <a:pt x="494" y="136"/>
                </a:lnTo>
                <a:lnTo>
                  <a:pt x="499" y="130"/>
                </a:lnTo>
                <a:lnTo>
                  <a:pt x="505" y="130"/>
                </a:lnTo>
                <a:lnTo>
                  <a:pt x="505" y="124"/>
                </a:lnTo>
                <a:lnTo>
                  <a:pt x="511" y="124"/>
                </a:lnTo>
                <a:lnTo>
                  <a:pt x="516" y="119"/>
                </a:lnTo>
                <a:lnTo>
                  <a:pt x="522" y="119"/>
                </a:lnTo>
                <a:lnTo>
                  <a:pt x="528" y="119"/>
                </a:lnTo>
                <a:lnTo>
                  <a:pt x="533" y="119"/>
                </a:lnTo>
                <a:lnTo>
                  <a:pt x="539" y="124"/>
                </a:lnTo>
                <a:lnTo>
                  <a:pt x="545" y="130"/>
                </a:lnTo>
                <a:lnTo>
                  <a:pt x="550" y="130"/>
                </a:lnTo>
                <a:lnTo>
                  <a:pt x="556" y="136"/>
                </a:lnTo>
                <a:lnTo>
                  <a:pt x="562" y="141"/>
                </a:lnTo>
                <a:lnTo>
                  <a:pt x="567" y="141"/>
                </a:lnTo>
                <a:lnTo>
                  <a:pt x="573" y="147"/>
                </a:lnTo>
                <a:lnTo>
                  <a:pt x="579" y="147"/>
                </a:lnTo>
                <a:lnTo>
                  <a:pt x="584" y="153"/>
                </a:lnTo>
                <a:lnTo>
                  <a:pt x="590" y="158"/>
                </a:lnTo>
                <a:lnTo>
                  <a:pt x="596" y="158"/>
                </a:lnTo>
                <a:lnTo>
                  <a:pt x="601" y="158"/>
                </a:lnTo>
                <a:lnTo>
                  <a:pt x="607" y="158"/>
                </a:lnTo>
                <a:lnTo>
                  <a:pt x="618" y="158"/>
                </a:lnTo>
                <a:lnTo>
                  <a:pt x="635" y="164"/>
                </a:lnTo>
                <a:lnTo>
                  <a:pt x="647" y="164"/>
                </a:lnTo>
                <a:lnTo>
                  <a:pt x="647" y="158"/>
                </a:lnTo>
                <a:lnTo>
                  <a:pt x="652" y="158"/>
                </a:lnTo>
                <a:lnTo>
                  <a:pt x="658" y="158"/>
                </a:lnTo>
                <a:lnTo>
                  <a:pt x="658" y="153"/>
                </a:lnTo>
                <a:lnTo>
                  <a:pt x="664" y="153"/>
                </a:lnTo>
                <a:lnTo>
                  <a:pt x="664" y="147"/>
                </a:lnTo>
                <a:lnTo>
                  <a:pt x="664" y="130"/>
                </a:lnTo>
                <a:lnTo>
                  <a:pt x="669" y="130"/>
                </a:lnTo>
                <a:lnTo>
                  <a:pt x="669" y="124"/>
                </a:lnTo>
                <a:lnTo>
                  <a:pt x="669" y="119"/>
                </a:lnTo>
                <a:lnTo>
                  <a:pt x="669" y="113"/>
                </a:lnTo>
                <a:lnTo>
                  <a:pt x="669" y="107"/>
                </a:lnTo>
                <a:lnTo>
                  <a:pt x="669" y="102"/>
                </a:lnTo>
                <a:lnTo>
                  <a:pt x="675" y="102"/>
                </a:lnTo>
                <a:lnTo>
                  <a:pt x="675" y="96"/>
                </a:lnTo>
                <a:lnTo>
                  <a:pt x="675" y="90"/>
                </a:lnTo>
                <a:lnTo>
                  <a:pt x="681" y="85"/>
                </a:lnTo>
                <a:lnTo>
                  <a:pt x="681" y="79"/>
                </a:lnTo>
                <a:lnTo>
                  <a:pt x="686" y="68"/>
                </a:lnTo>
                <a:lnTo>
                  <a:pt x="692" y="51"/>
                </a:lnTo>
                <a:lnTo>
                  <a:pt x="698" y="39"/>
                </a:lnTo>
                <a:lnTo>
                  <a:pt x="698" y="34"/>
                </a:lnTo>
                <a:lnTo>
                  <a:pt x="698" y="22"/>
                </a:lnTo>
                <a:lnTo>
                  <a:pt x="703" y="17"/>
                </a:lnTo>
                <a:lnTo>
                  <a:pt x="709" y="17"/>
                </a:lnTo>
                <a:lnTo>
                  <a:pt x="709" y="11"/>
                </a:lnTo>
                <a:lnTo>
                  <a:pt x="715" y="11"/>
                </a:lnTo>
                <a:lnTo>
                  <a:pt x="720" y="11"/>
                </a:lnTo>
                <a:lnTo>
                  <a:pt x="726" y="11"/>
                </a:lnTo>
                <a:lnTo>
                  <a:pt x="743" y="11"/>
                </a:lnTo>
                <a:lnTo>
                  <a:pt x="754" y="11"/>
                </a:lnTo>
                <a:lnTo>
                  <a:pt x="760" y="11"/>
                </a:lnTo>
                <a:lnTo>
                  <a:pt x="766" y="11"/>
                </a:lnTo>
                <a:lnTo>
                  <a:pt x="766" y="5"/>
                </a:lnTo>
                <a:lnTo>
                  <a:pt x="771" y="5"/>
                </a:lnTo>
                <a:lnTo>
                  <a:pt x="777" y="5"/>
                </a:lnTo>
                <a:lnTo>
                  <a:pt x="783" y="5"/>
                </a:lnTo>
                <a:lnTo>
                  <a:pt x="788" y="0"/>
                </a:lnTo>
                <a:lnTo>
                  <a:pt x="800" y="0"/>
                </a:lnTo>
                <a:lnTo>
                  <a:pt x="817" y="0"/>
                </a:lnTo>
                <a:lnTo>
                  <a:pt x="822" y="0"/>
                </a:lnTo>
                <a:lnTo>
                  <a:pt x="822" y="5"/>
                </a:lnTo>
                <a:lnTo>
                  <a:pt x="817" y="5"/>
                </a:lnTo>
                <a:lnTo>
                  <a:pt x="817" y="17"/>
                </a:lnTo>
                <a:lnTo>
                  <a:pt x="811" y="22"/>
                </a:lnTo>
                <a:lnTo>
                  <a:pt x="805" y="22"/>
                </a:lnTo>
                <a:lnTo>
                  <a:pt x="805" y="28"/>
                </a:lnTo>
                <a:lnTo>
                  <a:pt x="800" y="28"/>
                </a:lnTo>
                <a:lnTo>
                  <a:pt x="800" y="34"/>
                </a:lnTo>
                <a:lnTo>
                  <a:pt x="794" y="39"/>
                </a:lnTo>
                <a:lnTo>
                  <a:pt x="794" y="45"/>
                </a:lnTo>
                <a:lnTo>
                  <a:pt x="788" y="56"/>
                </a:lnTo>
                <a:lnTo>
                  <a:pt x="788" y="62"/>
                </a:lnTo>
                <a:lnTo>
                  <a:pt x="788" y="68"/>
                </a:lnTo>
                <a:lnTo>
                  <a:pt x="788" y="73"/>
                </a:lnTo>
                <a:lnTo>
                  <a:pt x="783" y="73"/>
                </a:lnTo>
                <a:lnTo>
                  <a:pt x="783" y="79"/>
                </a:lnTo>
                <a:lnTo>
                  <a:pt x="777" y="85"/>
                </a:lnTo>
                <a:lnTo>
                  <a:pt x="771" y="85"/>
                </a:lnTo>
                <a:lnTo>
                  <a:pt x="766" y="90"/>
                </a:lnTo>
                <a:lnTo>
                  <a:pt x="766" y="102"/>
                </a:lnTo>
                <a:lnTo>
                  <a:pt x="766" y="107"/>
                </a:lnTo>
                <a:lnTo>
                  <a:pt x="766" y="113"/>
                </a:lnTo>
                <a:lnTo>
                  <a:pt x="766" y="119"/>
                </a:lnTo>
                <a:lnTo>
                  <a:pt x="766" y="124"/>
                </a:lnTo>
                <a:lnTo>
                  <a:pt x="766" y="130"/>
                </a:lnTo>
                <a:lnTo>
                  <a:pt x="771" y="130"/>
                </a:lnTo>
                <a:lnTo>
                  <a:pt x="771" y="136"/>
                </a:lnTo>
                <a:lnTo>
                  <a:pt x="771" y="141"/>
                </a:lnTo>
                <a:lnTo>
                  <a:pt x="771" y="147"/>
                </a:lnTo>
                <a:lnTo>
                  <a:pt x="771" y="153"/>
                </a:lnTo>
                <a:lnTo>
                  <a:pt x="766" y="153"/>
                </a:lnTo>
                <a:lnTo>
                  <a:pt x="766" y="158"/>
                </a:lnTo>
                <a:lnTo>
                  <a:pt x="760" y="164"/>
                </a:lnTo>
                <a:lnTo>
                  <a:pt x="760" y="170"/>
                </a:lnTo>
                <a:lnTo>
                  <a:pt x="760" y="175"/>
                </a:lnTo>
                <a:lnTo>
                  <a:pt x="760" y="181"/>
                </a:lnTo>
                <a:lnTo>
                  <a:pt x="760" y="187"/>
                </a:lnTo>
                <a:lnTo>
                  <a:pt x="754" y="193"/>
                </a:lnTo>
                <a:lnTo>
                  <a:pt x="754" y="198"/>
                </a:lnTo>
                <a:lnTo>
                  <a:pt x="760" y="204"/>
                </a:lnTo>
                <a:lnTo>
                  <a:pt x="760" y="210"/>
                </a:lnTo>
                <a:lnTo>
                  <a:pt x="754" y="215"/>
                </a:lnTo>
                <a:lnTo>
                  <a:pt x="754" y="221"/>
                </a:lnTo>
                <a:lnTo>
                  <a:pt x="749" y="227"/>
                </a:lnTo>
                <a:lnTo>
                  <a:pt x="743" y="232"/>
                </a:lnTo>
                <a:lnTo>
                  <a:pt x="743" y="238"/>
                </a:lnTo>
                <a:lnTo>
                  <a:pt x="743" y="244"/>
                </a:lnTo>
                <a:lnTo>
                  <a:pt x="743" y="249"/>
                </a:lnTo>
                <a:lnTo>
                  <a:pt x="737" y="255"/>
                </a:lnTo>
                <a:lnTo>
                  <a:pt x="732" y="261"/>
                </a:lnTo>
                <a:lnTo>
                  <a:pt x="726" y="266"/>
                </a:lnTo>
                <a:lnTo>
                  <a:pt x="726" y="272"/>
                </a:lnTo>
                <a:lnTo>
                  <a:pt x="720" y="272"/>
                </a:lnTo>
                <a:lnTo>
                  <a:pt x="715" y="278"/>
                </a:lnTo>
                <a:lnTo>
                  <a:pt x="709" y="278"/>
                </a:lnTo>
                <a:lnTo>
                  <a:pt x="703" y="278"/>
                </a:lnTo>
                <a:lnTo>
                  <a:pt x="698" y="278"/>
                </a:lnTo>
                <a:lnTo>
                  <a:pt x="692" y="278"/>
                </a:lnTo>
                <a:lnTo>
                  <a:pt x="692" y="283"/>
                </a:lnTo>
                <a:lnTo>
                  <a:pt x="686" y="283"/>
                </a:lnTo>
                <a:lnTo>
                  <a:pt x="681" y="289"/>
                </a:lnTo>
                <a:lnTo>
                  <a:pt x="681" y="295"/>
                </a:lnTo>
                <a:lnTo>
                  <a:pt x="675" y="300"/>
                </a:lnTo>
                <a:lnTo>
                  <a:pt x="669" y="312"/>
                </a:lnTo>
                <a:lnTo>
                  <a:pt x="664" y="312"/>
                </a:lnTo>
                <a:lnTo>
                  <a:pt x="664" y="317"/>
                </a:lnTo>
                <a:lnTo>
                  <a:pt x="669" y="323"/>
                </a:lnTo>
                <a:lnTo>
                  <a:pt x="675" y="329"/>
                </a:lnTo>
                <a:lnTo>
                  <a:pt x="675" y="334"/>
                </a:lnTo>
                <a:lnTo>
                  <a:pt x="675" y="340"/>
                </a:lnTo>
                <a:lnTo>
                  <a:pt x="669" y="346"/>
                </a:lnTo>
                <a:lnTo>
                  <a:pt x="669" y="351"/>
                </a:lnTo>
                <a:lnTo>
                  <a:pt x="664" y="351"/>
                </a:lnTo>
                <a:lnTo>
                  <a:pt x="658" y="357"/>
                </a:lnTo>
                <a:lnTo>
                  <a:pt x="658" y="363"/>
                </a:lnTo>
                <a:lnTo>
                  <a:pt x="658" y="368"/>
                </a:lnTo>
                <a:lnTo>
                  <a:pt x="664" y="374"/>
                </a:lnTo>
                <a:lnTo>
                  <a:pt x="669" y="380"/>
                </a:lnTo>
                <a:lnTo>
                  <a:pt x="675" y="380"/>
                </a:lnTo>
                <a:lnTo>
                  <a:pt x="675" y="385"/>
                </a:lnTo>
                <a:lnTo>
                  <a:pt x="681" y="385"/>
                </a:lnTo>
                <a:lnTo>
                  <a:pt x="681" y="391"/>
                </a:lnTo>
                <a:lnTo>
                  <a:pt x="681" y="397"/>
                </a:lnTo>
                <a:lnTo>
                  <a:pt x="681" y="402"/>
                </a:lnTo>
                <a:lnTo>
                  <a:pt x="675" y="402"/>
                </a:lnTo>
                <a:lnTo>
                  <a:pt x="669" y="408"/>
                </a:lnTo>
                <a:lnTo>
                  <a:pt x="669" y="414"/>
                </a:lnTo>
                <a:lnTo>
                  <a:pt x="669" y="419"/>
                </a:lnTo>
                <a:lnTo>
                  <a:pt x="669" y="425"/>
                </a:lnTo>
                <a:lnTo>
                  <a:pt x="669" y="431"/>
                </a:lnTo>
                <a:lnTo>
                  <a:pt x="669" y="436"/>
                </a:lnTo>
                <a:lnTo>
                  <a:pt x="664" y="442"/>
                </a:lnTo>
                <a:lnTo>
                  <a:pt x="664" y="448"/>
                </a:lnTo>
                <a:lnTo>
                  <a:pt x="664" y="453"/>
                </a:lnTo>
                <a:lnTo>
                  <a:pt x="664" y="459"/>
                </a:lnTo>
                <a:lnTo>
                  <a:pt x="664" y="465"/>
                </a:lnTo>
                <a:lnTo>
                  <a:pt x="664" y="470"/>
                </a:lnTo>
                <a:lnTo>
                  <a:pt x="664" y="476"/>
                </a:lnTo>
                <a:lnTo>
                  <a:pt x="658" y="476"/>
                </a:lnTo>
                <a:lnTo>
                  <a:pt x="658" y="482"/>
                </a:lnTo>
                <a:lnTo>
                  <a:pt x="652" y="482"/>
                </a:lnTo>
                <a:lnTo>
                  <a:pt x="647" y="482"/>
                </a:lnTo>
                <a:lnTo>
                  <a:pt x="647" y="487"/>
                </a:lnTo>
                <a:lnTo>
                  <a:pt x="641" y="487"/>
                </a:lnTo>
                <a:lnTo>
                  <a:pt x="635" y="487"/>
                </a:lnTo>
                <a:lnTo>
                  <a:pt x="630" y="487"/>
                </a:lnTo>
                <a:lnTo>
                  <a:pt x="630" y="493"/>
                </a:lnTo>
                <a:lnTo>
                  <a:pt x="624" y="493"/>
                </a:lnTo>
                <a:lnTo>
                  <a:pt x="618" y="493"/>
                </a:lnTo>
                <a:lnTo>
                  <a:pt x="613" y="493"/>
                </a:lnTo>
                <a:lnTo>
                  <a:pt x="601" y="493"/>
                </a:lnTo>
                <a:lnTo>
                  <a:pt x="596" y="493"/>
                </a:lnTo>
                <a:lnTo>
                  <a:pt x="596" y="499"/>
                </a:lnTo>
                <a:lnTo>
                  <a:pt x="584" y="499"/>
                </a:lnTo>
                <a:lnTo>
                  <a:pt x="579" y="504"/>
                </a:lnTo>
                <a:lnTo>
                  <a:pt x="573" y="510"/>
                </a:lnTo>
                <a:lnTo>
                  <a:pt x="567" y="510"/>
                </a:lnTo>
                <a:lnTo>
                  <a:pt x="562" y="516"/>
                </a:lnTo>
                <a:lnTo>
                  <a:pt x="556" y="516"/>
                </a:lnTo>
                <a:lnTo>
                  <a:pt x="556" y="521"/>
                </a:lnTo>
                <a:lnTo>
                  <a:pt x="550" y="527"/>
                </a:lnTo>
                <a:lnTo>
                  <a:pt x="545" y="527"/>
                </a:lnTo>
                <a:lnTo>
                  <a:pt x="533" y="533"/>
                </a:lnTo>
                <a:lnTo>
                  <a:pt x="528" y="538"/>
                </a:lnTo>
                <a:lnTo>
                  <a:pt x="528" y="544"/>
                </a:lnTo>
                <a:lnTo>
                  <a:pt x="528" y="550"/>
                </a:lnTo>
                <a:lnTo>
                  <a:pt x="539" y="550"/>
                </a:lnTo>
                <a:lnTo>
                  <a:pt x="545" y="550"/>
                </a:lnTo>
                <a:lnTo>
                  <a:pt x="545" y="555"/>
                </a:lnTo>
                <a:lnTo>
                  <a:pt x="545" y="561"/>
                </a:lnTo>
                <a:lnTo>
                  <a:pt x="545" y="567"/>
                </a:lnTo>
                <a:lnTo>
                  <a:pt x="545" y="572"/>
                </a:lnTo>
                <a:lnTo>
                  <a:pt x="545" y="578"/>
                </a:lnTo>
                <a:lnTo>
                  <a:pt x="545" y="584"/>
                </a:lnTo>
                <a:lnTo>
                  <a:pt x="545" y="589"/>
                </a:lnTo>
                <a:lnTo>
                  <a:pt x="545" y="595"/>
                </a:lnTo>
                <a:lnTo>
                  <a:pt x="539" y="595"/>
                </a:lnTo>
                <a:lnTo>
                  <a:pt x="539" y="601"/>
                </a:lnTo>
                <a:lnTo>
                  <a:pt x="539" y="606"/>
                </a:lnTo>
                <a:lnTo>
                  <a:pt x="539" y="612"/>
                </a:lnTo>
                <a:lnTo>
                  <a:pt x="533" y="618"/>
                </a:lnTo>
                <a:lnTo>
                  <a:pt x="533" y="623"/>
                </a:lnTo>
                <a:lnTo>
                  <a:pt x="539" y="623"/>
                </a:lnTo>
                <a:lnTo>
                  <a:pt x="539" y="629"/>
                </a:lnTo>
                <a:lnTo>
                  <a:pt x="539" y="635"/>
                </a:lnTo>
                <a:lnTo>
                  <a:pt x="539" y="640"/>
                </a:lnTo>
                <a:lnTo>
                  <a:pt x="539" y="646"/>
                </a:lnTo>
                <a:lnTo>
                  <a:pt x="539" y="652"/>
                </a:lnTo>
                <a:lnTo>
                  <a:pt x="533" y="652"/>
                </a:lnTo>
                <a:lnTo>
                  <a:pt x="533" y="657"/>
                </a:lnTo>
                <a:lnTo>
                  <a:pt x="533" y="663"/>
                </a:lnTo>
                <a:lnTo>
                  <a:pt x="533" y="669"/>
                </a:lnTo>
                <a:lnTo>
                  <a:pt x="528" y="674"/>
                </a:lnTo>
                <a:lnTo>
                  <a:pt x="528" y="680"/>
                </a:lnTo>
                <a:lnTo>
                  <a:pt x="522" y="686"/>
                </a:lnTo>
                <a:lnTo>
                  <a:pt x="522" y="691"/>
                </a:lnTo>
                <a:lnTo>
                  <a:pt x="516" y="697"/>
                </a:lnTo>
                <a:lnTo>
                  <a:pt x="511" y="703"/>
                </a:lnTo>
                <a:lnTo>
                  <a:pt x="505" y="703"/>
                </a:lnTo>
                <a:lnTo>
                  <a:pt x="505" y="708"/>
                </a:lnTo>
                <a:lnTo>
                  <a:pt x="505" y="714"/>
                </a:lnTo>
                <a:lnTo>
                  <a:pt x="511" y="714"/>
                </a:lnTo>
                <a:lnTo>
                  <a:pt x="505" y="720"/>
                </a:lnTo>
                <a:lnTo>
                  <a:pt x="505" y="725"/>
                </a:lnTo>
                <a:lnTo>
                  <a:pt x="505" y="731"/>
                </a:lnTo>
                <a:lnTo>
                  <a:pt x="505" y="737"/>
                </a:lnTo>
                <a:lnTo>
                  <a:pt x="511" y="742"/>
                </a:lnTo>
                <a:lnTo>
                  <a:pt x="511" y="748"/>
                </a:lnTo>
                <a:lnTo>
                  <a:pt x="511" y="759"/>
                </a:lnTo>
                <a:lnTo>
                  <a:pt x="505" y="759"/>
                </a:lnTo>
                <a:lnTo>
                  <a:pt x="499" y="765"/>
                </a:lnTo>
                <a:lnTo>
                  <a:pt x="494" y="765"/>
                </a:lnTo>
                <a:lnTo>
                  <a:pt x="494" y="759"/>
                </a:lnTo>
                <a:lnTo>
                  <a:pt x="488" y="759"/>
                </a:lnTo>
                <a:lnTo>
                  <a:pt x="488" y="765"/>
                </a:lnTo>
                <a:lnTo>
                  <a:pt x="482" y="765"/>
                </a:lnTo>
                <a:lnTo>
                  <a:pt x="477" y="771"/>
                </a:lnTo>
                <a:lnTo>
                  <a:pt x="477" y="776"/>
                </a:lnTo>
                <a:lnTo>
                  <a:pt x="477" y="782"/>
                </a:lnTo>
                <a:lnTo>
                  <a:pt x="477" y="788"/>
                </a:lnTo>
                <a:lnTo>
                  <a:pt x="471" y="793"/>
                </a:lnTo>
                <a:lnTo>
                  <a:pt x="465" y="799"/>
                </a:lnTo>
                <a:lnTo>
                  <a:pt x="465" y="805"/>
                </a:lnTo>
                <a:lnTo>
                  <a:pt x="460" y="805"/>
                </a:lnTo>
                <a:lnTo>
                  <a:pt x="454" y="805"/>
                </a:lnTo>
                <a:lnTo>
                  <a:pt x="448" y="810"/>
                </a:lnTo>
                <a:lnTo>
                  <a:pt x="437" y="816"/>
                </a:lnTo>
                <a:lnTo>
                  <a:pt x="431" y="822"/>
                </a:lnTo>
                <a:lnTo>
                  <a:pt x="426" y="822"/>
                </a:lnTo>
                <a:lnTo>
                  <a:pt x="426" y="816"/>
                </a:lnTo>
                <a:lnTo>
                  <a:pt x="420" y="816"/>
                </a:lnTo>
                <a:lnTo>
                  <a:pt x="414" y="816"/>
                </a:lnTo>
                <a:lnTo>
                  <a:pt x="409" y="810"/>
                </a:lnTo>
                <a:lnTo>
                  <a:pt x="397" y="810"/>
                </a:lnTo>
                <a:lnTo>
                  <a:pt x="392" y="810"/>
                </a:lnTo>
                <a:lnTo>
                  <a:pt x="392" y="816"/>
                </a:lnTo>
                <a:lnTo>
                  <a:pt x="392" y="822"/>
                </a:lnTo>
                <a:lnTo>
                  <a:pt x="386" y="827"/>
                </a:lnTo>
                <a:lnTo>
                  <a:pt x="380" y="833"/>
                </a:lnTo>
                <a:lnTo>
                  <a:pt x="380" y="839"/>
                </a:lnTo>
                <a:lnTo>
                  <a:pt x="380" y="844"/>
                </a:lnTo>
                <a:lnTo>
                  <a:pt x="380" y="850"/>
                </a:lnTo>
                <a:lnTo>
                  <a:pt x="374" y="856"/>
                </a:lnTo>
                <a:lnTo>
                  <a:pt x="369" y="861"/>
                </a:lnTo>
                <a:lnTo>
                  <a:pt x="363" y="861"/>
                </a:lnTo>
                <a:lnTo>
                  <a:pt x="357" y="861"/>
                </a:lnTo>
                <a:lnTo>
                  <a:pt x="352" y="861"/>
                </a:lnTo>
                <a:lnTo>
                  <a:pt x="352" y="867"/>
                </a:lnTo>
                <a:lnTo>
                  <a:pt x="346" y="867"/>
                </a:lnTo>
                <a:lnTo>
                  <a:pt x="335" y="867"/>
                </a:lnTo>
                <a:lnTo>
                  <a:pt x="329" y="867"/>
                </a:lnTo>
                <a:lnTo>
                  <a:pt x="323" y="873"/>
                </a:lnTo>
                <a:lnTo>
                  <a:pt x="318" y="873"/>
                </a:lnTo>
                <a:lnTo>
                  <a:pt x="312" y="873"/>
                </a:lnTo>
                <a:lnTo>
                  <a:pt x="312" y="878"/>
                </a:lnTo>
                <a:lnTo>
                  <a:pt x="306" y="878"/>
                </a:lnTo>
                <a:lnTo>
                  <a:pt x="306" y="890"/>
                </a:lnTo>
                <a:lnTo>
                  <a:pt x="306" y="895"/>
                </a:lnTo>
                <a:lnTo>
                  <a:pt x="306" y="901"/>
                </a:lnTo>
                <a:lnTo>
                  <a:pt x="306" y="907"/>
                </a:lnTo>
                <a:lnTo>
                  <a:pt x="306" y="912"/>
                </a:lnTo>
                <a:lnTo>
                  <a:pt x="312" y="918"/>
                </a:lnTo>
                <a:lnTo>
                  <a:pt x="312" y="929"/>
                </a:lnTo>
                <a:lnTo>
                  <a:pt x="318" y="952"/>
                </a:lnTo>
                <a:lnTo>
                  <a:pt x="318" y="963"/>
                </a:lnTo>
                <a:lnTo>
                  <a:pt x="318" y="969"/>
                </a:lnTo>
                <a:lnTo>
                  <a:pt x="312" y="975"/>
                </a:lnTo>
                <a:lnTo>
                  <a:pt x="306" y="980"/>
                </a:lnTo>
                <a:lnTo>
                  <a:pt x="306" y="986"/>
                </a:lnTo>
                <a:lnTo>
                  <a:pt x="301" y="986"/>
                </a:lnTo>
                <a:lnTo>
                  <a:pt x="301" y="992"/>
                </a:lnTo>
                <a:lnTo>
                  <a:pt x="301" y="997"/>
                </a:lnTo>
                <a:lnTo>
                  <a:pt x="295" y="997"/>
                </a:lnTo>
                <a:lnTo>
                  <a:pt x="301" y="1003"/>
                </a:lnTo>
                <a:lnTo>
                  <a:pt x="301" y="1009"/>
                </a:lnTo>
                <a:lnTo>
                  <a:pt x="301" y="1014"/>
                </a:lnTo>
                <a:lnTo>
                  <a:pt x="301" y="1020"/>
                </a:lnTo>
                <a:lnTo>
                  <a:pt x="301" y="1026"/>
                </a:lnTo>
                <a:lnTo>
                  <a:pt x="301" y="1031"/>
                </a:lnTo>
                <a:lnTo>
                  <a:pt x="301" y="1037"/>
                </a:lnTo>
                <a:lnTo>
                  <a:pt x="301" y="1043"/>
                </a:lnTo>
                <a:lnTo>
                  <a:pt x="295" y="1048"/>
                </a:lnTo>
                <a:lnTo>
                  <a:pt x="295" y="1054"/>
                </a:lnTo>
                <a:lnTo>
                  <a:pt x="289" y="1054"/>
                </a:lnTo>
                <a:lnTo>
                  <a:pt x="289" y="1060"/>
                </a:lnTo>
                <a:lnTo>
                  <a:pt x="284" y="1060"/>
                </a:lnTo>
                <a:lnTo>
                  <a:pt x="284" y="1065"/>
                </a:lnTo>
                <a:lnTo>
                  <a:pt x="278" y="1071"/>
                </a:lnTo>
                <a:lnTo>
                  <a:pt x="272" y="1077"/>
                </a:lnTo>
                <a:lnTo>
                  <a:pt x="267" y="1082"/>
                </a:lnTo>
                <a:lnTo>
                  <a:pt x="261" y="1088"/>
                </a:lnTo>
                <a:lnTo>
                  <a:pt x="255" y="1094"/>
                </a:lnTo>
                <a:lnTo>
                  <a:pt x="255" y="1099"/>
                </a:lnTo>
                <a:lnTo>
                  <a:pt x="250" y="1105"/>
                </a:lnTo>
                <a:lnTo>
                  <a:pt x="250" y="1111"/>
                </a:lnTo>
                <a:lnTo>
                  <a:pt x="244" y="1111"/>
                </a:lnTo>
                <a:lnTo>
                  <a:pt x="244" y="1117"/>
                </a:lnTo>
                <a:lnTo>
                  <a:pt x="244" y="1122"/>
                </a:lnTo>
                <a:lnTo>
                  <a:pt x="238" y="1122"/>
                </a:lnTo>
                <a:lnTo>
                  <a:pt x="238" y="1128"/>
                </a:lnTo>
                <a:lnTo>
                  <a:pt x="238" y="1134"/>
                </a:lnTo>
                <a:lnTo>
                  <a:pt x="238" y="1139"/>
                </a:lnTo>
                <a:lnTo>
                  <a:pt x="238" y="1145"/>
                </a:lnTo>
                <a:lnTo>
                  <a:pt x="238" y="1151"/>
                </a:lnTo>
                <a:lnTo>
                  <a:pt x="233" y="1151"/>
                </a:lnTo>
                <a:lnTo>
                  <a:pt x="233" y="1156"/>
                </a:lnTo>
                <a:lnTo>
                  <a:pt x="233" y="1162"/>
                </a:lnTo>
                <a:lnTo>
                  <a:pt x="233" y="1173"/>
                </a:lnTo>
                <a:lnTo>
                  <a:pt x="233" y="1185"/>
                </a:lnTo>
                <a:lnTo>
                  <a:pt x="233" y="1190"/>
                </a:lnTo>
                <a:lnTo>
                  <a:pt x="238" y="1196"/>
                </a:lnTo>
                <a:lnTo>
                  <a:pt x="238" y="1202"/>
                </a:lnTo>
                <a:lnTo>
                  <a:pt x="227" y="1207"/>
                </a:lnTo>
                <a:lnTo>
                  <a:pt x="221" y="1207"/>
                </a:lnTo>
                <a:lnTo>
                  <a:pt x="216" y="1213"/>
                </a:lnTo>
                <a:lnTo>
                  <a:pt x="210" y="1213"/>
                </a:lnTo>
                <a:lnTo>
                  <a:pt x="204" y="1213"/>
                </a:lnTo>
                <a:lnTo>
                  <a:pt x="204" y="1219"/>
                </a:lnTo>
                <a:lnTo>
                  <a:pt x="199" y="1224"/>
                </a:lnTo>
                <a:lnTo>
                  <a:pt x="193" y="1236"/>
                </a:lnTo>
                <a:lnTo>
                  <a:pt x="187" y="123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66" name="Freeform 3"/>
          <p:cNvSpPr>
            <a:spLocks/>
          </p:cNvSpPr>
          <p:nvPr/>
        </p:nvSpPr>
        <p:spPr bwMode="gray">
          <a:xfrm>
            <a:off x="4483719" y="1558195"/>
            <a:ext cx="1861197" cy="1844890"/>
          </a:xfrm>
          <a:custGeom>
            <a:avLst/>
            <a:gdLst>
              <a:gd name="T0" fmla="*/ 2147483647 w 1099"/>
              <a:gd name="T1" fmla="*/ 2147483647 h 1089"/>
              <a:gd name="T2" fmla="*/ 2147483647 w 1099"/>
              <a:gd name="T3" fmla="*/ 2147483647 h 1089"/>
              <a:gd name="T4" fmla="*/ 2147483647 w 1099"/>
              <a:gd name="T5" fmla="*/ 2147483647 h 1089"/>
              <a:gd name="T6" fmla="*/ 2147483647 w 1099"/>
              <a:gd name="T7" fmla="*/ 2147483647 h 1089"/>
              <a:gd name="T8" fmla="*/ 2147483647 w 1099"/>
              <a:gd name="T9" fmla="*/ 2147483647 h 1089"/>
              <a:gd name="T10" fmla="*/ 2147483647 w 1099"/>
              <a:gd name="T11" fmla="*/ 2147483647 h 1089"/>
              <a:gd name="T12" fmla="*/ 2147483647 w 1099"/>
              <a:gd name="T13" fmla="*/ 2147483647 h 1089"/>
              <a:gd name="T14" fmla="*/ 2147483647 w 1099"/>
              <a:gd name="T15" fmla="*/ 2147483647 h 1089"/>
              <a:gd name="T16" fmla="*/ 2147483647 w 1099"/>
              <a:gd name="T17" fmla="*/ 2147483647 h 1089"/>
              <a:gd name="T18" fmla="*/ 2147483647 w 1099"/>
              <a:gd name="T19" fmla="*/ 2147483647 h 1089"/>
              <a:gd name="T20" fmla="*/ 2147483647 w 1099"/>
              <a:gd name="T21" fmla="*/ 2147483647 h 1089"/>
              <a:gd name="T22" fmla="*/ 2147483647 w 1099"/>
              <a:gd name="T23" fmla="*/ 2147483647 h 1089"/>
              <a:gd name="T24" fmla="*/ 2147483647 w 1099"/>
              <a:gd name="T25" fmla="*/ 2147483647 h 1089"/>
              <a:gd name="T26" fmla="*/ 2147483647 w 1099"/>
              <a:gd name="T27" fmla="*/ 2147483647 h 1089"/>
              <a:gd name="T28" fmla="*/ 2147483647 w 1099"/>
              <a:gd name="T29" fmla="*/ 2147483647 h 1089"/>
              <a:gd name="T30" fmla="*/ 2147483647 w 1099"/>
              <a:gd name="T31" fmla="*/ 2147483647 h 1089"/>
              <a:gd name="T32" fmla="*/ 2147483647 w 1099"/>
              <a:gd name="T33" fmla="*/ 2147483647 h 1089"/>
              <a:gd name="T34" fmla="*/ 2147483647 w 1099"/>
              <a:gd name="T35" fmla="*/ 2147483647 h 1089"/>
              <a:gd name="T36" fmla="*/ 2147483647 w 1099"/>
              <a:gd name="T37" fmla="*/ 2147483647 h 1089"/>
              <a:gd name="T38" fmla="*/ 2147483647 w 1099"/>
              <a:gd name="T39" fmla="*/ 2147483647 h 1089"/>
              <a:gd name="T40" fmla="*/ 2147483647 w 1099"/>
              <a:gd name="T41" fmla="*/ 2147483647 h 1089"/>
              <a:gd name="T42" fmla="*/ 2147483647 w 1099"/>
              <a:gd name="T43" fmla="*/ 2147483647 h 1089"/>
              <a:gd name="T44" fmla="*/ 2147483647 w 1099"/>
              <a:gd name="T45" fmla="*/ 2147483647 h 1089"/>
              <a:gd name="T46" fmla="*/ 2147483647 w 1099"/>
              <a:gd name="T47" fmla="*/ 2147483647 h 1089"/>
              <a:gd name="T48" fmla="*/ 2147483647 w 1099"/>
              <a:gd name="T49" fmla="*/ 2147483647 h 1089"/>
              <a:gd name="T50" fmla="*/ 2147483647 w 1099"/>
              <a:gd name="T51" fmla="*/ 2147483647 h 1089"/>
              <a:gd name="T52" fmla="*/ 2147483647 w 1099"/>
              <a:gd name="T53" fmla="*/ 2147483647 h 1089"/>
              <a:gd name="T54" fmla="*/ 2147483647 w 1099"/>
              <a:gd name="T55" fmla="*/ 2147483647 h 1089"/>
              <a:gd name="T56" fmla="*/ 2147483647 w 1099"/>
              <a:gd name="T57" fmla="*/ 2147483647 h 1089"/>
              <a:gd name="T58" fmla="*/ 2147483647 w 1099"/>
              <a:gd name="T59" fmla="*/ 2147483647 h 1089"/>
              <a:gd name="T60" fmla="*/ 2147483647 w 1099"/>
              <a:gd name="T61" fmla="*/ 2147483647 h 1089"/>
              <a:gd name="T62" fmla="*/ 2147483647 w 1099"/>
              <a:gd name="T63" fmla="*/ 2147483647 h 1089"/>
              <a:gd name="T64" fmla="*/ 2147483647 w 1099"/>
              <a:gd name="T65" fmla="*/ 2147483647 h 1089"/>
              <a:gd name="T66" fmla="*/ 2147483647 w 1099"/>
              <a:gd name="T67" fmla="*/ 2147483647 h 1089"/>
              <a:gd name="T68" fmla="*/ 2147483647 w 1099"/>
              <a:gd name="T69" fmla="*/ 2147483647 h 1089"/>
              <a:gd name="T70" fmla="*/ 2147483647 w 1099"/>
              <a:gd name="T71" fmla="*/ 2147483647 h 1089"/>
              <a:gd name="T72" fmla="*/ 2147483647 w 1099"/>
              <a:gd name="T73" fmla="*/ 2147483647 h 1089"/>
              <a:gd name="T74" fmla="*/ 2147483647 w 1099"/>
              <a:gd name="T75" fmla="*/ 2147483647 h 1089"/>
              <a:gd name="T76" fmla="*/ 2147483647 w 1099"/>
              <a:gd name="T77" fmla="*/ 2147483647 h 1089"/>
              <a:gd name="T78" fmla="*/ 2147483647 w 1099"/>
              <a:gd name="T79" fmla="*/ 2147483647 h 1089"/>
              <a:gd name="T80" fmla="*/ 2147483647 w 1099"/>
              <a:gd name="T81" fmla="*/ 2147483647 h 1089"/>
              <a:gd name="T82" fmla="*/ 2147483647 w 1099"/>
              <a:gd name="T83" fmla="*/ 2147483647 h 1089"/>
              <a:gd name="T84" fmla="*/ 2147483647 w 1099"/>
              <a:gd name="T85" fmla="*/ 2147483647 h 1089"/>
              <a:gd name="T86" fmla="*/ 2147483647 w 1099"/>
              <a:gd name="T87" fmla="*/ 2147483647 h 1089"/>
              <a:gd name="T88" fmla="*/ 2147483647 w 1099"/>
              <a:gd name="T89" fmla="*/ 2147483647 h 1089"/>
              <a:gd name="T90" fmla="*/ 2147483647 w 1099"/>
              <a:gd name="T91" fmla="*/ 2147483647 h 1089"/>
              <a:gd name="T92" fmla="*/ 2147483647 w 1099"/>
              <a:gd name="T93" fmla="*/ 2147483647 h 1089"/>
              <a:gd name="T94" fmla="*/ 2147483647 w 1099"/>
              <a:gd name="T95" fmla="*/ 2147483647 h 1089"/>
              <a:gd name="T96" fmla="*/ 2147483647 w 1099"/>
              <a:gd name="T97" fmla="*/ 2147483647 h 1089"/>
              <a:gd name="T98" fmla="*/ 2147483647 w 1099"/>
              <a:gd name="T99" fmla="*/ 2147483647 h 1089"/>
              <a:gd name="T100" fmla="*/ 2147483647 w 1099"/>
              <a:gd name="T101" fmla="*/ 2147483647 h 1089"/>
              <a:gd name="T102" fmla="*/ 2147483647 w 1099"/>
              <a:gd name="T103" fmla="*/ 2147483647 h 1089"/>
              <a:gd name="T104" fmla="*/ 2147483647 w 1099"/>
              <a:gd name="T105" fmla="*/ 2147483647 h 1089"/>
              <a:gd name="T106" fmla="*/ 2147483647 w 1099"/>
              <a:gd name="T107" fmla="*/ 2147483647 h 1089"/>
              <a:gd name="T108" fmla="*/ 2147483647 w 1099"/>
              <a:gd name="T109" fmla="*/ 2147483647 h 1089"/>
              <a:gd name="T110" fmla="*/ 2147483647 w 1099"/>
              <a:gd name="T111" fmla="*/ 2147483647 h 1089"/>
              <a:gd name="T112" fmla="*/ 2147483647 w 1099"/>
              <a:gd name="T113" fmla="*/ 2147483647 h 1089"/>
              <a:gd name="T114" fmla="*/ 2147483647 w 1099"/>
              <a:gd name="T115" fmla="*/ 2147483647 h 1089"/>
              <a:gd name="T116" fmla="*/ 2147483647 w 1099"/>
              <a:gd name="T117" fmla="*/ 2147483647 h 1089"/>
              <a:gd name="T118" fmla="*/ 2147483647 w 1099"/>
              <a:gd name="T119" fmla="*/ 2147483647 h 1089"/>
              <a:gd name="T120" fmla="*/ 2147483647 w 1099"/>
              <a:gd name="T121" fmla="*/ 2147483647 h 10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099"/>
              <a:gd name="T184" fmla="*/ 0 h 1089"/>
              <a:gd name="T185" fmla="*/ 1099 w 1099"/>
              <a:gd name="T186" fmla="*/ 1089 h 10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099" h="1089">
                <a:moveTo>
                  <a:pt x="17" y="766"/>
                </a:moveTo>
                <a:lnTo>
                  <a:pt x="11" y="760"/>
                </a:lnTo>
                <a:lnTo>
                  <a:pt x="5" y="748"/>
                </a:lnTo>
                <a:lnTo>
                  <a:pt x="0" y="737"/>
                </a:lnTo>
                <a:lnTo>
                  <a:pt x="0" y="731"/>
                </a:lnTo>
                <a:lnTo>
                  <a:pt x="0" y="726"/>
                </a:lnTo>
                <a:lnTo>
                  <a:pt x="5" y="720"/>
                </a:lnTo>
                <a:lnTo>
                  <a:pt x="5" y="714"/>
                </a:lnTo>
                <a:lnTo>
                  <a:pt x="5" y="709"/>
                </a:lnTo>
                <a:lnTo>
                  <a:pt x="11" y="709"/>
                </a:lnTo>
                <a:lnTo>
                  <a:pt x="11" y="703"/>
                </a:lnTo>
                <a:lnTo>
                  <a:pt x="17" y="703"/>
                </a:lnTo>
                <a:lnTo>
                  <a:pt x="17" y="697"/>
                </a:lnTo>
                <a:lnTo>
                  <a:pt x="17" y="692"/>
                </a:lnTo>
                <a:lnTo>
                  <a:pt x="22" y="686"/>
                </a:lnTo>
                <a:lnTo>
                  <a:pt x="28" y="680"/>
                </a:lnTo>
                <a:lnTo>
                  <a:pt x="28" y="675"/>
                </a:lnTo>
                <a:lnTo>
                  <a:pt x="34" y="675"/>
                </a:lnTo>
                <a:lnTo>
                  <a:pt x="39" y="669"/>
                </a:lnTo>
                <a:lnTo>
                  <a:pt x="39" y="663"/>
                </a:lnTo>
                <a:lnTo>
                  <a:pt x="39" y="658"/>
                </a:lnTo>
                <a:lnTo>
                  <a:pt x="39" y="652"/>
                </a:lnTo>
                <a:lnTo>
                  <a:pt x="39" y="646"/>
                </a:lnTo>
                <a:lnTo>
                  <a:pt x="39" y="635"/>
                </a:lnTo>
                <a:lnTo>
                  <a:pt x="39" y="629"/>
                </a:lnTo>
                <a:lnTo>
                  <a:pt x="34" y="624"/>
                </a:lnTo>
                <a:lnTo>
                  <a:pt x="28" y="624"/>
                </a:lnTo>
                <a:lnTo>
                  <a:pt x="28" y="618"/>
                </a:lnTo>
                <a:lnTo>
                  <a:pt x="22" y="612"/>
                </a:lnTo>
                <a:lnTo>
                  <a:pt x="17" y="607"/>
                </a:lnTo>
                <a:lnTo>
                  <a:pt x="17" y="601"/>
                </a:lnTo>
                <a:lnTo>
                  <a:pt x="17" y="595"/>
                </a:lnTo>
                <a:lnTo>
                  <a:pt x="11" y="590"/>
                </a:lnTo>
                <a:lnTo>
                  <a:pt x="11" y="584"/>
                </a:lnTo>
                <a:lnTo>
                  <a:pt x="11" y="567"/>
                </a:lnTo>
                <a:lnTo>
                  <a:pt x="17" y="556"/>
                </a:lnTo>
                <a:lnTo>
                  <a:pt x="17" y="550"/>
                </a:lnTo>
                <a:lnTo>
                  <a:pt x="17" y="539"/>
                </a:lnTo>
                <a:lnTo>
                  <a:pt x="17" y="533"/>
                </a:lnTo>
                <a:lnTo>
                  <a:pt x="17" y="527"/>
                </a:lnTo>
                <a:lnTo>
                  <a:pt x="17" y="522"/>
                </a:lnTo>
                <a:lnTo>
                  <a:pt x="22" y="522"/>
                </a:lnTo>
                <a:lnTo>
                  <a:pt x="22" y="516"/>
                </a:lnTo>
                <a:lnTo>
                  <a:pt x="28" y="516"/>
                </a:lnTo>
                <a:lnTo>
                  <a:pt x="28" y="510"/>
                </a:lnTo>
                <a:lnTo>
                  <a:pt x="34" y="510"/>
                </a:lnTo>
                <a:lnTo>
                  <a:pt x="39" y="510"/>
                </a:lnTo>
                <a:lnTo>
                  <a:pt x="45" y="510"/>
                </a:lnTo>
                <a:lnTo>
                  <a:pt x="51" y="510"/>
                </a:lnTo>
                <a:lnTo>
                  <a:pt x="56" y="505"/>
                </a:lnTo>
                <a:lnTo>
                  <a:pt x="56" y="499"/>
                </a:lnTo>
                <a:lnTo>
                  <a:pt x="68" y="499"/>
                </a:lnTo>
                <a:lnTo>
                  <a:pt x="68" y="493"/>
                </a:lnTo>
                <a:lnTo>
                  <a:pt x="68" y="488"/>
                </a:lnTo>
                <a:lnTo>
                  <a:pt x="68" y="482"/>
                </a:lnTo>
                <a:lnTo>
                  <a:pt x="73" y="482"/>
                </a:lnTo>
                <a:lnTo>
                  <a:pt x="73" y="476"/>
                </a:lnTo>
                <a:lnTo>
                  <a:pt x="79" y="471"/>
                </a:lnTo>
                <a:lnTo>
                  <a:pt x="90" y="459"/>
                </a:lnTo>
                <a:lnTo>
                  <a:pt x="96" y="459"/>
                </a:lnTo>
                <a:lnTo>
                  <a:pt x="96" y="454"/>
                </a:lnTo>
                <a:lnTo>
                  <a:pt x="102" y="454"/>
                </a:lnTo>
                <a:lnTo>
                  <a:pt x="102" y="448"/>
                </a:lnTo>
                <a:lnTo>
                  <a:pt x="102" y="442"/>
                </a:lnTo>
                <a:lnTo>
                  <a:pt x="107" y="442"/>
                </a:lnTo>
                <a:lnTo>
                  <a:pt x="113" y="442"/>
                </a:lnTo>
                <a:lnTo>
                  <a:pt x="113" y="437"/>
                </a:lnTo>
                <a:lnTo>
                  <a:pt x="124" y="431"/>
                </a:lnTo>
                <a:lnTo>
                  <a:pt x="130" y="431"/>
                </a:lnTo>
                <a:lnTo>
                  <a:pt x="136" y="431"/>
                </a:lnTo>
                <a:lnTo>
                  <a:pt x="141" y="431"/>
                </a:lnTo>
                <a:lnTo>
                  <a:pt x="147" y="431"/>
                </a:lnTo>
                <a:lnTo>
                  <a:pt x="153" y="431"/>
                </a:lnTo>
                <a:lnTo>
                  <a:pt x="158" y="431"/>
                </a:lnTo>
                <a:lnTo>
                  <a:pt x="158" y="425"/>
                </a:lnTo>
                <a:lnTo>
                  <a:pt x="164" y="425"/>
                </a:lnTo>
                <a:lnTo>
                  <a:pt x="170" y="425"/>
                </a:lnTo>
                <a:lnTo>
                  <a:pt x="170" y="420"/>
                </a:lnTo>
                <a:lnTo>
                  <a:pt x="181" y="420"/>
                </a:lnTo>
                <a:lnTo>
                  <a:pt x="187" y="425"/>
                </a:lnTo>
                <a:lnTo>
                  <a:pt x="192" y="420"/>
                </a:lnTo>
                <a:lnTo>
                  <a:pt x="198" y="420"/>
                </a:lnTo>
                <a:lnTo>
                  <a:pt x="209" y="420"/>
                </a:lnTo>
                <a:lnTo>
                  <a:pt x="209" y="425"/>
                </a:lnTo>
                <a:lnTo>
                  <a:pt x="215" y="425"/>
                </a:lnTo>
                <a:lnTo>
                  <a:pt x="221" y="425"/>
                </a:lnTo>
                <a:lnTo>
                  <a:pt x="226" y="425"/>
                </a:lnTo>
                <a:lnTo>
                  <a:pt x="226" y="431"/>
                </a:lnTo>
                <a:lnTo>
                  <a:pt x="232" y="431"/>
                </a:lnTo>
                <a:lnTo>
                  <a:pt x="238" y="431"/>
                </a:lnTo>
                <a:lnTo>
                  <a:pt x="238" y="437"/>
                </a:lnTo>
                <a:lnTo>
                  <a:pt x="243" y="437"/>
                </a:lnTo>
                <a:lnTo>
                  <a:pt x="255" y="442"/>
                </a:lnTo>
                <a:lnTo>
                  <a:pt x="266" y="437"/>
                </a:lnTo>
                <a:lnTo>
                  <a:pt x="272" y="431"/>
                </a:lnTo>
                <a:lnTo>
                  <a:pt x="277" y="431"/>
                </a:lnTo>
                <a:lnTo>
                  <a:pt x="283" y="431"/>
                </a:lnTo>
                <a:lnTo>
                  <a:pt x="289" y="431"/>
                </a:lnTo>
                <a:lnTo>
                  <a:pt x="294" y="437"/>
                </a:lnTo>
                <a:lnTo>
                  <a:pt x="294" y="442"/>
                </a:lnTo>
                <a:lnTo>
                  <a:pt x="294" y="448"/>
                </a:lnTo>
                <a:lnTo>
                  <a:pt x="300" y="454"/>
                </a:lnTo>
                <a:lnTo>
                  <a:pt x="300" y="459"/>
                </a:lnTo>
                <a:lnTo>
                  <a:pt x="306" y="459"/>
                </a:lnTo>
                <a:lnTo>
                  <a:pt x="311" y="459"/>
                </a:lnTo>
                <a:lnTo>
                  <a:pt x="323" y="459"/>
                </a:lnTo>
                <a:lnTo>
                  <a:pt x="328" y="459"/>
                </a:lnTo>
                <a:lnTo>
                  <a:pt x="334" y="459"/>
                </a:lnTo>
                <a:lnTo>
                  <a:pt x="340" y="459"/>
                </a:lnTo>
                <a:lnTo>
                  <a:pt x="345" y="459"/>
                </a:lnTo>
                <a:lnTo>
                  <a:pt x="351" y="454"/>
                </a:lnTo>
                <a:lnTo>
                  <a:pt x="362" y="454"/>
                </a:lnTo>
                <a:lnTo>
                  <a:pt x="368" y="454"/>
                </a:lnTo>
                <a:lnTo>
                  <a:pt x="374" y="454"/>
                </a:lnTo>
                <a:lnTo>
                  <a:pt x="379" y="454"/>
                </a:lnTo>
                <a:lnTo>
                  <a:pt x="379" y="459"/>
                </a:lnTo>
                <a:lnTo>
                  <a:pt x="385" y="459"/>
                </a:lnTo>
                <a:lnTo>
                  <a:pt x="385" y="465"/>
                </a:lnTo>
                <a:lnTo>
                  <a:pt x="391" y="465"/>
                </a:lnTo>
                <a:lnTo>
                  <a:pt x="391" y="471"/>
                </a:lnTo>
                <a:lnTo>
                  <a:pt x="396" y="476"/>
                </a:lnTo>
                <a:lnTo>
                  <a:pt x="396" y="482"/>
                </a:lnTo>
                <a:lnTo>
                  <a:pt x="402" y="493"/>
                </a:lnTo>
                <a:lnTo>
                  <a:pt x="402" y="499"/>
                </a:lnTo>
                <a:lnTo>
                  <a:pt x="408" y="510"/>
                </a:lnTo>
                <a:lnTo>
                  <a:pt x="408" y="527"/>
                </a:lnTo>
                <a:lnTo>
                  <a:pt x="413" y="539"/>
                </a:lnTo>
                <a:lnTo>
                  <a:pt x="413" y="544"/>
                </a:lnTo>
                <a:lnTo>
                  <a:pt x="419" y="550"/>
                </a:lnTo>
                <a:lnTo>
                  <a:pt x="425" y="556"/>
                </a:lnTo>
                <a:lnTo>
                  <a:pt x="431" y="550"/>
                </a:lnTo>
                <a:lnTo>
                  <a:pt x="436" y="550"/>
                </a:lnTo>
                <a:lnTo>
                  <a:pt x="453" y="556"/>
                </a:lnTo>
                <a:lnTo>
                  <a:pt x="476" y="556"/>
                </a:lnTo>
                <a:lnTo>
                  <a:pt x="482" y="556"/>
                </a:lnTo>
                <a:lnTo>
                  <a:pt x="487" y="556"/>
                </a:lnTo>
                <a:lnTo>
                  <a:pt x="487" y="561"/>
                </a:lnTo>
                <a:lnTo>
                  <a:pt x="493" y="561"/>
                </a:lnTo>
                <a:lnTo>
                  <a:pt x="499" y="567"/>
                </a:lnTo>
                <a:lnTo>
                  <a:pt x="504" y="567"/>
                </a:lnTo>
                <a:lnTo>
                  <a:pt x="510" y="567"/>
                </a:lnTo>
                <a:lnTo>
                  <a:pt x="510" y="561"/>
                </a:lnTo>
                <a:lnTo>
                  <a:pt x="504" y="556"/>
                </a:lnTo>
                <a:lnTo>
                  <a:pt x="499" y="550"/>
                </a:lnTo>
                <a:lnTo>
                  <a:pt x="493" y="550"/>
                </a:lnTo>
                <a:lnTo>
                  <a:pt x="493" y="544"/>
                </a:lnTo>
                <a:lnTo>
                  <a:pt x="493" y="539"/>
                </a:lnTo>
                <a:lnTo>
                  <a:pt x="493" y="527"/>
                </a:lnTo>
                <a:lnTo>
                  <a:pt x="499" y="522"/>
                </a:lnTo>
                <a:lnTo>
                  <a:pt x="504" y="522"/>
                </a:lnTo>
                <a:lnTo>
                  <a:pt x="510" y="516"/>
                </a:lnTo>
                <a:lnTo>
                  <a:pt x="516" y="516"/>
                </a:lnTo>
                <a:lnTo>
                  <a:pt x="521" y="510"/>
                </a:lnTo>
                <a:lnTo>
                  <a:pt x="533" y="510"/>
                </a:lnTo>
                <a:lnTo>
                  <a:pt x="538" y="510"/>
                </a:lnTo>
                <a:lnTo>
                  <a:pt x="544" y="510"/>
                </a:lnTo>
                <a:lnTo>
                  <a:pt x="550" y="510"/>
                </a:lnTo>
                <a:lnTo>
                  <a:pt x="550" y="505"/>
                </a:lnTo>
                <a:lnTo>
                  <a:pt x="555" y="499"/>
                </a:lnTo>
                <a:lnTo>
                  <a:pt x="561" y="499"/>
                </a:lnTo>
                <a:lnTo>
                  <a:pt x="561" y="493"/>
                </a:lnTo>
                <a:lnTo>
                  <a:pt x="567" y="493"/>
                </a:lnTo>
                <a:lnTo>
                  <a:pt x="567" y="488"/>
                </a:lnTo>
                <a:lnTo>
                  <a:pt x="567" y="482"/>
                </a:lnTo>
                <a:lnTo>
                  <a:pt x="567" y="476"/>
                </a:lnTo>
                <a:lnTo>
                  <a:pt x="561" y="471"/>
                </a:lnTo>
                <a:lnTo>
                  <a:pt x="550" y="471"/>
                </a:lnTo>
                <a:lnTo>
                  <a:pt x="544" y="471"/>
                </a:lnTo>
                <a:lnTo>
                  <a:pt x="538" y="471"/>
                </a:lnTo>
                <a:lnTo>
                  <a:pt x="533" y="471"/>
                </a:lnTo>
                <a:lnTo>
                  <a:pt x="521" y="465"/>
                </a:lnTo>
                <a:lnTo>
                  <a:pt x="510" y="459"/>
                </a:lnTo>
                <a:lnTo>
                  <a:pt x="504" y="459"/>
                </a:lnTo>
                <a:lnTo>
                  <a:pt x="493" y="459"/>
                </a:lnTo>
                <a:lnTo>
                  <a:pt x="482" y="454"/>
                </a:lnTo>
                <a:lnTo>
                  <a:pt x="470" y="454"/>
                </a:lnTo>
                <a:lnTo>
                  <a:pt x="465" y="454"/>
                </a:lnTo>
                <a:lnTo>
                  <a:pt x="459" y="454"/>
                </a:lnTo>
                <a:lnTo>
                  <a:pt x="453" y="454"/>
                </a:lnTo>
                <a:lnTo>
                  <a:pt x="442" y="454"/>
                </a:lnTo>
                <a:lnTo>
                  <a:pt x="431" y="448"/>
                </a:lnTo>
                <a:lnTo>
                  <a:pt x="425" y="442"/>
                </a:lnTo>
                <a:lnTo>
                  <a:pt x="425" y="437"/>
                </a:lnTo>
                <a:lnTo>
                  <a:pt x="419" y="431"/>
                </a:lnTo>
                <a:lnTo>
                  <a:pt x="413" y="431"/>
                </a:lnTo>
                <a:lnTo>
                  <a:pt x="413" y="425"/>
                </a:lnTo>
                <a:lnTo>
                  <a:pt x="413" y="420"/>
                </a:lnTo>
                <a:lnTo>
                  <a:pt x="408" y="420"/>
                </a:lnTo>
                <a:lnTo>
                  <a:pt x="408" y="414"/>
                </a:lnTo>
                <a:lnTo>
                  <a:pt x="408" y="408"/>
                </a:lnTo>
                <a:lnTo>
                  <a:pt x="396" y="397"/>
                </a:lnTo>
                <a:lnTo>
                  <a:pt x="396" y="391"/>
                </a:lnTo>
                <a:lnTo>
                  <a:pt x="391" y="386"/>
                </a:lnTo>
                <a:lnTo>
                  <a:pt x="385" y="386"/>
                </a:lnTo>
                <a:lnTo>
                  <a:pt x="379" y="386"/>
                </a:lnTo>
                <a:lnTo>
                  <a:pt x="379" y="380"/>
                </a:lnTo>
                <a:lnTo>
                  <a:pt x="374" y="380"/>
                </a:lnTo>
                <a:lnTo>
                  <a:pt x="374" y="374"/>
                </a:lnTo>
                <a:lnTo>
                  <a:pt x="368" y="374"/>
                </a:lnTo>
                <a:lnTo>
                  <a:pt x="368" y="369"/>
                </a:lnTo>
                <a:lnTo>
                  <a:pt x="368" y="363"/>
                </a:lnTo>
                <a:lnTo>
                  <a:pt x="368" y="357"/>
                </a:lnTo>
                <a:lnTo>
                  <a:pt x="374" y="357"/>
                </a:lnTo>
                <a:lnTo>
                  <a:pt x="374" y="352"/>
                </a:lnTo>
                <a:lnTo>
                  <a:pt x="379" y="352"/>
                </a:lnTo>
                <a:lnTo>
                  <a:pt x="379" y="346"/>
                </a:lnTo>
                <a:lnTo>
                  <a:pt x="379" y="340"/>
                </a:lnTo>
                <a:lnTo>
                  <a:pt x="379" y="335"/>
                </a:lnTo>
                <a:lnTo>
                  <a:pt x="379" y="329"/>
                </a:lnTo>
                <a:lnTo>
                  <a:pt x="385" y="318"/>
                </a:lnTo>
                <a:lnTo>
                  <a:pt x="379" y="318"/>
                </a:lnTo>
                <a:lnTo>
                  <a:pt x="379" y="312"/>
                </a:lnTo>
                <a:lnTo>
                  <a:pt x="379" y="306"/>
                </a:lnTo>
                <a:lnTo>
                  <a:pt x="379" y="301"/>
                </a:lnTo>
                <a:lnTo>
                  <a:pt x="374" y="295"/>
                </a:lnTo>
                <a:lnTo>
                  <a:pt x="368" y="289"/>
                </a:lnTo>
                <a:lnTo>
                  <a:pt x="368" y="284"/>
                </a:lnTo>
                <a:lnTo>
                  <a:pt x="362" y="278"/>
                </a:lnTo>
                <a:lnTo>
                  <a:pt x="357" y="278"/>
                </a:lnTo>
                <a:lnTo>
                  <a:pt x="351" y="278"/>
                </a:lnTo>
                <a:lnTo>
                  <a:pt x="351" y="284"/>
                </a:lnTo>
                <a:lnTo>
                  <a:pt x="345" y="284"/>
                </a:lnTo>
                <a:lnTo>
                  <a:pt x="340" y="284"/>
                </a:lnTo>
                <a:lnTo>
                  <a:pt x="334" y="289"/>
                </a:lnTo>
                <a:lnTo>
                  <a:pt x="328" y="289"/>
                </a:lnTo>
                <a:lnTo>
                  <a:pt x="323" y="289"/>
                </a:lnTo>
                <a:lnTo>
                  <a:pt x="317" y="289"/>
                </a:lnTo>
                <a:lnTo>
                  <a:pt x="317" y="284"/>
                </a:lnTo>
                <a:lnTo>
                  <a:pt x="311" y="278"/>
                </a:lnTo>
                <a:lnTo>
                  <a:pt x="311" y="272"/>
                </a:lnTo>
                <a:lnTo>
                  <a:pt x="317" y="272"/>
                </a:lnTo>
                <a:lnTo>
                  <a:pt x="317" y="267"/>
                </a:lnTo>
                <a:lnTo>
                  <a:pt x="323" y="267"/>
                </a:lnTo>
                <a:lnTo>
                  <a:pt x="323" y="261"/>
                </a:lnTo>
                <a:lnTo>
                  <a:pt x="328" y="261"/>
                </a:lnTo>
                <a:lnTo>
                  <a:pt x="328" y="255"/>
                </a:lnTo>
                <a:lnTo>
                  <a:pt x="328" y="250"/>
                </a:lnTo>
                <a:lnTo>
                  <a:pt x="334" y="250"/>
                </a:lnTo>
                <a:lnTo>
                  <a:pt x="340" y="244"/>
                </a:lnTo>
                <a:lnTo>
                  <a:pt x="345" y="244"/>
                </a:lnTo>
                <a:lnTo>
                  <a:pt x="351" y="238"/>
                </a:lnTo>
                <a:lnTo>
                  <a:pt x="357" y="238"/>
                </a:lnTo>
                <a:lnTo>
                  <a:pt x="362" y="233"/>
                </a:lnTo>
                <a:lnTo>
                  <a:pt x="368" y="233"/>
                </a:lnTo>
                <a:lnTo>
                  <a:pt x="374" y="233"/>
                </a:lnTo>
                <a:lnTo>
                  <a:pt x="379" y="233"/>
                </a:lnTo>
                <a:lnTo>
                  <a:pt x="385" y="233"/>
                </a:lnTo>
                <a:lnTo>
                  <a:pt x="385" y="227"/>
                </a:lnTo>
                <a:lnTo>
                  <a:pt x="391" y="227"/>
                </a:lnTo>
                <a:lnTo>
                  <a:pt x="408" y="221"/>
                </a:lnTo>
                <a:lnTo>
                  <a:pt x="413" y="216"/>
                </a:lnTo>
                <a:lnTo>
                  <a:pt x="419" y="216"/>
                </a:lnTo>
                <a:lnTo>
                  <a:pt x="425" y="216"/>
                </a:lnTo>
                <a:lnTo>
                  <a:pt x="425" y="210"/>
                </a:lnTo>
                <a:lnTo>
                  <a:pt x="431" y="210"/>
                </a:lnTo>
                <a:lnTo>
                  <a:pt x="436" y="204"/>
                </a:lnTo>
                <a:lnTo>
                  <a:pt x="442" y="204"/>
                </a:lnTo>
                <a:lnTo>
                  <a:pt x="448" y="199"/>
                </a:lnTo>
                <a:lnTo>
                  <a:pt x="453" y="199"/>
                </a:lnTo>
                <a:lnTo>
                  <a:pt x="465" y="193"/>
                </a:lnTo>
                <a:lnTo>
                  <a:pt x="470" y="193"/>
                </a:lnTo>
                <a:lnTo>
                  <a:pt x="476" y="193"/>
                </a:lnTo>
                <a:lnTo>
                  <a:pt x="482" y="193"/>
                </a:lnTo>
                <a:lnTo>
                  <a:pt x="482" y="187"/>
                </a:lnTo>
                <a:lnTo>
                  <a:pt x="487" y="182"/>
                </a:lnTo>
                <a:lnTo>
                  <a:pt x="493" y="176"/>
                </a:lnTo>
                <a:lnTo>
                  <a:pt x="493" y="170"/>
                </a:lnTo>
                <a:lnTo>
                  <a:pt x="493" y="165"/>
                </a:lnTo>
                <a:lnTo>
                  <a:pt x="499" y="165"/>
                </a:lnTo>
                <a:lnTo>
                  <a:pt x="499" y="159"/>
                </a:lnTo>
                <a:lnTo>
                  <a:pt x="499" y="153"/>
                </a:lnTo>
                <a:lnTo>
                  <a:pt x="499" y="131"/>
                </a:lnTo>
                <a:lnTo>
                  <a:pt x="499" y="108"/>
                </a:lnTo>
                <a:lnTo>
                  <a:pt x="504" y="97"/>
                </a:lnTo>
                <a:lnTo>
                  <a:pt x="504" y="91"/>
                </a:lnTo>
                <a:lnTo>
                  <a:pt x="510" y="80"/>
                </a:lnTo>
                <a:lnTo>
                  <a:pt x="510" y="68"/>
                </a:lnTo>
                <a:lnTo>
                  <a:pt x="516" y="63"/>
                </a:lnTo>
                <a:lnTo>
                  <a:pt x="516" y="57"/>
                </a:lnTo>
                <a:lnTo>
                  <a:pt x="516" y="51"/>
                </a:lnTo>
                <a:lnTo>
                  <a:pt x="521" y="51"/>
                </a:lnTo>
                <a:lnTo>
                  <a:pt x="527" y="51"/>
                </a:lnTo>
                <a:lnTo>
                  <a:pt x="527" y="46"/>
                </a:lnTo>
                <a:lnTo>
                  <a:pt x="533" y="40"/>
                </a:lnTo>
                <a:lnTo>
                  <a:pt x="538" y="40"/>
                </a:lnTo>
                <a:lnTo>
                  <a:pt x="544" y="34"/>
                </a:lnTo>
                <a:lnTo>
                  <a:pt x="550" y="34"/>
                </a:lnTo>
                <a:lnTo>
                  <a:pt x="561" y="34"/>
                </a:lnTo>
                <a:lnTo>
                  <a:pt x="567" y="34"/>
                </a:lnTo>
                <a:lnTo>
                  <a:pt x="572" y="34"/>
                </a:lnTo>
                <a:lnTo>
                  <a:pt x="584" y="29"/>
                </a:lnTo>
                <a:lnTo>
                  <a:pt x="589" y="29"/>
                </a:lnTo>
                <a:lnTo>
                  <a:pt x="595" y="34"/>
                </a:lnTo>
                <a:lnTo>
                  <a:pt x="601" y="34"/>
                </a:lnTo>
                <a:lnTo>
                  <a:pt x="606" y="34"/>
                </a:lnTo>
                <a:lnTo>
                  <a:pt x="612" y="34"/>
                </a:lnTo>
                <a:lnTo>
                  <a:pt x="612" y="29"/>
                </a:lnTo>
                <a:lnTo>
                  <a:pt x="612" y="23"/>
                </a:lnTo>
                <a:lnTo>
                  <a:pt x="618" y="23"/>
                </a:lnTo>
                <a:lnTo>
                  <a:pt x="623" y="23"/>
                </a:lnTo>
                <a:lnTo>
                  <a:pt x="629" y="17"/>
                </a:lnTo>
                <a:lnTo>
                  <a:pt x="635" y="12"/>
                </a:lnTo>
                <a:lnTo>
                  <a:pt x="640" y="12"/>
                </a:lnTo>
                <a:lnTo>
                  <a:pt x="640" y="6"/>
                </a:lnTo>
                <a:lnTo>
                  <a:pt x="646" y="6"/>
                </a:lnTo>
                <a:lnTo>
                  <a:pt x="652" y="6"/>
                </a:lnTo>
                <a:lnTo>
                  <a:pt x="652" y="0"/>
                </a:lnTo>
                <a:lnTo>
                  <a:pt x="657" y="6"/>
                </a:lnTo>
                <a:lnTo>
                  <a:pt x="663" y="6"/>
                </a:lnTo>
                <a:lnTo>
                  <a:pt x="669" y="12"/>
                </a:lnTo>
                <a:lnTo>
                  <a:pt x="674" y="12"/>
                </a:lnTo>
                <a:lnTo>
                  <a:pt x="680" y="17"/>
                </a:lnTo>
                <a:lnTo>
                  <a:pt x="680" y="23"/>
                </a:lnTo>
                <a:lnTo>
                  <a:pt x="691" y="34"/>
                </a:lnTo>
                <a:lnTo>
                  <a:pt x="691" y="40"/>
                </a:lnTo>
                <a:lnTo>
                  <a:pt x="697" y="46"/>
                </a:lnTo>
                <a:lnTo>
                  <a:pt x="697" y="51"/>
                </a:lnTo>
                <a:lnTo>
                  <a:pt x="697" y="63"/>
                </a:lnTo>
                <a:lnTo>
                  <a:pt x="697" y="74"/>
                </a:lnTo>
                <a:lnTo>
                  <a:pt x="697" y="85"/>
                </a:lnTo>
                <a:lnTo>
                  <a:pt x="703" y="97"/>
                </a:lnTo>
                <a:lnTo>
                  <a:pt x="703" y="108"/>
                </a:lnTo>
                <a:lnTo>
                  <a:pt x="703" y="114"/>
                </a:lnTo>
                <a:lnTo>
                  <a:pt x="703" y="119"/>
                </a:lnTo>
                <a:lnTo>
                  <a:pt x="708" y="125"/>
                </a:lnTo>
                <a:lnTo>
                  <a:pt x="708" y="131"/>
                </a:lnTo>
                <a:lnTo>
                  <a:pt x="708" y="136"/>
                </a:lnTo>
                <a:lnTo>
                  <a:pt x="714" y="148"/>
                </a:lnTo>
                <a:lnTo>
                  <a:pt x="720" y="153"/>
                </a:lnTo>
                <a:lnTo>
                  <a:pt x="720" y="159"/>
                </a:lnTo>
                <a:lnTo>
                  <a:pt x="720" y="165"/>
                </a:lnTo>
                <a:lnTo>
                  <a:pt x="720" y="176"/>
                </a:lnTo>
                <a:lnTo>
                  <a:pt x="720" y="182"/>
                </a:lnTo>
                <a:lnTo>
                  <a:pt x="720" y="193"/>
                </a:lnTo>
                <a:lnTo>
                  <a:pt x="720" y="204"/>
                </a:lnTo>
                <a:lnTo>
                  <a:pt x="725" y="216"/>
                </a:lnTo>
                <a:lnTo>
                  <a:pt x="725" y="221"/>
                </a:lnTo>
                <a:lnTo>
                  <a:pt x="731" y="221"/>
                </a:lnTo>
                <a:lnTo>
                  <a:pt x="731" y="227"/>
                </a:lnTo>
                <a:lnTo>
                  <a:pt x="731" y="233"/>
                </a:lnTo>
                <a:lnTo>
                  <a:pt x="731" y="244"/>
                </a:lnTo>
                <a:lnTo>
                  <a:pt x="731" y="250"/>
                </a:lnTo>
                <a:lnTo>
                  <a:pt x="737" y="255"/>
                </a:lnTo>
                <a:lnTo>
                  <a:pt x="737" y="261"/>
                </a:lnTo>
                <a:lnTo>
                  <a:pt x="742" y="267"/>
                </a:lnTo>
                <a:lnTo>
                  <a:pt x="742" y="272"/>
                </a:lnTo>
                <a:lnTo>
                  <a:pt x="748" y="272"/>
                </a:lnTo>
                <a:lnTo>
                  <a:pt x="748" y="278"/>
                </a:lnTo>
                <a:lnTo>
                  <a:pt x="748" y="284"/>
                </a:lnTo>
                <a:lnTo>
                  <a:pt x="754" y="284"/>
                </a:lnTo>
                <a:lnTo>
                  <a:pt x="754" y="289"/>
                </a:lnTo>
                <a:lnTo>
                  <a:pt x="754" y="295"/>
                </a:lnTo>
                <a:lnTo>
                  <a:pt x="754" y="301"/>
                </a:lnTo>
                <a:lnTo>
                  <a:pt x="759" y="306"/>
                </a:lnTo>
                <a:lnTo>
                  <a:pt x="765" y="329"/>
                </a:lnTo>
                <a:lnTo>
                  <a:pt x="765" y="340"/>
                </a:lnTo>
                <a:lnTo>
                  <a:pt x="765" y="346"/>
                </a:lnTo>
                <a:lnTo>
                  <a:pt x="771" y="352"/>
                </a:lnTo>
                <a:lnTo>
                  <a:pt x="771" y="357"/>
                </a:lnTo>
                <a:lnTo>
                  <a:pt x="771" y="369"/>
                </a:lnTo>
                <a:lnTo>
                  <a:pt x="771" y="374"/>
                </a:lnTo>
                <a:lnTo>
                  <a:pt x="771" y="380"/>
                </a:lnTo>
                <a:lnTo>
                  <a:pt x="771" y="386"/>
                </a:lnTo>
                <a:lnTo>
                  <a:pt x="765" y="391"/>
                </a:lnTo>
                <a:lnTo>
                  <a:pt x="765" y="397"/>
                </a:lnTo>
                <a:lnTo>
                  <a:pt x="759" y="403"/>
                </a:lnTo>
                <a:lnTo>
                  <a:pt x="759" y="408"/>
                </a:lnTo>
                <a:lnTo>
                  <a:pt x="754" y="414"/>
                </a:lnTo>
                <a:lnTo>
                  <a:pt x="748" y="414"/>
                </a:lnTo>
                <a:lnTo>
                  <a:pt x="748" y="420"/>
                </a:lnTo>
                <a:lnTo>
                  <a:pt x="748" y="425"/>
                </a:lnTo>
                <a:lnTo>
                  <a:pt x="754" y="425"/>
                </a:lnTo>
                <a:lnTo>
                  <a:pt x="754" y="431"/>
                </a:lnTo>
                <a:lnTo>
                  <a:pt x="759" y="431"/>
                </a:lnTo>
                <a:lnTo>
                  <a:pt x="759" y="437"/>
                </a:lnTo>
                <a:lnTo>
                  <a:pt x="765" y="437"/>
                </a:lnTo>
                <a:lnTo>
                  <a:pt x="765" y="442"/>
                </a:lnTo>
                <a:lnTo>
                  <a:pt x="771" y="442"/>
                </a:lnTo>
                <a:lnTo>
                  <a:pt x="776" y="442"/>
                </a:lnTo>
                <a:lnTo>
                  <a:pt x="782" y="442"/>
                </a:lnTo>
                <a:lnTo>
                  <a:pt x="788" y="442"/>
                </a:lnTo>
                <a:lnTo>
                  <a:pt x="793" y="442"/>
                </a:lnTo>
                <a:lnTo>
                  <a:pt x="805" y="442"/>
                </a:lnTo>
                <a:lnTo>
                  <a:pt x="810" y="442"/>
                </a:lnTo>
                <a:lnTo>
                  <a:pt x="822" y="442"/>
                </a:lnTo>
                <a:lnTo>
                  <a:pt x="833" y="442"/>
                </a:lnTo>
                <a:lnTo>
                  <a:pt x="844" y="442"/>
                </a:lnTo>
                <a:lnTo>
                  <a:pt x="850" y="442"/>
                </a:lnTo>
                <a:lnTo>
                  <a:pt x="856" y="448"/>
                </a:lnTo>
                <a:lnTo>
                  <a:pt x="861" y="454"/>
                </a:lnTo>
                <a:lnTo>
                  <a:pt x="873" y="454"/>
                </a:lnTo>
                <a:lnTo>
                  <a:pt x="878" y="459"/>
                </a:lnTo>
                <a:lnTo>
                  <a:pt x="890" y="459"/>
                </a:lnTo>
                <a:lnTo>
                  <a:pt x="901" y="459"/>
                </a:lnTo>
                <a:lnTo>
                  <a:pt x="901" y="465"/>
                </a:lnTo>
                <a:lnTo>
                  <a:pt x="907" y="465"/>
                </a:lnTo>
                <a:lnTo>
                  <a:pt x="907" y="471"/>
                </a:lnTo>
                <a:lnTo>
                  <a:pt x="912" y="471"/>
                </a:lnTo>
                <a:lnTo>
                  <a:pt x="918" y="476"/>
                </a:lnTo>
                <a:lnTo>
                  <a:pt x="918" y="482"/>
                </a:lnTo>
                <a:lnTo>
                  <a:pt x="918" y="493"/>
                </a:lnTo>
                <a:lnTo>
                  <a:pt x="918" y="499"/>
                </a:lnTo>
                <a:lnTo>
                  <a:pt x="924" y="505"/>
                </a:lnTo>
                <a:lnTo>
                  <a:pt x="924" y="510"/>
                </a:lnTo>
                <a:lnTo>
                  <a:pt x="929" y="510"/>
                </a:lnTo>
                <a:lnTo>
                  <a:pt x="929" y="516"/>
                </a:lnTo>
                <a:lnTo>
                  <a:pt x="935" y="522"/>
                </a:lnTo>
                <a:lnTo>
                  <a:pt x="941" y="527"/>
                </a:lnTo>
                <a:lnTo>
                  <a:pt x="946" y="527"/>
                </a:lnTo>
                <a:lnTo>
                  <a:pt x="946" y="533"/>
                </a:lnTo>
                <a:lnTo>
                  <a:pt x="952" y="533"/>
                </a:lnTo>
                <a:lnTo>
                  <a:pt x="963" y="544"/>
                </a:lnTo>
                <a:lnTo>
                  <a:pt x="969" y="550"/>
                </a:lnTo>
                <a:lnTo>
                  <a:pt x="975" y="550"/>
                </a:lnTo>
                <a:lnTo>
                  <a:pt x="975" y="556"/>
                </a:lnTo>
                <a:lnTo>
                  <a:pt x="975" y="561"/>
                </a:lnTo>
                <a:lnTo>
                  <a:pt x="980" y="567"/>
                </a:lnTo>
                <a:lnTo>
                  <a:pt x="986" y="567"/>
                </a:lnTo>
                <a:lnTo>
                  <a:pt x="986" y="573"/>
                </a:lnTo>
                <a:lnTo>
                  <a:pt x="986" y="578"/>
                </a:lnTo>
                <a:lnTo>
                  <a:pt x="992" y="584"/>
                </a:lnTo>
                <a:lnTo>
                  <a:pt x="992" y="590"/>
                </a:lnTo>
                <a:lnTo>
                  <a:pt x="992" y="595"/>
                </a:lnTo>
                <a:lnTo>
                  <a:pt x="997" y="607"/>
                </a:lnTo>
                <a:lnTo>
                  <a:pt x="997" y="612"/>
                </a:lnTo>
                <a:lnTo>
                  <a:pt x="997" y="624"/>
                </a:lnTo>
                <a:lnTo>
                  <a:pt x="992" y="635"/>
                </a:lnTo>
                <a:lnTo>
                  <a:pt x="992" y="652"/>
                </a:lnTo>
                <a:lnTo>
                  <a:pt x="992" y="663"/>
                </a:lnTo>
                <a:lnTo>
                  <a:pt x="992" y="669"/>
                </a:lnTo>
                <a:lnTo>
                  <a:pt x="992" y="675"/>
                </a:lnTo>
                <a:lnTo>
                  <a:pt x="992" y="686"/>
                </a:lnTo>
                <a:lnTo>
                  <a:pt x="992" y="692"/>
                </a:lnTo>
                <a:lnTo>
                  <a:pt x="997" y="692"/>
                </a:lnTo>
                <a:lnTo>
                  <a:pt x="997" y="697"/>
                </a:lnTo>
                <a:lnTo>
                  <a:pt x="997" y="703"/>
                </a:lnTo>
                <a:lnTo>
                  <a:pt x="997" y="709"/>
                </a:lnTo>
                <a:lnTo>
                  <a:pt x="1003" y="709"/>
                </a:lnTo>
                <a:lnTo>
                  <a:pt x="1009" y="709"/>
                </a:lnTo>
                <a:lnTo>
                  <a:pt x="1014" y="709"/>
                </a:lnTo>
                <a:lnTo>
                  <a:pt x="1026" y="714"/>
                </a:lnTo>
                <a:lnTo>
                  <a:pt x="1031" y="720"/>
                </a:lnTo>
                <a:lnTo>
                  <a:pt x="1037" y="720"/>
                </a:lnTo>
                <a:lnTo>
                  <a:pt x="1043" y="720"/>
                </a:lnTo>
                <a:lnTo>
                  <a:pt x="1043" y="726"/>
                </a:lnTo>
                <a:lnTo>
                  <a:pt x="1048" y="726"/>
                </a:lnTo>
                <a:lnTo>
                  <a:pt x="1048" y="731"/>
                </a:lnTo>
                <a:lnTo>
                  <a:pt x="1054" y="731"/>
                </a:lnTo>
                <a:lnTo>
                  <a:pt x="1054" y="737"/>
                </a:lnTo>
                <a:lnTo>
                  <a:pt x="1048" y="743"/>
                </a:lnTo>
                <a:lnTo>
                  <a:pt x="1043" y="743"/>
                </a:lnTo>
                <a:lnTo>
                  <a:pt x="1043" y="748"/>
                </a:lnTo>
                <a:lnTo>
                  <a:pt x="1037" y="748"/>
                </a:lnTo>
                <a:lnTo>
                  <a:pt x="1031" y="748"/>
                </a:lnTo>
                <a:lnTo>
                  <a:pt x="1031" y="754"/>
                </a:lnTo>
                <a:lnTo>
                  <a:pt x="1026" y="754"/>
                </a:lnTo>
                <a:lnTo>
                  <a:pt x="1020" y="760"/>
                </a:lnTo>
                <a:lnTo>
                  <a:pt x="1014" y="760"/>
                </a:lnTo>
                <a:lnTo>
                  <a:pt x="1014" y="766"/>
                </a:lnTo>
                <a:lnTo>
                  <a:pt x="1009" y="766"/>
                </a:lnTo>
                <a:lnTo>
                  <a:pt x="1003" y="766"/>
                </a:lnTo>
                <a:lnTo>
                  <a:pt x="1003" y="771"/>
                </a:lnTo>
                <a:lnTo>
                  <a:pt x="997" y="777"/>
                </a:lnTo>
                <a:lnTo>
                  <a:pt x="997" y="783"/>
                </a:lnTo>
                <a:lnTo>
                  <a:pt x="997" y="788"/>
                </a:lnTo>
                <a:lnTo>
                  <a:pt x="992" y="788"/>
                </a:lnTo>
                <a:lnTo>
                  <a:pt x="992" y="794"/>
                </a:lnTo>
                <a:lnTo>
                  <a:pt x="992" y="800"/>
                </a:lnTo>
                <a:lnTo>
                  <a:pt x="997" y="800"/>
                </a:lnTo>
                <a:lnTo>
                  <a:pt x="1003" y="800"/>
                </a:lnTo>
                <a:lnTo>
                  <a:pt x="1003" y="805"/>
                </a:lnTo>
                <a:lnTo>
                  <a:pt x="1009" y="805"/>
                </a:lnTo>
                <a:lnTo>
                  <a:pt x="1014" y="811"/>
                </a:lnTo>
                <a:lnTo>
                  <a:pt x="1014" y="817"/>
                </a:lnTo>
                <a:lnTo>
                  <a:pt x="1020" y="828"/>
                </a:lnTo>
                <a:lnTo>
                  <a:pt x="1026" y="834"/>
                </a:lnTo>
                <a:lnTo>
                  <a:pt x="1031" y="834"/>
                </a:lnTo>
                <a:lnTo>
                  <a:pt x="1031" y="839"/>
                </a:lnTo>
                <a:lnTo>
                  <a:pt x="1037" y="839"/>
                </a:lnTo>
                <a:lnTo>
                  <a:pt x="1043" y="845"/>
                </a:lnTo>
                <a:lnTo>
                  <a:pt x="1054" y="851"/>
                </a:lnTo>
                <a:lnTo>
                  <a:pt x="1060" y="851"/>
                </a:lnTo>
                <a:lnTo>
                  <a:pt x="1065" y="856"/>
                </a:lnTo>
                <a:lnTo>
                  <a:pt x="1071" y="856"/>
                </a:lnTo>
                <a:lnTo>
                  <a:pt x="1071" y="862"/>
                </a:lnTo>
                <a:lnTo>
                  <a:pt x="1077" y="862"/>
                </a:lnTo>
                <a:lnTo>
                  <a:pt x="1077" y="868"/>
                </a:lnTo>
                <a:lnTo>
                  <a:pt x="1082" y="868"/>
                </a:lnTo>
                <a:lnTo>
                  <a:pt x="1082" y="873"/>
                </a:lnTo>
                <a:lnTo>
                  <a:pt x="1082" y="879"/>
                </a:lnTo>
                <a:lnTo>
                  <a:pt x="1082" y="885"/>
                </a:lnTo>
                <a:lnTo>
                  <a:pt x="1088" y="885"/>
                </a:lnTo>
                <a:lnTo>
                  <a:pt x="1088" y="890"/>
                </a:lnTo>
                <a:lnTo>
                  <a:pt x="1094" y="902"/>
                </a:lnTo>
                <a:lnTo>
                  <a:pt x="1094" y="907"/>
                </a:lnTo>
                <a:lnTo>
                  <a:pt x="1094" y="913"/>
                </a:lnTo>
                <a:lnTo>
                  <a:pt x="1094" y="919"/>
                </a:lnTo>
                <a:lnTo>
                  <a:pt x="1099" y="924"/>
                </a:lnTo>
                <a:lnTo>
                  <a:pt x="1099" y="930"/>
                </a:lnTo>
                <a:lnTo>
                  <a:pt x="1099" y="936"/>
                </a:lnTo>
                <a:lnTo>
                  <a:pt x="1099" y="941"/>
                </a:lnTo>
                <a:lnTo>
                  <a:pt x="1099" y="947"/>
                </a:lnTo>
                <a:lnTo>
                  <a:pt x="1099" y="964"/>
                </a:lnTo>
                <a:lnTo>
                  <a:pt x="1099" y="970"/>
                </a:lnTo>
                <a:lnTo>
                  <a:pt x="1099" y="975"/>
                </a:lnTo>
                <a:lnTo>
                  <a:pt x="1099" y="987"/>
                </a:lnTo>
                <a:lnTo>
                  <a:pt x="1094" y="992"/>
                </a:lnTo>
                <a:lnTo>
                  <a:pt x="1094" y="998"/>
                </a:lnTo>
                <a:lnTo>
                  <a:pt x="1088" y="998"/>
                </a:lnTo>
                <a:lnTo>
                  <a:pt x="1082" y="998"/>
                </a:lnTo>
                <a:lnTo>
                  <a:pt x="1082" y="1004"/>
                </a:lnTo>
                <a:lnTo>
                  <a:pt x="1082" y="1009"/>
                </a:lnTo>
                <a:lnTo>
                  <a:pt x="1077" y="1009"/>
                </a:lnTo>
                <a:lnTo>
                  <a:pt x="1071" y="1015"/>
                </a:lnTo>
                <a:lnTo>
                  <a:pt x="1065" y="1015"/>
                </a:lnTo>
                <a:lnTo>
                  <a:pt x="1065" y="1021"/>
                </a:lnTo>
                <a:lnTo>
                  <a:pt x="1065" y="1026"/>
                </a:lnTo>
                <a:lnTo>
                  <a:pt x="1060" y="1026"/>
                </a:lnTo>
                <a:lnTo>
                  <a:pt x="1054" y="1026"/>
                </a:lnTo>
                <a:lnTo>
                  <a:pt x="1048" y="1032"/>
                </a:lnTo>
                <a:lnTo>
                  <a:pt x="1043" y="1038"/>
                </a:lnTo>
                <a:lnTo>
                  <a:pt x="1037" y="1038"/>
                </a:lnTo>
                <a:lnTo>
                  <a:pt x="1031" y="1038"/>
                </a:lnTo>
                <a:lnTo>
                  <a:pt x="1031" y="1043"/>
                </a:lnTo>
                <a:lnTo>
                  <a:pt x="1026" y="1043"/>
                </a:lnTo>
                <a:lnTo>
                  <a:pt x="1020" y="1043"/>
                </a:lnTo>
                <a:lnTo>
                  <a:pt x="1014" y="1043"/>
                </a:lnTo>
                <a:lnTo>
                  <a:pt x="1009" y="1043"/>
                </a:lnTo>
                <a:lnTo>
                  <a:pt x="1003" y="1049"/>
                </a:lnTo>
                <a:lnTo>
                  <a:pt x="997" y="1049"/>
                </a:lnTo>
                <a:lnTo>
                  <a:pt x="997" y="1055"/>
                </a:lnTo>
                <a:lnTo>
                  <a:pt x="992" y="1055"/>
                </a:lnTo>
                <a:lnTo>
                  <a:pt x="975" y="1055"/>
                </a:lnTo>
                <a:lnTo>
                  <a:pt x="963" y="1055"/>
                </a:lnTo>
                <a:lnTo>
                  <a:pt x="958" y="1060"/>
                </a:lnTo>
                <a:lnTo>
                  <a:pt x="952" y="1060"/>
                </a:lnTo>
                <a:lnTo>
                  <a:pt x="946" y="1066"/>
                </a:lnTo>
                <a:lnTo>
                  <a:pt x="941" y="1066"/>
                </a:lnTo>
                <a:lnTo>
                  <a:pt x="935" y="1066"/>
                </a:lnTo>
                <a:lnTo>
                  <a:pt x="929" y="1066"/>
                </a:lnTo>
                <a:lnTo>
                  <a:pt x="929" y="1072"/>
                </a:lnTo>
                <a:lnTo>
                  <a:pt x="924" y="1072"/>
                </a:lnTo>
                <a:lnTo>
                  <a:pt x="924" y="1066"/>
                </a:lnTo>
                <a:lnTo>
                  <a:pt x="918" y="1072"/>
                </a:lnTo>
                <a:lnTo>
                  <a:pt x="907" y="1066"/>
                </a:lnTo>
                <a:lnTo>
                  <a:pt x="901" y="1066"/>
                </a:lnTo>
                <a:lnTo>
                  <a:pt x="895" y="1066"/>
                </a:lnTo>
                <a:lnTo>
                  <a:pt x="895" y="1060"/>
                </a:lnTo>
                <a:lnTo>
                  <a:pt x="890" y="1060"/>
                </a:lnTo>
                <a:lnTo>
                  <a:pt x="884" y="1060"/>
                </a:lnTo>
                <a:lnTo>
                  <a:pt x="878" y="1060"/>
                </a:lnTo>
                <a:lnTo>
                  <a:pt x="861" y="1060"/>
                </a:lnTo>
                <a:lnTo>
                  <a:pt x="850" y="1060"/>
                </a:lnTo>
                <a:lnTo>
                  <a:pt x="833" y="1055"/>
                </a:lnTo>
                <a:lnTo>
                  <a:pt x="827" y="1055"/>
                </a:lnTo>
                <a:lnTo>
                  <a:pt x="816" y="1055"/>
                </a:lnTo>
                <a:lnTo>
                  <a:pt x="805" y="1055"/>
                </a:lnTo>
                <a:lnTo>
                  <a:pt x="793" y="1049"/>
                </a:lnTo>
                <a:lnTo>
                  <a:pt x="788" y="1049"/>
                </a:lnTo>
                <a:lnTo>
                  <a:pt x="776" y="1049"/>
                </a:lnTo>
                <a:lnTo>
                  <a:pt x="771" y="1055"/>
                </a:lnTo>
                <a:lnTo>
                  <a:pt x="765" y="1055"/>
                </a:lnTo>
                <a:lnTo>
                  <a:pt x="759" y="1055"/>
                </a:lnTo>
                <a:lnTo>
                  <a:pt x="754" y="1055"/>
                </a:lnTo>
                <a:lnTo>
                  <a:pt x="748" y="1060"/>
                </a:lnTo>
                <a:lnTo>
                  <a:pt x="742" y="1060"/>
                </a:lnTo>
                <a:lnTo>
                  <a:pt x="742" y="1066"/>
                </a:lnTo>
                <a:lnTo>
                  <a:pt x="737" y="1066"/>
                </a:lnTo>
                <a:lnTo>
                  <a:pt x="731" y="1066"/>
                </a:lnTo>
                <a:lnTo>
                  <a:pt x="725" y="1072"/>
                </a:lnTo>
                <a:lnTo>
                  <a:pt x="720" y="1072"/>
                </a:lnTo>
                <a:lnTo>
                  <a:pt x="720" y="1077"/>
                </a:lnTo>
                <a:lnTo>
                  <a:pt x="714" y="1077"/>
                </a:lnTo>
                <a:lnTo>
                  <a:pt x="708" y="1083"/>
                </a:lnTo>
                <a:lnTo>
                  <a:pt x="703" y="1083"/>
                </a:lnTo>
                <a:lnTo>
                  <a:pt x="697" y="1083"/>
                </a:lnTo>
                <a:lnTo>
                  <a:pt x="686" y="1083"/>
                </a:lnTo>
                <a:lnTo>
                  <a:pt x="680" y="1083"/>
                </a:lnTo>
                <a:lnTo>
                  <a:pt x="674" y="1083"/>
                </a:lnTo>
                <a:lnTo>
                  <a:pt x="657" y="1089"/>
                </a:lnTo>
                <a:lnTo>
                  <a:pt x="652" y="1083"/>
                </a:lnTo>
                <a:lnTo>
                  <a:pt x="646" y="1083"/>
                </a:lnTo>
                <a:lnTo>
                  <a:pt x="640" y="1083"/>
                </a:lnTo>
                <a:lnTo>
                  <a:pt x="640" y="1077"/>
                </a:lnTo>
                <a:lnTo>
                  <a:pt x="635" y="1072"/>
                </a:lnTo>
                <a:lnTo>
                  <a:pt x="629" y="1066"/>
                </a:lnTo>
                <a:lnTo>
                  <a:pt x="618" y="1060"/>
                </a:lnTo>
                <a:lnTo>
                  <a:pt x="612" y="1055"/>
                </a:lnTo>
                <a:lnTo>
                  <a:pt x="606" y="1055"/>
                </a:lnTo>
                <a:lnTo>
                  <a:pt x="606" y="1049"/>
                </a:lnTo>
                <a:lnTo>
                  <a:pt x="601" y="1049"/>
                </a:lnTo>
                <a:lnTo>
                  <a:pt x="595" y="1043"/>
                </a:lnTo>
                <a:lnTo>
                  <a:pt x="589" y="1043"/>
                </a:lnTo>
                <a:lnTo>
                  <a:pt x="584" y="1038"/>
                </a:lnTo>
                <a:lnTo>
                  <a:pt x="578" y="1038"/>
                </a:lnTo>
                <a:lnTo>
                  <a:pt x="572" y="1032"/>
                </a:lnTo>
                <a:lnTo>
                  <a:pt x="572" y="1026"/>
                </a:lnTo>
                <a:lnTo>
                  <a:pt x="567" y="1026"/>
                </a:lnTo>
                <a:lnTo>
                  <a:pt x="561" y="1026"/>
                </a:lnTo>
                <a:lnTo>
                  <a:pt x="550" y="1026"/>
                </a:lnTo>
                <a:lnTo>
                  <a:pt x="550" y="1021"/>
                </a:lnTo>
                <a:lnTo>
                  <a:pt x="538" y="1015"/>
                </a:lnTo>
                <a:lnTo>
                  <a:pt x="521" y="1015"/>
                </a:lnTo>
                <a:lnTo>
                  <a:pt x="516" y="1015"/>
                </a:lnTo>
                <a:lnTo>
                  <a:pt x="510" y="1009"/>
                </a:lnTo>
                <a:lnTo>
                  <a:pt x="504" y="1009"/>
                </a:lnTo>
                <a:lnTo>
                  <a:pt x="504" y="1004"/>
                </a:lnTo>
                <a:lnTo>
                  <a:pt x="504" y="998"/>
                </a:lnTo>
                <a:lnTo>
                  <a:pt x="499" y="998"/>
                </a:lnTo>
                <a:lnTo>
                  <a:pt x="493" y="998"/>
                </a:lnTo>
                <a:lnTo>
                  <a:pt x="487" y="992"/>
                </a:lnTo>
                <a:lnTo>
                  <a:pt x="482" y="987"/>
                </a:lnTo>
                <a:lnTo>
                  <a:pt x="476" y="987"/>
                </a:lnTo>
                <a:lnTo>
                  <a:pt x="465" y="981"/>
                </a:lnTo>
                <a:lnTo>
                  <a:pt x="453" y="981"/>
                </a:lnTo>
                <a:lnTo>
                  <a:pt x="448" y="981"/>
                </a:lnTo>
                <a:lnTo>
                  <a:pt x="442" y="981"/>
                </a:lnTo>
                <a:lnTo>
                  <a:pt x="436" y="975"/>
                </a:lnTo>
                <a:lnTo>
                  <a:pt x="425" y="970"/>
                </a:lnTo>
                <a:lnTo>
                  <a:pt x="419" y="970"/>
                </a:lnTo>
                <a:lnTo>
                  <a:pt x="408" y="970"/>
                </a:lnTo>
                <a:lnTo>
                  <a:pt x="402" y="970"/>
                </a:lnTo>
                <a:lnTo>
                  <a:pt x="396" y="975"/>
                </a:lnTo>
                <a:lnTo>
                  <a:pt x="391" y="981"/>
                </a:lnTo>
                <a:lnTo>
                  <a:pt x="391" y="987"/>
                </a:lnTo>
                <a:lnTo>
                  <a:pt x="396" y="987"/>
                </a:lnTo>
                <a:lnTo>
                  <a:pt x="402" y="987"/>
                </a:lnTo>
                <a:lnTo>
                  <a:pt x="402" y="992"/>
                </a:lnTo>
                <a:lnTo>
                  <a:pt x="402" y="998"/>
                </a:lnTo>
                <a:lnTo>
                  <a:pt x="408" y="998"/>
                </a:lnTo>
                <a:lnTo>
                  <a:pt x="408" y="1004"/>
                </a:lnTo>
                <a:lnTo>
                  <a:pt x="413" y="1009"/>
                </a:lnTo>
                <a:lnTo>
                  <a:pt x="413" y="1015"/>
                </a:lnTo>
                <a:lnTo>
                  <a:pt x="408" y="1021"/>
                </a:lnTo>
                <a:lnTo>
                  <a:pt x="391" y="1026"/>
                </a:lnTo>
                <a:lnTo>
                  <a:pt x="379" y="1026"/>
                </a:lnTo>
                <a:lnTo>
                  <a:pt x="379" y="1032"/>
                </a:lnTo>
                <a:lnTo>
                  <a:pt x="374" y="1038"/>
                </a:lnTo>
                <a:lnTo>
                  <a:pt x="374" y="1043"/>
                </a:lnTo>
                <a:lnTo>
                  <a:pt x="374" y="1049"/>
                </a:lnTo>
                <a:lnTo>
                  <a:pt x="368" y="1049"/>
                </a:lnTo>
                <a:lnTo>
                  <a:pt x="368" y="1055"/>
                </a:lnTo>
                <a:lnTo>
                  <a:pt x="362" y="1055"/>
                </a:lnTo>
                <a:lnTo>
                  <a:pt x="362" y="1060"/>
                </a:lnTo>
                <a:lnTo>
                  <a:pt x="357" y="1060"/>
                </a:lnTo>
                <a:lnTo>
                  <a:pt x="345" y="1066"/>
                </a:lnTo>
                <a:lnTo>
                  <a:pt x="328" y="1066"/>
                </a:lnTo>
                <a:lnTo>
                  <a:pt x="317" y="1066"/>
                </a:lnTo>
                <a:lnTo>
                  <a:pt x="311" y="1066"/>
                </a:lnTo>
                <a:lnTo>
                  <a:pt x="294" y="1066"/>
                </a:lnTo>
                <a:lnTo>
                  <a:pt x="283" y="1066"/>
                </a:lnTo>
                <a:lnTo>
                  <a:pt x="277" y="1066"/>
                </a:lnTo>
                <a:lnTo>
                  <a:pt x="272" y="1066"/>
                </a:lnTo>
                <a:lnTo>
                  <a:pt x="266" y="1066"/>
                </a:lnTo>
                <a:lnTo>
                  <a:pt x="238" y="1060"/>
                </a:lnTo>
                <a:lnTo>
                  <a:pt x="232" y="1055"/>
                </a:lnTo>
                <a:lnTo>
                  <a:pt x="226" y="1055"/>
                </a:lnTo>
                <a:lnTo>
                  <a:pt x="221" y="1055"/>
                </a:lnTo>
                <a:lnTo>
                  <a:pt x="221" y="1049"/>
                </a:lnTo>
                <a:lnTo>
                  <a:pt x="215" y="1049"/>
                </a:lnTo>
                <a:lnTo>
                  <a:pt x="215" y="1043"/>
                </a:lnTo>
                <a:lnTo>
                  <a:pt x="209" y="1043"/>
                </a:lnTo>
                <a:lnTo>
                  <a:pt x="209" y="1038"/>
                </a:lnTo>
                <a:lnTo>
                  <a:pt x="204" y="1038"/>
                </a:lnTo>
                <a:lnTo>
                  <a:pt x="198" y="1032"/>
                </a:lnTo>
                <a:lnTo>
                  <a:pt x="198" y="1026"/>
                </a:lnTo>
                <a:lnTo>
                  <a:pt x="198" y="1021"/>
                </a:lnTo>
                <a:lnTo>
                  <a:pt x="192" y="1015"/>
                </a:lnTo>
                <a:lnTo>
                  <a:pt x="192" y="1009"/>
                </a:lnTo>
                <a:lnTo>
                  <a:pt x="187" y="1009"/>
                </a:lnTo>
                <a:lnTo>
                  <a:pt x="181" y="1009"/>
                </a:lnTo>
                <a:lnTo>
                  <a:pt x="175" y="1009"/>
                </a:lnTo>
                <a:lnTo>
                  <a:pt x="170" y="1009"/>
                </a:lnTo>
                <a:lnTo>
                  <a:pt x="164" y="1009"/>
                </a:lnTo>
                <a:lnTo>
                  <a:pt x="164" y="1004"/>
                </a:lnTo>
                <a:lnTo>
                  <a:pt x="164" y="998"/>
                </a:lnTo>
                <a:lnTo>
                  <a:pt x="158" y="992"/>
                </a:lnTo>
                <a:lnTo>
                  <a:pt x="158" y="987"/>
                </a:lnTo>
                <a:lnTo>
                  <a:pt x="164" y="975"/>
                </a:lnTo>
                <a:lnTo>
                  <a:pt x="164" y="970"/>
                </a:lnTo>
                <a:lnTo>
                  <a:pt x="170" y="970"/>
                </a:lnTo>
                <a:lnTo>
                  <a:pt x="170" y="964"/>
                </a:lnTo>
                <a:lnTo>
                  <a:pt x="170" y="958"/>
                </a:lnTo>
                <a:lnTo>
                  <a:pt x="175" y="947"/>
                </a:lnTo>
                <a:lnTo>
                  <a:pt x="175" y="941"/>
                </a:lnTo>
                <a:lnTo>
                  <a:pt x="175" y="936"/>
                </a:lnTo>
                <a:lnTo>
                  <a:pt x="175" y="930"/>
                </a:lnTo>
                <a:lnTo>
                  <a:pt x="170" y="930"/>
                </a:lnTo>
                <a:lnTo>
                  <a:pt x="170" y="924"/>
                </a:lnTo>
                <a:lnTo>
                  <a:pt x="170" y="919"/>
                </a:lnTo>
                <a:lnTo>
                  <a:pt x="164" y="913"/>
                </a:lnTo>
                <a:lnTo>
                  <a:pt x="164" y="907"/>
                </a:lnTo>
                <a:lnTo>
                  <a:pt x="153" y="902"/>
                </a:lnTo>
                <a:lnTo>
                  <a:pt x="153" y="896"/>
                </a:lnTo>
                <a:lnTo>
                  <a:pt x="147" y="896"/>
                </a:lnTo>
                <a:lnTo>
                  <a:pt x="136" y="890"/>
                </a:lnTo>
                <a:lnTo>
                  <a:pt x="130" y="890"/>
                </a:lnTo>
                <a:lnTo>
                  <a:pt x="124" y="890"/>
                </a:lnTo>
                <a:lnTo>
                  <a:pt x="119" y="896"/>
                </a:lnTo>
                <a:lnTo>
                  <a:pt x="113" y="902"/>
                </a:lnTo>
                <a:lnTo>
                  <a:pt x="107" y="902"/>
                </a:lnTo>
                <a:lnTo>
                  <a:pt x="102" y="907"/>
                </a:lnTo>
                <a:lnTo>
                  <a:pt x="96" y="913"/>
                </a:lnTo>
                <a:lnTo>
                  <a:pt x="96" y="907"/>
                </a:lnTo>
                <a:lnTo>
                  <a:pt x="90" y="902"/>
                </a:lnTo>
                <a:lnTo>
                  <a:pt x="90" y="896"/>
                </a:lnTo>
                <a:lnTo>
                  <a:pt x="90" y="890"/>
                </a:lnTo>
                <a:lnTo>
                  <a:pt x="90" y="879"/>
                </a:lnTo>
                <a:lnTo>
                  <a:pt x="90" y="868"/>
                </a:lnTo>
                <a:lnTo>
                  <a:pt x="90" y="862"/>
                </a:lnTo>
                <a:lnTo>
                  <a:pt x="90" y="856"/>
                </a:lnTo>
                <a:lnTo>
                  <a:pt x="90" y="851"/>
                </a:lnTo>
                <a:lnTo>
                  <a:pt x="90" y="845"/>
                </a:lnTo>
                <a:lnTo>
                  <a:pt x="85" y="839"/>
                </a:lnTo>
                <a:lnTo>
                  <a:pt x="85" y="834"/>
                </a:lnTo>
                <a:lnTo>
                  <a:pt x="85" y="828"/>
                </a:lnTo>
                <a:lnTo>
                  <a:pt x="79" y="822"/>
                </a:lnTo>
                <a:lnTo>
                  <a:pt x="79" y="817"/>
                </a:lnTo>
                <a:lnTo>
                  <a:pt x="79" y="811"/>
                </a:lnTo>
                <a:lnTo>
                  <a:pt x="79" y="805"/>
                </a:lnTo>
                <a:lnTo>
                  <a:pt x="79" y="800"/>
                </a:lnTo>
                <a:lnTo>
                  <a:pt x="79" y="794"/>
                </a:lnTo>
                <a:lnTo>
                  <a:pt x="79" y="788"/>
                </a:lnTo>
                <a:lnTo>
                  <a:pt x="73" y="788"/>
                </a:lnTo>
                <a:lnTo>
                  <a:pt x="73" y="783"/>
                </a:lnTo>
                <a:lnTo>
                  <a:pt x="68" y="783"/>
                </a:lnTo>
                <a:lnTo>
                  <a:pt x="62" y="777"/>
                </a:lnTo>
                <a:lnTo>
                  <a:pt x="56" y="777"/>
                </a:lnTo>
                <a:lnTo>
                  <a:pt x="51" y="777"/>
                </a:lnTo>
                <a:lnTo>
                  <a:pt x="45" y="777"/>
                </a:lnTo>
                <a:lnTo>
                  <a:pt x="34" y="777"/>
                </a:lnTo>
                <a:lnTo>
                  <a:pt x="28" y="771"/>
                </a:lnTo>
                <a:lnTo>
                  <a:pt x="28" y="766"/>
                </a:lnTo>
                <a:lnTo>
                  <a:pt x="22" y="766"/>
                </a:lnTo>
                <a:lnTo>
                  <a:pt x="17" y="76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67" name="Freeform 4"/>
          <p:cNvSpPr>
            <a:spLocks/>
          </p:cNvSpPr>
          <p:nvPr/>
        </p:nvSpPr>
        <p:spPr bwMode="gray">
          <a:xfrm>
            <a:off x="6163493" y="829309"/>
            <a:ext cx="1872536" cy="2256305"/>
          </a:xfrm>
          <a:custGeom>
            <a:avLst/>
            <a:gdLst>
              <a:gd name="T0" fmla="*/ 2147483647 w 1105"/>
              <a:gd name="T1" fmla="*/ 2147483647 h 1333"/>
              <a:gd name="T2" fmla="*/ 2147483647 w 1105"/>
              <a:gd name="T3" fmla="*/ 2147483647 h 1333"/>
              <a:gd name="T4" fmla="*/ 2147483647 w 1105"/>
              <a:gd name="T5" fmla="*/ 2147483647 h 1333"/>
              <a:gd name="T6" fmla="*/ 2147483647 w 1105"/>
              <a:gd name="T7" fmla="*/ 2147483647 h 1333"/>
              <a:gd name="T8" fmla="*/ 2147483647 w 1105"/>
              <a:gd name="T9" fmla="*/ 2147483647 h 1333"/>
              <a:gd name="T10" fmla="*/ 2147483647 w 1105"/>
              <a:gd name="T11" fmla="*/ 2147483647 h 1333"/>
              <a:gd name="T12" fmla="*/ 2147483647 w 1105"/>
              <a:gd name="T13" fmla="*/ 2147483647 h 1333"/>
              <a:gd name="T14" fmla="*/ 2147483647 w 1105"/>
              <a:gd name="T15" fmla="*/ 2147483647 h 1333"/>
              <a:gd name="T16" fmla="*/ 2147483647 w 1105"/>
              <a:gd name="T17" fmla="*/ 2147483647 h 1333"/>
              <a:gd name="T18" fmla="*/ 2147483647 w 1105"/>
              <a:gd name="T19" fmla="*/ 2147483647 h 1333"/>
              <a:gd name="T20" fmla="*/ 2147483647 w 1105"/>
              <a:gd name="T21" fmla="*/ 2147483647 h 1333"/>
              <a:gd name="T22" fmla="*/ 2147483647 w 1105"/>
              <a:gd name="T23" fmla="*/ 2147483647 h 1333"/>
              <a:gd name="T24" fmla="*/ 2147483647 w 1105"/>
              <a:gd name="T25" fmla="*/ 2147483647 h 1333"/>
              <a:gd name="T26" fmla="*/ 2147483647 w 1105"/>
              <a:gd name="T27" fmla="*/ 2147483647 h 1333"/>
              <a:gd name="T28" fmla="*/ 2147483647 w 1105"/>
              <a:gd name="T29" fmla="*/ 2147483647 h 1333"/>
              <a:gd name="T30" fmla="*/ 2147483647 w 1105"/>
              <a:gd name="T31" fmla="*/ 2147483647 h 1333"/>
              <a:gd name="T32" fmla="*/ 2147483647 w 1105"/>
              <a:gd name="T33" fmla="*/ 2147483647 h 1333"/>
              <a:gd name="T34" fmla="*/ 2147483647 w 1105"/>
              <a:gd name="T35" fmla="*/ 2147483647 h 1333"/>
              <a:gd name="T36" fmla="*/ 2147483647 w 1105"/>
              <a:gd name="T37" fmla="*/ 2147483647 h 1333"/>
              <a:gd name="T38" fmla="*/ 2147483647 w 1105"/>
              <a:gd name="T39" fmla="*/ 2147483647 h 1333"/>
              <a:gd name="T40" fmla="*/ 2147483647 w 1105"/>
              <a:gd name="T41" fmla="*/ 2147483647 h 1333"/>
              <a:gd name="T42" fmla="*/ 2147483647 w 1105"/>
              <a:gd name="T43" fmla="*/ 2147483647 h 1333"/>
              <a:gd name="T44" fmla="*/ 2147483647 w 1105"/>
              <a:gd name="T45" fmla="*/ 2147483647 h 1333"/>
              <a:gd name="T46" fmla="*/ 2147483647 w 1105"/>
              <a:gd name="T47" fmla="*/ 2147483647 h 1333"/>
              <a:gd name="T48" fmla="*/ 2147483647 w 1105"/>
              <a:gd name="T49" fmla="*/ 2147483647 h 1333"/>
              <a:gd name="T50" fmla="*/ 2147483647 w 1105"/>
              <a:gd name="T51" fmla="*/ 2147483647 h 1333"/>
              <a:gd name="T52" fmla="*/ 2147483647 w 1105"/>
              <a:gd name="T53" fmla="*/ 2147483647 h 1333"/>
              <a:gd name="T54" fmla="*/ 2147483647 w 1105"/>
              <a:gd name="T55" fmla="*/ 2147483647 h 1333"/>
              <a:gd name="T56" fmla="*/ 2147483647 w 1105"/>
              <a:gd name="T57" fmla="*/ 2147483647 h 1333"/>
              <a:gd name="T58" fmla="*/ 2147483647 w 1105"/>
              <a:gd name="T59" fmla="*/ 2147483647 h 1333"/>
              <a:gd name="T60" fmla="*/ 2147483647 w 1105"/>
              <a:gd name="T61" fmla="*/ 2147483647 h 1333"/>
              <a:gd name="T62" fmla="*/ 2147483647 w 1105"/>
              <a:gd name="T63" fmla="*/ 0 h 1333"/>
              <a:gd name="T64" fmla="*/ 2147483647 w 1105"/>
              <a:gd name="T65" fmla="*/ 0 h 1333"/>
              <a:gd name="T66" fmla="*/ 2147483647 w 1105"/>
              <a:gd name="T67" fmla="*/ 2147483647 h 1333"/>
              <a:gd name="T68" fmla="*/ 2147483647 w 1105"/>
              <a:gd name="T69" fmla="*/ 2147483647 h 1333"/>
              <a:gd name="T70" fmla="*/ 2147483647 w 1105"/>
              <a:gd name="T71" fmla="*/ 2147483647 h 1333"/>
              <a:gd name="T72" fmla="*/ 2147483647 w 1105"/>
              <a:gd name="T73" fmla="*/ 2147483647 h 1333"/>
              <a:gd name="T74" fmla="*/ 2147483647 w 1105"/>
              <a:gd name="T75" fmla="*/ 2147483647 h 1333"/>
              <a:gd name="T76" fmla="*/ 2147483647 w 1105"/>
              <a:gd name="T77" fmla="*/ 2147483647 h 1333"/>
              <a:gd name="T78" fmla="*/ 2147483647 w 1105"/>
              <a:gd name="T79" fmla="*/ 2147483647 h 1333"/>
              <a:gd name="T80" fmla="*/ 2147483647 w 1105"/>
              <a:gd name="T81" fmla="*/ 2147483647 h 1333"/>
              <a:gd name="T82" fmla="*/ 2147483647 w 1105"/>
              <a:gd name="T83" fmla="*/ 2147483647 h 1333"/>
              <a:gd name="T84" fmla="*/ 2147483647 w 1105"/>
              <a:gd name="T85" fmla="*/ 2147483647 h 1333"/>
              <a:gd name="T86" fmla="*/ 2147483647 w 1105"/>
              <a:gd name="T87" fmla="*/ 2147483647 h 1333"/>
              <a:gd name="T88" fmla="*/ 2147483647 w 1105"/>
              <a:gd name="T89" fmla="*/ 2147483647 h 1333"/>
              <a:gd name="T90" fmla="*/ 2147483647 w 1105"/>
              <a:gd name="T91" fmla="*/ 2147483647 h 1333"/>
              <a:gd name="T92" fmla="*/ 2147483647 w 1105"/>
              <a:gd name="T93" fmla="*/ 2147483647 h 1333"/>
              <a:gd name="T94" fmla="*/ 2147483647 w 1105"/>
              <a:gd name="T95" fmla="*/ 2147483647 h 1333"/>
              <a:gd name="T96" fmla="*/ 2147483647 w 1105"/>
              <a:gd name="T97" fmla="*/ 2147483647 h 1333"/>
              <a:gd name="T98" fmla="*/ 2147483647 w 1105"/>
              <a:gd name="T99" fmla="*/ 2147483647 h 1333"/>
              <a:gd name="T100" fmla="*/ 2147483647 w 1105"/>
              <a:gd name="T101" fmla="*/ 2147483647 h 1333"/>
              <a:gd name="T102" fmla="*/ 2147483647 w 1105"/>
              <a:gd name="T103" fmla="*/ 2147483647 h 1333"/>
              <a:gd name="T104" fmla="*/ 2147483647 w 1105"/>
              <a:gd name="T105" fmla="*/ 2147483647 h 1333"/>
              <a:gd name="T106" fmla="*/ 2147483647 w 1105"/>
              <a:gd name="T107" fmla="*/ 2147483647 h 1333"/>
              <a:gd name="T108" fmla="*/ 2147483647 w 1105"/>
              <a:gd name="T109" fmla="*/ 2147483647 h 1333"/>
              <a:gd name="T110" fmla="*/ 2147483647 w 1105"/>
              <a:gd name="T111" fmla="*/ 2147483647 h 1333"/>
              <a:gd name="T112" fmla="*/ 2147483647 w 1105"/>
              <a:gd name="T113" fmla="*/ 2147483647 h 1333"/>
              <a:gd name="T114" fmla="*/ 2147483647 w 1105"/>
              <a:gd name="T115" fmla="*/ 2147483647 h 1333"/>
              <a:gd name="T116" fmla="*/ 2147483647 w 1105"/>
              <a:gd name="T117" fmla="*/ 2147483647 h 1333"/>
              <a:gd name="T118" fmla="*/ 2147483647 w 1105"/>
              <a:gd name="T119" fmla="*/ 2147483647 h 1333"/>
              <a:gd name="T120" fmla="*/ 2147483647 w 1105"/>
              <a:gd name="T121" fmla="*/ 2147483647 h 1333"/>
              <a:gd name="T122" fmla="*/ 2147483647 w 1105"/>
              <a:gd name="T123" fmla="*/ 2147483647 h 1333"/>
              <a:gd name="T124" fmla="*/ 2147483647 w 1105"/>
              <a:gd name="T125" fmla="*/ 2147483647 h 133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105"/>
              <a:gd name="T190" fmla="*/ 0 h 1333"/>
              <a:gd name="T191" fmla="*/ 1105 w 1105"/>
              <a:gd name="T192" fmla="*/ 1333 h 133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105" h="1333">
                <a:moveTo>
                  <a:pt x="96" y="1321"/>
                </a:moveTo>
                <a:lnTo>
                  <a:pt x="96" y="1316"/>
                </a:lnTo>
                <a:lnTo>
                  <a:pt x="90" y="1316"/>
                </a:lnTo>
                <a:lnTo>
                  <a:pt x="90" y="1310"/>
                </a:lnTo>
                <a:lnTo>
                  <a:pt x="90" y="1304"/>
                </a:lnTo>
                <a:lnTo>
                  <a:pt x="90" y="1299"/>
                </a:lnTo>
                <a:lnTo>
                  <a:pt x="85" y="1299"/>
                </a:lnTo>
                <a:lnTo>
                  <a:pt x="85" y="1293"/>
                </a:lnTo>
                <a:lnTo>
                  <a:pt x="79" y="1293"/>
                </a:lnTo>
                <a:lnTo>
                  <a:pt x="79" y="1287"/>
                </a:lnTo>
                <a:lnTo>
                  <a:pt x="73" y="1287"/>
                </a:lnTo>
                <a:lnTo>
                  <a:pt x="68" y="1282"/>
                </a:lnTo>
                <a:lnTo>
                  <a:pt x="62" y="1282"/>
                </a:lnTo>
                <a:lnTo>
                  <a:pt x="51" y="1276"/>
                </a:lnTo>
                <a:lnTo>
                  <a:pt x="45" y="1270"/>
                </a:lnTo>
                <a:lnTo>
                  <a:pt x="39" y="1270"/>
                </a:lnTo>
                <a:lnTo>
                  <a:pt x="39" y="1265"/>
                </a:lnTo>
                <a:lnTo>
                  <a:pt x="34" y="1265"/>
                </a:lnTo>
                <a:lnTo>
                  <a:pt x="28" y="1259"/>
                </a:lnTo>
                <a:lnTo>
                  <a:pt x="22" y="1248"/>
                </a:lnTo>
                <a:lnTo>
                  <a:pt x="22" y="1242"/>
                </a:lnTo>
                <a:lnTo>
                  <a:pt x="17" y="1236"/>
                </a:lnTo>
                <a:lnTo>
                  <a:pt x="11" y="1236"/>
                </a:lnTo>
                <a:lnTo>
                  <a:pt x="11" y="1231"/>
                </a:lnTo>
                <a:lnTo>
                  <a:pt x="5" y="1231"/>
                </a:lnTo>
                <a:lnTo>
                  <a:pt x="0" y="1231"/>
                </a:lnTo>
                <a:lnTo>
                  <a:pt x="0" y="1225"/>
                </a:lnTo>
                <a:lnTo>
                  <a:pt x="0" y="1219"/>
                </a:lnTo>
                <a:lnTo>
                  <a:pt x="5" y="1219"/>
                </a:lnTo>
                <a:lnTo>
                  <a:pt x="5" y="1214"/>
                </a:lnTo>
                <a:lnTo>
                  <a:pt x="5" y="1208"/>
                </a:lnTo>
                <a:lnTo>
                  <a:pt x="11" y="1202"/>
                </a:lnTo>
                <a:lnTo>
                  <a:pt x="11" y="1197"/>
                </a:lnTo>
                <a:lnTo>
                  <a:pt x="17" y="1197"/>
                </a:lnTo>
                <a:lnTo>
                  <a:pt x="22" y="1197"/>
                </a:lnTo>
                <a:lnTo>
                  <a:pt x="22" y="1191"/>
                </a:lnTo>
                <a:lnTo>
                  <a:pt x="28" y="1191"/>
                </a:lnTo>
                <a:lnTo>
                  <a:pt x="34" y="1185"/>
                </a:lnTo>
                <a:lnTo>
                  <a:pt x="39" y="1185"/>
                </a:lnTo>
                <a:lnTo>
                  <a:pt x="39" y="1179"/>
                </a:lnTo>
                <a:lnTo>
                  <a:pt x="45" y="1179"/>
                </a:lnTo>
                <a:lnTo>
                  <a:pt x="51" y="1179"/>
                </a:lnTo>
                <a:lnTo>
                  <a:pt x="51" y="1174"/>
                </a:lnTo>
                <a:lnTo>
                  <a:pt x="56" y="1174"/>
                </a:lnTo>
                <a:lnTo>
                  <a:pt x="62" y="1168"/>
                </a:lnTo>
                <a:lnTo>
                  <a:pt x="62" y="1162"/>
                </a:lnTo>
                <a:lnTo>
                  <a:pt x="56" y="1162"/>
                </a:lnTo>
                <a:lnTo>
                  <a:pt x="56" y="1157"/>
                </a:lnTo>
                <a:lnTo>
                  <a:pt x="51" y="1157"/>
                </a:lnTo>
                <a:lnTo>
                  <a:pt x="51" y="1151"/>
                </a:lnTo>
                <a:lnTo>
                  <a:pt x="45" y="1151"/>
                </a:lnTo>
                <a:lnTo>
                  <a:pt x="39" y="1151"/>
                </a:lnTo>
                <a:lnTo>
                  <a:pt x="34" y="1145"/>
                </a:lnTo>
                <a:lnTo>
                  <a:pt x="22" y="1140"/>
                </a:lnTo>
                <a:lnTo>
                  <a:pt x="17" y="1140"/>
                </a:lnTo>
                <a:lnTo>
                  <a:pt x="11" y="1140"/>
                </a:lnTo>
                <a:lnTo>
                  <a:pt x="5" y="1140"/>
                </a:lnTo>
                <a:lnTo>
                  <a:pt x="5" y="1134"/>
                </a:lnTo>
                <a:lnTo>
                  <a:pt x="5" y="1128"/>
                </a:lnTo>
                <a:lnTo>
                  <a:pt x="5" y="1123"/>
                </a:lnTo>
                <a:lnTo>
                  <a:pt x="11" y="1123"/>
                </a:lnTo>
                <a:lnTo>
                  <a:pt x="11" y="1117"/>
                </a:lnTo>
                <a:lnTo>
                  <a:pt x="22" y="1117"/>
                </a:lnTo>
                <a:lnTo>
                  <a:pt x="22" y="1111"/>
                </a:lnTo>
                <a:lnTo>
                  <a:pt x="28" y="1111"/>
                </a:lnTo>
                <a:lnTo>
                  <a:pt x="34" y="1111"/>
                </a:lnTo>
                <a:lnTo>
                  <a:pt x="39" y="1106"/>
                </a:lnTo>
                <a:lnTo>
                  <a:pt x="45" y="1100"/>
                </a:lnTo>
                <a:lnTo>
                  <a:pt x="45" y="1094"/>
                </a:lnTo>
                <a:lnTo>
                  <a:pt x="51" y="1094"/>
                </a:lnTo>
                <a:lnTo>
                  <a:pt x="51" y="1089"/>
                </a:lnTo>
                <a:lnTo>
                  <a:pt x="51" y="1083"/>
                </a:lnTo>
                <a:lnTo>
                  <a:pt x="51" y="1077"/>
                </a:lnTo>
                <a:lnTo>
                  <a:pt x="45" y="1066"/>
                </a:lnTo>
                <a:lnTo>
                  <a:pt x="45" y="1060"/>
                </a:lnTo>
                <a:lnTo>
                  <a:pt x="45" y="1055"/>
                </a:lnTo>
                <a:lnTo>
                  <a:pt x="45" y="1049"/>
                </a:lnTo>
                <a:lnTo>
                  <a:pt x="51" y="1038"/>
                </a:lnTo>
                <a:lnTo>
                  <a:pt x="51" y="1032"/>
                </a:lnTo>
                <a:lnTo>
                  <a:pt x="51" y="1026"/>
                </a:lnTo>
                <a:lnTo>
                  <a:pt x="56" y="1026"/>
                </a:lnTo>
                <a:lnTo>
                  <a:pt x="56" y="1021"/>
                </a:lnTo>
                <a:lnTo>
                  <a:pt x="62" y="1015"/>
                </a:lnTo>
                <a:lnTo>
                  <a:pt x="68" y="1009"/>
                </a:lnTo>
                <a:lnTo>
                  <a:pt x="73" y="1009"/>
                </a:lnTo>
                <a:lnTo>
                  <a:pt x="79" y="1004"/>
                </a:lnTo>
                <a:lnTo>
                  <a:pt x="90" y="1004"/>
                </a:lnTo>
                <a:lnTo>
                  <a:pt x="90" y="998"/>
                </a:lnTo>
                <a:lnTo>
                  <a:pt x="96" y="998"/>
                </a:lnTo>
                <a:lnTo>
                  <a:pt x="107" y="998"/>
                </a:lnTo>
                <a:lnTo>
                  <a:pt x="107" y="992"/>
                </a:lnTo>
                <a:lnTo>
                  <a:pt x="113" y="992"/>
                </a:lnTo>
                <a:lnTo>
                  <a:pt x="119" y="992"/>
                </a:lnTo>
                <a:lnTo>
                  <a:pt x="124" y="987"/>
                </a:lnTo>
                <a:lnTo>
                  <a:pt x="130" y="987"/>
                </a:lnTo>
                <a:lnTo>
                  <a:pt x="136" y="987"/>
                </a:lnTo>
                <a:lnTo>
                  <a:pt x="136" y="981"/>
                </a:lnTo>
                <a:lnTo>
                  <a:pt x="141" y="981"/>
                </a:lnTo>
                <a:lnTo>
                  <a:pt x="147" y="981"/>
                </a:lnTo>
                <a:lnTo>
                  <a:pt x="141" y="981"/>
                </a:lnTo>
                <a:lnTo>
                  <a:pt x="147" y="981"/>
                </a:lnTo>
                <a:lnTo>
                  <a:pt x="153" y="981"/>
                </a:lnTo>
                <a:lnTo>
                  <a:pt x="153" y="975"/>
                </a:lnTo>
                <a:lnTo>
                  <a:pt x="158" y="975"/>
                </a:lnTo>
                <a:lnTo>
                  <a:pt x="164" y="970"/>
                </a:lnTo>
                <a:lnTo>
                  <a:pt x="170" y="970"/>
                </a:lnTo>
                <a:lnTo>
                  <a:pt x="170" y="964"/>
                </a:lnTo>
                <a:lnTo>
                  <a:pt x="170" y="958"/>
                </a:lnTo>
                <a:lnTo>
                  <a:pt x="175" y="958"/>
                </a:lnTo>
                <a:lnTo>
                  <a:pt x="181" y="958"/>
                </a:lnTo>
                <a:lnTo>
                  <a:pt x="187" y="953"/>
                </a:lnTo>
                <a:lnTo>
                  <a:pt x="192" y="953"/>
                </a:lnTo>
                <a:lnTo>
                  <a:pt x="192" y="947"/>
                </a:lnTo>
                <a:lnTo>
                  <a:pt x="192" y="941"/>
                </a:lnTo>
                <a:lnTo>
                  <a:pt x="198" y="941"/>
                </a:lnTo>
                <a:lnTo>
                  <a:pt x="198" y="930"/>
                </a:lnTo>
                <a:lnTo>
                  <a:pt x="198" y="924"/>
                </a:lnTo>
                <a:lnTo>
                  <a:pt x="192" y="924"/>
                </a:lnTo>
                <a:lnTo>
                  <a:pt x="192" y="913"/>
                </a:lnTo>
                <a:lnTo>
                  <a:pt x="187" y="902"/>
                </a:lnTo>
                <a:lnTo>
                  <a:pt x="187" y="896"/>
                </a:lnTo>
                <a:lnTo>
                  <a:pt x="187" y="885"/>
                </a:lnTo>
                <a:lnTo>
                  <a:pt x="192" y="885"/>
                </a:lnTo>
                <a:lnTo>
                  <a:pt x="192" y="873"/>
                </a:lnTo>
                <a:lnTo>
                  <a:pt x="198" y="873"/>
                </a:lnTo>
                <a:lnTo>
                  <a:pt x="198" y="868"/>
                </a:lnTo>
                <a:lnTo>
                  <a:pt x="209" y="862"/>
                </a:lnTo>
                <a:lnTo>
                  <a:pt x="215" y="862"/>
                </a:lnTo>
                <a:lnTo>
                  <a:pt x="215" y="856"/>
                </a:lnTo>
                <a:lnTo>
                  <a:pt x="221" y="856"/>
                </a:lnTo>
                <a:lnTo>
                  <a:pt x="221" y="851"/>
                </a:lnTo>
                <a:lnTo>
                  <a:pt x="221" y="845"/>
                </a:lnTo>
                <a:lnTo>
                  <a:pt x="221" y="839"/>
                </a:lnTo>
                <a:lnTo>
                  <a:pt x="226" y="834"/>
                </a:lnTo>
                <a:lnTo>
                  <a:pt x="226" y="828"/>
                </a:lnTo>
                <a:lnTo>
                  <a:pt x="226" y="822"/>
                </a:lnTo>
                <a:lnTo>
                  <a:pt x="232" y="817"/>
                </a:lnTo>
                <a:lnTo>
                  <a:pt x="238" y="811"/>
                </a:lnTo>
                <a:lnTo>
                  <a:pt x="238" y="805"/>
                </a:lnTo>
                <a:lnTo>
                  <a:pt x="243" y="805"/>
                </a:lnTo>
                <a:lnTo>
                  <a:pt x="249" y="805"/>
                </a:lnTo>
                <a:lnTo>
                  <a:pt x="255" y="800"/>
                </a:lnTo>
                <a:lnTo>
                  <a:pt x="260" y="794"/>
                </a:lnTo>
                <a:lnTo>
                  <a:pt x="266" y="788"/>
                </a:lnTo>
                <a:lnTo>
                  <a:pt x="266" y="783"/>
                </a:lnTo>
                <a:lnTo>
                  <a:pt x="260" y="777"/>
                </a:lnTo>
                <a:lnTo>
                  <a:pt x="255" y="771"/>
                </a:lnTo>
                <a:lnTo>
                  <a:pt x="255" y="766"/>
                </a:lnTo>
                <a:lnTo>
                  <a:pt x="255" y="760"/>
                </a:lnTo>
                <a:lnTo>
                  <a:pt x="243" y="749"/>
                </a:lnTo>
                <a:lnTo>
                  <a:pt x="238" y="743"/>
                </a:lnTo>
                <a:lnTo>
                  <a:pt x="238" y="737"/>
                </a:lnTo>
                <a:lnTo>
                  <a:pt x="232" y="737"/>
                </a:lnTo>
                <a:lnTo>
                  <a:pt x="226" y="737"/>
                </a:lnTo>
                <a:lnTo>
                  <a:pt x="221" y="737"/>
                </a:lnTo>
                <a:lnTo>
                  <a:pt x="221" y="732"/>
                </a:lnTo>
                <a:lnTo>
                  <a:pt x="215" y="732"/>
                </a:lnTo>
                <a:lnTo>
                  <a:pt x="215" y="726"/>
                </a:lnTo>
                <a:lnTo>
                  <a:pt x="215" y="720"/>
                </a:lnTo>
                <a:lnTo>
                  <a:pt x="215" y="709"/>
                </a:lnTo>
                <a:lnTo>
                  <a:pt x="215" y="703"/>
                </a:lnTo>
                <a:lnTo>
                  <a:pt x="221" y="703"/>
                </a:lnTo>
                <a:lnTo>
                  <a:pt x="226" y="698"/>
                </a:lnTo>
                <a:lnTo>
                  <a:pt x="226" y="692"/>
                </a:lnTo>
                <a:lnTo>
                  <a:pt x="232" y="692"/>
                </a:lnTo>
                <a:lnTo>
                  <a:pt x="232" y="686"/>
                </a:lnTo>
                <a:lnTo>
                  <a:pt x="238" y="681"/>
                </a:lnTo>
                <a:lnTo>
                  <a:pt x="238" y="675"/>
                </a:lnTo>
                <a:lnTo>
                  <a:pt x="238" y="664"/>
                </a:lnTo>
                <a:lnTo>
                  <a:pt x="238" y="652"/>
                </a:lnTo>
                <a:lnTo>
                  <a:pt x="238" y="641"/>
                </a:lnTo>
                <a:lnTo>
                  <a:pt x="238" y="630"/>
                </a:lnTo>
                <a:lnTo>
                  <a:pt x="238" y="618"/>
                </a:lnTo>
                <a:lnTo>
                  <a:pt x="238" y="607"/>
                </a:lnTo>
                <a:lnTo>
                  <a:pt x="238" y="590"/>
                </a:lnTo>
                <a:lnTo>
                  <a:pt x="243" y="579"/>
                </a:lnTo>
                <a:lnTo>
                  <a:pt x="243" y="573"/>
                </a:lnTo>
                <a:lnTo>
                  <a:pt x="249" y="567"/>
                </a:lnTo>
                <a:lnTo>
                  <a:pt x="249" y="556"/>
                </a:lnTo>
                <a:lnTo>
                  <a:pt x="255" y="533"/>
                </a:lnTo>
                <a:lnTo>
                  <a:pt x="255" y="522"/>
                </a:lnTo>
                <a:lnTo>
                  <a:pt x="255" y="511"/>
                </a:lnTo>
                <a:lnTo>
                  <a:pt x="255" y="505"/>
                </a:lnTo>
                <a:lnTo>
                  <a:pt x="249" y="494"/>
                </a:lnTo>
                <a:lnTo>
                  <a:pt x="243" y="488"/>
                </a:lnTo>
                <a:lnTo>
                  <a:pt x="243" y="482"/>
                </a:lnTo>
                <a:lnTo>
                  <a:pt x="243" y="477"/>
                </a:lnTo>
                <a:lnTo>
                  <a:pt x="243" y="471"/>
                </a:lnTo>
                <a:lnTo>
                  <a:pt x="238" y="471"/>
                </a:lnTo>
                <a:lnTo>
                  <a:pt x="238" y="465"/>
                </a:lnTo>
                <a:lnTo>
                  <a:pt x="238" y="460"/>
                </a:lnTo>
                <a:lnTo>
                  <a:pt x="243" y="460"/>
                </a:lnTo>
                <a:lnTo>
                  <a:pt x="243" y="454"/>
                </a:lnTo>
                <a:lnTo>
                  <a:pt x="249" y="454"/>
                </a:lnTo>
                <a:lnTo>
                  <a:pt x="255" y="448"/>
                </a:lnTo>
                <a:lnTo>
                  <a:pt x="260" y="443"/>
                </a:lnTo>
                <a:lnTo>
                  <a:pt x="266" y="443"/>
                </a:lnTo>
                <a:lnTo>
                  <a:pt x="272" y="443"/>
                </a:lnTo>
                <a:lnTo>
                  <a:pt x="272" y="437"/>
                </a:lnTo>
                <a:lnTo>
                  <a:pt x="277" y="437"/>
                </a:lnTo>
                <a:lnTo>
                  <a:pt x="283" y="431"/>
                </a:lnTo>
                <a:lnTo>
                  <a:pt x="283" y="426"/>
                </a:lnTo>
                <a:lnTo>
                  <a:pt x="289" y="426"/>
                </a:lnTo>
                <a:lnTo>
                  <a:pt x="289" y="420"/>
                </a:lnTo>
                <a:lnTo>
                  <a:pt x="289" y="414"/>
                </a:lnTo>
                <a:lnTo>
                  <a:pt x="294" y="414"/>
                </a:lnTo>
                <a:lnTo>
                  <a:pt x="294" y="403"/>
                </a:lnTo>
                <a:lnTo>
                  <a:pt x="300" y="403"/>
                </a:lnTo>
                <a:lnTo>
                  <a:pt x="300" y="397"/>
                </a:lnTo>
                <a:lnTo>
                  <a:pt x="306" y="392"/>
                </a:lnTo>
                <a:lnTo>
                  <a:pt x="311" y="386"/>
                </a:lnTo>
                <a:lnTo>
                  <a:pt x="317" y="380"/>
                </a:lnTo>
                <a:lnTo>
                  <a:pt x="317" y="375"/>
                </a:lnTo>
                <a:lnTo>
                  <a:pt x="317" y="369"/>
                </a:lnTo>
                <a:lnTo>
                  <a:pt x="317" y="363"/>
                </a:lnTo>
                <a:lnTo>
                  <a:pt x="311" y="358"/>
                </a:lnTo>
                <a:lnTo>
                  <a:pt x="306" y="358"/>
                </a:lnTo>
                <a:lnTo>
                  <a:pt x="306" y="352"/>
                </a:lnTo>
                <a:lnTo>
                  <a:pt x="306" y="346"/>
                </a:lnTo>
                <a:lnTo>
                  <a:pt x="300" y="346"/>
                </a:lnTo>
                <a:lnTo>
                  <a:pt x="300" y="341"/>
                </a:lnTo>
                <a:lnTo>
                  <a:pt x="294" y="341"/>
                </a:lnTo>
                <a:lnTo>
                  <a:pt x="294" y="335"/>
                </a:lnTo>
                <a:lnTo>
                  <a:pt x="289" y="335"/>
                </a:lnTo>
                <a:lnTo>
                  <a:pt x="289" y="329"/>
                </a:lnTo>
                <a:lnTo>
                  <a:pt x="289" y="324"/>
                </a:lnTo>
                <a:lnTo>
                  <a:pt x="283" y="324"/>
                </a:lnTo>
                <a:lnTo>
                  <a:pt x="277" y="318"/>
                </a:lnTo>
                <a:lnTo>
                  <a:pt x="277" y="312"/>
                </a:lnTo>
                <a:lnTo>
                  <a:pt x="272" y="307"/>
                </a:lnTo>
                <a:lnTo>
                  <a:pt x="272" y="301"/>
                </a:lnTo>
                <a:lnTo>
                  <a:pt x="272" y="295"/>
                </a:lnTo>
                <a:lnTo>
                  <a:pt x="272" y="290"/>
                </a:lnTo>
                <a:lnTo>
                  <a:pt x="277" y="290"/>
                </a:lnTo>
                <a:lnTo>
                  <a:pt x="277" y="284"/>
                </a:lnTo>
                <a:lnTo>
                  <a:pt x="283" y="273"/>
                </a:lnTo>
                <a:lnTo>
                  <a:pt x="289" y="267"/>
                </a:lnTo>
                <a:lnTo>
                  <a:pt x="289" y="255"/>
                </a:lnTo>
                <a:lnTo>
                  <a:pt x="289" y="250"/>
                </a:lnTo>
                <a:lnTo>
                  <a:pt x="289" y="233"/>
                </a:lnTo>
                <a:lnTo>
                  <a:pt x="289" y="227"/>
                </a:lnTo>
                <a:lnTo>
                  <a:pt x="294" y="227"/>
                </a:lnTo>
                <a:lnTo>
                  <a:pt x="300" y="227"/>
                </a:lnTo>
                <a:lnTo>
                  <a:pt x="306" y="227"/>
                </a:lnTo>
                <a:lnTo>
                  <a:pt x="311" y="233"/>
                </a:lnTo>
                <a:lnTo>
                  <a:pt x="317" y="233"/>
                </a:lnTo>
                <a:lnTo>
                  <a:pt x="323" y="233"/>
                </a:lnTo>
                <a:lnTo>
                  <a:pt x="329" y="233"/>
                </a:lnTo>
                <a:lnTo>
                  <a:pt x="323" y="227"/>
                </a:lnTo>
                <a:lnTo>
                  <a:pt x="329" y="227"/>
                </a:lnTo>
                <a:lnTo>
                  <a:pt x="334" y="227"/>
                </a:lnTo>
                <a:lnTo>
                  <a:pt x="329" y="227"/>
                </a:lnTo>
                <a:lnTo>
                  <a:pt x="329" y="221"/>
                </a:lnTo>
                <a:lnTo>
                  <a:pt x="334" y="221"/>
                </a:lnTo>
                <a:lnTo>
                  <a:pt x="329" y="221"/>
                </a:lnTo>
                <a:lnTo>
                  <a:pt x="334" y="216"/>
                </a:lnTo>
                <a:lnTo>
                  <a:pt x="329" y="216"/>
                </a:lnTo>
                <a:lnTo>
                  <a:pt x="329" y="210"/>
                </a:lnTo>
                <a:lnTo>
                  <a:pt x="334" y="204"/>
                </a:lnTo>
                <a:lnTo>
                  <a:pt x="340" y="204"/>
                </a:lnTo>
                <a:lnTo>
                  <a:pt x="346" y="204"/>
                </a:lnTo>
                <a:lnTo>
                  <a:pt x="351" y="204"/>
                </a:lnTo>
                <a:lnTo>
                  <a:pt x="351" y="199"/>
                </a:lnTo>
                <a:lnTo>
                  <a:pt x="351" y="193"/>
                </a:lnTo>
                <a:lnTo>
                  <a:pt x="357" y="187"/>
                </a:lnTo>
                <a:lnTo>
                  <a:pt x="351" y="187"/>
                </a:lnTo>
                <a:lnTo>
                  <a:pt x="346" y="187"/>
                </a:lnTo>
                <a:lnTo>
                  <a:pt x="346" y="182"/>
                </a:lnTo>
                <a:lnTo>
                  <a:pt x="351" y="182"/>
                </a:lnTo>
                <a:lnTo>
                  <a:pt x="351" y="176"/>
                </a:lnTo>
                <a:lnTo>
                  <a:pt x="357" y="176"/>
                </a:lnTo>
                <a:lnTo>
                  <a:pt x="357" y="170"/>
                </a:lnTo>
                <a:lnTo>
                  <a:pt x="357" y="165"/>
                </a:lnTo>
                <a:lnTo>
                  <a:pt x="363" y="165"/>
                </a:lnTo>
                <a:lnTo>
                  <a:pt x="363" y="159"/>
                </a:lnTo>
                <a:lnTo>
                  <a:pt x="363" y="165"/>
                </a:lnTo>
                <a:lnTo>
                  <a:pt x="363" y="159"/>
                </a:lnTo>
                <a:lnTo>
                  <a:pt x="368" y="159"/>
                </a:lnTo>
                <a:lnTo>
                  <a:pt x="374" y="159"/>
                </a:lnTo>
                <a:lnTo>
                  <a:pt x="380" y="159"/>
                </a:lnTo>
                <a:lnTo>
                  <a:pt x="380" y="148"/>
                </a:lnTo>
                <a:lnTo>
                  <a:pt x="385" y="148"/>
                </a:lnTo>
                <a:lnTo>
                  <a:pt x="385" y="153"/>
                </a:lnTo>
                <a:lnTo>
                  <a:pt x="391" y="153"/>
                </a:lnTo>
                <a:lnTo>
                  <a:pt x="391" y="159"/>
                </a:lnTo>
                <a:lnTo>
                  <a:pt x="397" y="159"/>
                </a:lnTo>
                <a:lnTo>
                  <a:pt x="402" y="153"/>
                </a:lnTo>
                <a:lnTo>
                  <a:pt x="402" y="148"/>
                </a:lnTo>
                <a:lnTo>
                  <a:pt x="402" y="142"/>
                </a:lnTo>
                <a:lnTo>
                  <a:pt x="402" y="148"/>
                </a:lnTo>
                <a:lnTo>
                  <a:pt x="402" y="142"/>
                </a:lnTo>
                <a:lnTo>
                  <a:pt x="408" y="148"/>
                </a:lnTo>
                <a:lnTo>
                  <a:pt x="414" y="148"/>
                </a:lnTo>
                <a:lnTo>
                  <a:pt x="408" y="142"/>
                </a:lnTo>
                <a:lnTo>
                  <a:pt x="414" y="142"/>
                </a:lnTo>
                <a:lnTo>
                  <a:pt x="419" y="142"/>
                </a:lnTo>
                <a:lnTo>
                  <a:pt x="419" y="136"/>
                </a:lnTo>
                <a:lnTo>
                  <a:pt x="425" y="131"/>
                </a:lnTo>
                <a:lnTo>
                  <a:pt x="431" y="131"/>
                </a:lnTo>
                <a:lnTo>
                  <a:pt x="436" y="125"/>
                </a:lnTo>
                <a:lnTo>
                  <a:pt x="436" y="119"/>
                </a:lnTo>
                <a:lnTo>
                  <a:pt x="442" y="119"/>
                </a:lnTo>
                <a:lnTo>
                  <a:pt x="448" y="114"/>
                </a:lnTo>
                <a:lnTo>
                  <a:pt x="453" y="114"/>
                </a:lnTo>
                <a:lnTo>
                  <a:pt x="448" y="108"/>
                </a:lnTo>
                <a:lnTo>
                  <a:pt x="442" y="108"/>
                </a:lnTo>
                <a:lnTo>
                  <a:pt x="442" y="102"/>
                </a:lnTo>
                <a:lnTo>
                  <a:pt x="448" y="102"/>
                </a:lnTo>
                <a:lnTo>
                  <a:pt x="453" y="102"/>
                </a:lnTo>
                <a:lnTo>
                  <a:pt x="453" y="97"/>
                </a:lnTo>
                <a:lnTo>
                  <a:pt x="453" y="102"/>
                </a:lnTo>
                <a:lnTo>
                  <a:pt x="459" y="102"/>
                </a:lnTo>
                <a:lnTo>
                  <a:pt x="459" y="97"/>
                </a:lnTo>
                <a:lnTo>
                  <a:pt x="459" y="91"/>
                </a:lnTo>
                <a:lnTo>
                  <a:pt x="453" y="91"/>
                </a:lnTo>
                <a:lnTo>
                  <a:pt x="459" y="85"/>
                </a:lnTo>
                <a:lnTo>
                  <a:pt x="465" y="85"/>
                </a:lnTo>
                <a:lnTo>
                  <a:pt x="465" y="91"/>
                </a:lnTo>
                <a:lnTo>
                  <a:pt x="465" y="85"/>
                </a:lnTo>
                <a:lnTo>
                  <a:pt x="465" y="80"/>
                </a:lnTo>
                <a:lnTo>
                  <a:pt x="470" y="80"/>
                </a:lnTo>
                <a:lnTo>
                  <a:pt x="470" y="85"/>
                </a:lnTo>
                <a:lnTo>
                  <a:pt x="476" y="85"/>
                </a:lnTo>
                <a:lnTo>
                  <a:pt x="482" y="85"/>
                </a:lnTo>
                <a:lnTo>
                  <a:pt x="487" y="80"/>
                </a:lnTo>
                <a:lnTo>
                  <a:pt x="493" y="80"/>
                </a:lnTo>
                <a:lnTo>
                  <a:pt x="493" y="74"/>
                </a:lnTo>
                <a:lnTo>
                  <a:pt x="493" y="80"/>
                </a:lnTo>
                <a:lnTo>
                  <a:pt x="499" y="74"/>
                </a:lnTo>
                <a:lnTo>
                  <a:pt x="504" y="74"/>
                </a:lnTo>
                <a:lnTo>
                  <a:pt x="510" y="74"/>
                </a:lnTo>
                <a:lnTo>
                  <a:pt x="516" y="74"/>
                </a:lnTo>
                <a:lnTo>
                  <a:pt x="521" y="68"/>
                </a:lnTo>
                <a:lnTo>
                  <a:pt x="527" y="68"/>
                </a:lnTo>
                <a:lnTo>
                  <a:pt x="527" y="63"/>
                </a:lnTo>
                <a:lnTo>
                  <a:pt x="533" y="63"/>
                </a:lnTo>
                <a:lnTo>
                  <a:pt x="538" y="63"/>
                </a:lnTo>
                <a:lnTo>
                  <a:pt x="538" y="68"/>
                </a:lnTo>
                <a:lnTo>
                  <a:pt x="533" y="68"/>
                </a:lnTo>
                <a:lnTo>
                  <a:pt x="538" y="68"/>
                </a:lnTo>
                <a:lnTo>
                  <a:pt x="544" y="74"/>
                </a:lnTo>
                <a:lnTo>
                  <a:pt x="544" y="68"/>
                </a:lnTo>
                <a:lnTo>
                  <a:pt x="544" y="63"/>
                </a:lnTo>
                <a:lnTo>
                  <a:pt x="555" y="68"/>
                </a:lnTo>
                <a:lnTo>
                  <a:pt x="555" y="74"/>
                </a:lnTo>
                <a:lnTo>
                  <a:pt x="555" y="68"/>
                </a:lnTo>
                <a:lnTo>
                  <a:pt x="555" y="63"/>
                </a:lnTo>
                <a:lnTo>
                  <a:pt x="561" y="63"/>
                </a:lnTo>
                <a:lnTo>
                  <a:pt x="561" y="68"/>
                </a:lnTo>
                <a:lnTo>
                  <a:pt x="561" y="74"/>
                </a:lnTo>
                <a:lnTo>
                  <a:pt x="567" y="74"/>
                </a:lnTo>
                <a:lnTo>
                  <a:pt x="567" y="68"/>
                </a:lnTo>
                <a:lnTo>
                  <a:pt x="572" y="68"/>
                </a:lnTo>
                <a:lnTo>
                  <a:pt x="578" y="68"/>
                </a:lnTo>
                <a:lnTo>
                  <a:pt x="578" y="74"/>
                </a:lnTo>
                <a:lnTo>
                  <a:pt x="578" y="68"/>
                </a:lnTo>
                <a:lnTo>
                  <a:pt x="584" y="68"/>
                </a:lnTo>
                <a:lnTo>
                  <a:pt x="584" y="63"/>
                </a:lnTo>
                <a:lnTo>
                  <a:pt x="584" y="57"/>
                </a:lnTo>
                <a:lnTo>
                  <a:pt x="589" y="63"/>
                </a:lnTo>
                <a:lnTo>
                  <a:pt x="589" y="57"/>
                </a:lnTo>
                <a:lnTo>
                  <a:pt x="595" y="57"/>
                </a:lnTo>
                <a:lnTo>
                  <a:pt x="595" y="51"/>
                </a:lnTo>
                <a:lnTo>
                  <a:pt x="589" y="51"/>
                </a:lnTo>
                <a:lnTo>
                  <a:pt x="595" y="46"/>
                </a:lnTo>
                <a:lnTo>
                  <a:pt x="601" y="51"/>
                </a:lnTo>
                <a:lnTo>
                  <a:pt x="601" y="46"/>
                </a:lnTo>
                <a:lnTo>
                  <a:pt x="601" y="40"/>
                </a:lnTo>
                <a:lnTo>
                  <a:pt x="595" y="40"/>
                </a:lnTo>
                <a:lnTo>
                  <a:pt x="595" y="34"/>
                </a:lnTo>
                <a:lnTo>
                  <a:pt x="601" y="34"/>
                </a:lnTo>
                <a:lnTo>
                  <a:pt x="601" y="29"/>
                </a:lnTo>
                <a:lnTo>
                  <a:pt x="606" y="29"/>
                </a:lnTo>
                <a:lnTo>
                  <a:pt x="606" y="23"/>
                </a:lnTo>
                <a:lnTo>
                  <a:pt x="612" y="23"/>
                </a:lnTo>
                <a:lnTo>
                  <a:pt x="618" y="17"/>
                </a:lnTo>
                <a:lnTo>
                  <a:pt x="612" y="17"/>
                </a:lnTo>
                <a:lnTo>
                  <a:pt x="618" y="17"/>
                </a:lnTo>
                <a:lnTo>
                  <a:pt x="618" y="12"/>
                </a:lnTo>
                <a:lnTo>
                  <a:pt x="623" y="12"/>
                </a:lnTo>
                <a:lnTo>
                  <a:pt x="629" y="12"/>
                </a:lnTo>
                <a:lnTo>
                  <a:pt x="629" y="6"/>
                </a:lnTo>
                <a:lnTo>
                  <a:pt x="635" y="6"/>
                </a:lnTo>
                <a:lnTo>
                  <a:pt x="635" y="0"/>
                </a:lnTo>
                <a:lnTo>
                  <a:pt x="640" y="0"/>
                </a:lnTo>
                <a:lnTo>
                  <a:pt x="640" y="6"/>
                </a:lnTo>
                <a:lnTo>
                  <a:pt x="646" y="0"/>
                </a:lnTo>
                <a:lnTo>
                  <a:pt x="652" y="0"/>
                </a:lnTo>
                <a:lnTo>
                  <a:pt x="652" y="6"/>
                </a:lnTo>
                <a:lnTo>
                  <a:pt x="657" y="6"/>
                </a:lnTo>
                <a:lnTo>
                  <a:pt x="663" y="6"/>
                </a:lnTo>
                <a:lnTo>
                  <a:pt x="669" y="0"/>
                </a:lnTo>
                <a:lnTo>
                  <a:pt x="674" y="6"/>
                </a:lnTo>
                <a:lnTo>
                  <a:pt x="674" y="0"/>
                </a:lnTo>
                <a:lnTo>
                  <a:pt x="703" y="6"/>
                </a:lnTo>
                <a:lnTo>
                  <a:pt x="703" y="0"/>
                </a:lnTo>
                <a:lnTo>
                  <a:pt x="708" y="6"/>
                </a:lnTo>
                <a:lnTo>
                  <a:pt x="714" y="6"/>
                </a:lnTo>
                <a:lnTo>
                  <a:pt x="720" y="0"/>
                </a:lnTo>
                <a:lnTo>
                  <a:pt x="725" y="6"/>
                </a:lnTo>
                <a:lnTo>
                  <a:pt x="725" y="0"/>
                </a:lnTo>
                <a:lnTo>
                  <a:pt x="731" y="0"/>
                </a:lnTo>
                <a:lnTo>
                  <a:pt x="737" y="6"/>
                </a:lnTo>
                <a:lnTo>
                  <a:pt x="742" y="17"/>
                </a:lnTo>
                <a:lnTo>
                  <a:pt x="742" y="23"/>
                </a:lnTo>
                <a:lnTo>
                  <a:pt x="748" y="23"/>
                </a:lnTo>
                <a:lnTo>
                  <a:pt x="748" y="29"/>
                </a:lnTo>
                <a:lnTo>
                  <a:pt x="754" y="34"/>
                </a:lnTo>
                <a:lnTo>
                  <a:pt x="759" y="40"/>
                </a:lnTo>
                <a:lnTo>
                  <a:pt x="765" y="46"/>
                </a:lnTo>
                <a:lnTo>
                  <a:pt x="776" y="63"/>
                </a:lnTo>
                <a:lnTo>
                  <a:pt x="776" y="68"/>
                </a:lnTo>
                <a:lnTo>
                  <a:pt x="782" y="74"/>
                </a:lnTo>
                <a:lnTo>
                  <a:pt x="788" y="74"/>
                </a:lnTo>
                <a:lnTo>
                  <a:pt x="788" y="80"/>
                </a:lnTo>
                <a:lnTo>
                  <a:pt x="788" y="85"/>
                </a:lnTo>
                <a:lnTo>
                  <a:pt x="793" y="85"/>
                </a:lnTo>
                <a:lnTo>
                  <a:pt x="793" y="91"/>
                </a:lnTo>
                <a:lnTo>
                  <a:pt x="805" y="108"/>
                </a:lnTo>
                <a:lnTo>
                  <a:pt x="810" y="114"/>
                </a:lnTo>
                <a:lnTo>
                  <a:pt x="816" y="119"/>
                </a:lnTo>
                <a:lnTo>
                  <a:pt x="816" y="125"/>
                </a:lnTo>
                <a:lnTo>
                  <a:pt x="822" y="131"/>
                </a:lnTo>
                <a:lnTo>
                  <a:pt x="839" y="153"/>
                </a:lnTo>
                <a:lnTo>
                  <a:pt x="850" y="170"/>
                </a:lnTo>
                <a:lnTo>
                  <a:pt x="856" y="176"/>
                </a:lnTo>
                <a:lnTo>
                  <a:pt x="867" y="187"/>
                </a:lnTo>
                <a:lnTo>
                  <a:pt x="867" y="193"/>
                </a:lnTo>
                <a:lnTo>
                  <a:pt x="873" y="199"/>
                </a:lnTo>
                <a:lnTo>
                  <a:pt x="873" y="204"/>
                </a:lnTo>
                <a:lnTo>
                  <a:pt x="878" y="210"/>
                </a:lnTo>
                <a:lnTo>
                  <a:pt x="884" y="210"/>
                </a:lnTo>
                <a:lnTo>
                  <a:pt x="890" y="221"/>
                </a:lnTo>
                <a:lnTo>
                  <a:pt x="895" y="227"/>
                </a:lnTo>
                <a:lnTo>
                  <a:pt x="895" y="244"/>
                </a:lnTo>
                <a:lnTo>
                  <a:pt x="901" y="250"/>
                </a:lnTo>
                <a:lnTo>
                  <a:pt x="901" y="255"/>
                </a:lnTo>
                <a:lnTo>
                  <a:pt x="901" y="261"/>
                </a:lnTo>
                <a:lnTo>
                  <a:pt x="901" y="267"/>
                </a:lnTo>
                <a:lnTo>
                  <a:pt x="901" y="273"/>
                </a:lnTo>
                <a:lnTo>
                  <a:pt x="907" y="290"/>
                </a:lnTo>
                <a:lnTo>
                  <a:pt x="907" y="295"/>
                </a:lnTo>
                <a:lnTo>
                  <a:pt x="907" y="301"/>
                </a:lnTo>
                <a:lnTo>
                  <a:pt x="912" y="312"/>
                </a:lnTo>
                <a:lnTo>
                  <a:pt x="912" y="318"/>
                </a:lnTo>
                <a:lnTo>
                  <a:pt x="912" y="324"/>
                </a:lnTo>
                <a:lnTo>
                  <a:pt x="918" y="346"/>
                </a:lnTo>
                <a:lnTo>
                  <a:pt x="918" y="358"/>
                </a:lnTo>
                <a:lnTo>
                  <a:pt x="918" y="363"/>
                </a:lnTo>
                <a:lnTo>
                  <a:pt x="918" y="369"/>
                </a:lnTo>
                <a:lnTo>
                  <a:pt x="924" y="392"/>
                </a:lnTo>
                <a:lnTo>
                  <a:pt x="924" y="397"/>
                </a:lnTo>
                <a:lnTo>
                  <a:pt x="929" y="409"/>
                </a:lnTo>
                <a:lnTo>
                  <a:pt x="929" y="414"/>
                </a:lnTo>
                <a:lnTo>
                  <a:pt x="929" y="426"/>
                </a:lnTo>
                <a:lnTo>
                  <a:pt x="935" y="426"/>
                </a:lnTo>
                <a:lnTo>
                  <a:pt x="935" y="431"/>
                </a:lnTo>
                <a:lnTo>
                  <a:pt x="935" y="437"/>
                </a:lnTo>
                <a:lnTo>
                  <a:pt x="929" y="443"/>
                </a:lnTo>
                <a:lnTo>
                  <a:pt x="929" y="448"/>
                </a:lnTo>
                <a:lnTo>
                  <a:pt x="929" y="454"/>
                </a:lnTo>
                <a:lnTo>
                  <a:pt x="935" y="454"/>
                </a:lnTo>
                <a:lnTo>
                  <a:pt x="935" y="460"/>
                </a:lnTo>
                <a:lnTo>
                  <a:pt x="929" y="460"/>
                </a:lnTo>
                <a:lnTo>
                  <a:pt x="929" y="465"/>
                </a:lnTo>
                <a:lnTo>
                  <a:pt x="924" y="465"/>
                </a:lnTo>
                <a:lnTo>
                  <a:pt x="929" y="471"/>
                </a:lnTo>
                <a:lnTo>
                  <a:pt x="935" y="477"/>
                </a:lnTo>
                <a:lnTo>
                  <a:pt x="941" y="477"/>
                </a:lnTo>
                <a:lnTo>
                  <a:pt x="941" y="482"/>
                </a:lnTo>
                <a:lnTo>
                  <a:pt x="946" y="482"/>
                </a:lnTo>
                <a:lnTo>
                  <a:pt x="952" y="482"/>
                </a:lnTo>
                <a:lnTo>
                  <a:pt x="958" y="482"/>
                </a:lnTo>
                <a:lnTo>
                  <a:pt x="963" y="482"/>
                </a:lnTo>
                <a:lnTo>
                  <a:pt x="969" y="488"/>
                </a:lnTo>
                <a:lnTo>
                  <a:pt x="969" y="482"/>
                </a:lnTo>
                <a:lnTo>
                  <a:pt x="975" y="482"/>
                </a:lnTo>
                <a:lnTo>
                  <a:pt x="975" y="488"/>
                </a:lnTo>
                <a:lnTo>
                  <a:pt x="975" y="482"/>
                </a:lnTo>
                <a:lnTo>
                  <a:pt x="980" y="482"/>
                </a:lnTo>
                <a:lnTo>
                  <a:pt x="986" y="482"/>
                </a:lnTo>
                <a:lnTo>
                  <a:pt x="992" y="482"/>
                </a:lnTo>
                <a:lnTo>
                  <a:pt x="997" y="482"/>
                </a:lnTo>
                <a:lnTo>
                  <a:pt x="997" y="488"/>
                </a:lnTo>
                <a:lnTo>
                  <a:pt x="1003" y="488"/>
                </a:lnTo>
                <a:lnTo>
                  <a:pt x="1009" y="482"/>
                </a:lnTo>
                <a:lnTo>
                  <a:pt x="1014" y="482"/>
                </a:lnTo>
                <a:lnTo>
                  <a:pt x="1020" y="482"/>
                </a:lnTo>
                <a:lnTo>
                  <a:pt x="1026" y="488"/>
                </a:lnTo>
                <a:lnTo>
                  <a:pt x="1031" y="488"/>
                </a:lnTo>
                <a:lnTo>
                  <a:pt x="1037" y="488"/>
                </a:lnTo>
                <a:lnTo>
                  <a:pt x="1037" y="494"/>
                </a:lnTo>
                <a:lnTo>
                  <a:pt x="1043" y="494"/>
                </a:lnTo>
                <a:lnTo>
                  <a:pt x="1048" y="499"/>
                </a:lnTo>
                <a:lnTo>
                  <a:pt x="1054" y="499"/>
                </a:lnTo>
                <a:lnTo>
                  <a:pt x="1048" y="499"/>
                </a:lnTo>
                <a:lnTo>
                  <a:pt x="1048" y="505"/>
                </a:lnTo>
                <a:lnTo>
                  <a:pt x="1048" y="511"/>
                </a:lnTo>
                <a:lnTo>
                  <a:pt x="1048" y="505"/>
                </a:lnTo>
                <a:lnTo>
                  <a:pt x="1054" y="511"/>
                </a:lnTo>
                <a:lnTo>
                  <a:pt x="1060" y="511"/>
                </a:lnTo>
                <a:lnTo>
                  <a:pt x="1060" y="516"/>
                </a:lnTo>
                <a:lnTo>
                  <a:pt x="1060" y="522"/>
                </a:lnTo>
                <a:lnTo>
                  <a:pt x="1065" y="522"/>
                </a:lnTo>
                <a:lnTo>
                  <a:pt x="1065" y="528"/>
                </a:lnTo>
                <a:lnTo>
                  <a:pt x="1060" y="528"/>
                </a:lnTo>
                <a:lnTo>
                  <a:pt x="1065" y="528"/>
                </a:lnTo>
                <a:lnTo>
                  <a:pt x="1065" y="533"/>
                </a:lnTo>
                <a:lnTo>
                  <a:pt x="1071" y="533"/>
                </a:lnTo>
                <a:lnTo>
                  <a:pt x="1077" y="533"/>
                </a:lnTo>
                <a:lnTo>
                  <a:pt x="1077" y="539"/>
                </a:lnTo>
                <a:lnTo>
                  <a:pt x="1082" y="545"/>
                </a:lnTo>
                <a:lnTo>
                  <a:pt x="1077" y="545"/>
                </a:lnTo>
                <a:lnTo>
                  <a:pt x="1082" y="545"/>
                </a:lnTo>
                <a:lnTo>
                  <a:pt x="1088" y="550"/>
                </a:lnTo>
                <a:lnTo>
                  <a:pt x="1088" y="545"/>
                </a:lnTo>
                <a:lnTo>
                  <a:pt x="1094" y="545"/>
                </a:lnTo>
                <a:lnTo>
                  <a:pt x="1099" y="545"/>
                </a:lnTo>
                <a:lnTo>
                  <a:pt x="1099" y="550"/>
                </a:lnTo>
                <a:lnTo>
                  <a:pt x="1105" y="550"/>
                </a:lnTo>
                <a:lnTo>
                  <a:pt x="1105" y="556"/>
                </a:lnTo>
                <a:lnTo>
                  <a:pt x="1099" y="562"/>
                </a:lnTo>
                <a:lnTo>
                  <a:pt x="1099" y="567"/>
                </a:lnTo>
                <a:lnTo>
                  <a:pt x="1099" y="573"/>
                </a:lnTo>
                <a:lnTo>
                  <a:pt x="1094" y="579"/>
                </a:lnTo>
                <a:lnTo>
                  <a:pt x="1094" y="584"/>
                </a:lnTo>
                <a:lnTo>
                  <a:pt x="1099" y="590"/>
                </a:lnTo>
                <a:lnTo>
                  <a:pt x="1094" y="590"/>
                </a:lnTo>
                <a:lnTo>
                  <a:pt x="1088" y="596"/>
                </a:lnTo>
                <a:lnTo>
                  <a:pt x="1088" y="601"/>
                </a:lnTo>
                <a:lnTo>
                  <a:pt x="1088" y="607"/>
                </a:lnTo>
                <a:lnTo>
                  <a:pt x="1088" y="613"/>
                </a:lnTo>
                <a:lnTo>
                  <a:pt x="1094" y="613"/>
                </a:lnTo>
                <a:lnTo>
                  <a:pt x="1094" y="618"/>
                </a:lnTo>
                <a:lnTo>
                  <a:pt x="1094" y="624"/>
                </a:lnTo>
                <a:lnTo>
                  <a:pt x="1099" y="624"/>
                </a:lnTo>
                <a:lnTo>
                  <a:pt x="1099" y="630"/>
                </a:lnTo>
                <a:lnTo>
                  <a:pt x="1094" y="630"/>
                </a:lnTo>
                <a:lnTo>
                  <a:pt x="1094" y="635"/>
                </a:lnTo>
                <a:lnTo>
                  <a:pt x="1094" y="641"/>
                </a:lnTo>
                <a:lnTo>
                  <a:pt x="1094" y="647"/>
                </a:lnTo>
                <a:lnTo>
                  <a:pt x="1088" y="647"/>
                </a:lnTo>
                <a:lnTo>
                  <a:pt x="1088" y="652"/>
                </a:lnTo>
                <a:lnTo>
                  <a:pt x="1088" y="647"/>
                </a:lnTo>
                <a:lnTo>
                  <a:pt x="1088" y="652"/>
                </a:lnTo>
                <a:lnTo>
                  <a:pt x="1082" y="658"/>
                </a:lnTo>
                <a:lnTo>
                  <a:pt x="1082" y="664"/>
                </a:lnTo>
                <a:lnTo>
                  <a:pt x="1082" y="669"/>
                </a:lnTo>
                <a:lnTo>
                  <a:pt x="1082" y="675"/>
                </a:lnTo>
                <a:lnTo>
                  <a:pt x="1082" y="681"/>
                </a:lnTo>
                <a:lnTo>
                  <a:pt x="1082" y="686"/>
                </a:lnTo>
                <a:lnTo>
                  <a:pt x="1082" y="692"/>
                </a:lnTo>
                <a:lnTo>
                  <a:pt x="1077" y="698"/>
                </a:lnTo>
                <a:lnTo>
                  <a:pt x="1071" y="698"/>
                </a:lnTo>
                <a:lnTo>
                  <a:pt x="1071" y="703"/>
                </a:lnTo>
                <a:lnTo>
                  <a:pt x="1065" y="709"/>
                </a:lnTo>
                <a:lnTo>
                  <a:pt x="1060" y="709"/>
                </a:lnTo>
                <a:lnTo>
                  <a:pt x="1060" y="715"/>
                </a:lnTo>
                <a:lnTo>
                  <a:pt x="1065" y="715"/>
                </a:lnTo>
                <a:lnTo>
                  <a:pt x="1065" y="720"/>
                </a:lnTo>
                <a:lnTo>
                  <a:pt x="1071" y="720"/>
                </a:lnTo>
                <a:lnTo>
                  <a:pt x="1077" y="726"/>
                </a:lnTo>
                <a:lnTo>
                  <a:pt x="1082" y="726"/>
                </a:lnTo>
                <a:lnTo>
                  <a:pt x="1082" y="732"/>
                </a:lnTo>
                <a:lnTo>
                  <a:pt x="1088" y="737"/>
                </a:lnTo>
                <a:lnTo>
                  <a:pt x="1094" y="737"/>
                </a:lnTo>
                <a:lnTo>
                  <a:pt x="1094" y="743"/>
                </a:lnTo>
                <a:lnTo>
                  <a:pt x="1094" y="749"/>
                </a:lnTo>
                <a:lnTo>
                  <a:pt x="1094" y="754"/>
                </a:lnTo>
                <a:lnTo>
                  <a:pt x="1094" y="760"/>
                </a:lnTo>
                <a:lnTo>
                  <a:pt x="1094" y="771"/>
                </a:lnTo>
                <a:lnTo>
                  <a:pt x="1094" y="777"/>
                </a:lnTo>
                <a:lnTo>
                  <a:pt x="1088" y="783"/>
                </a:lnTo>
                <a:lnTo>
                  <a:pt x="1082" y="788"/>
                </a:lnTo>
                <a:lnTo>
                  <a:pt x="1071" y="788"/>
                </a:lnTo>
                <a:lnTo>
                  <a:pt x="1054" y="794"/>
                </a:lnTo>
                <a:lnTo>
                  <a:pt x="1048" y="800"/>
                </a:lnTo>
                <a:lnTo>
                  <a:pt x="1043" y="800"/>
                </a:lnTo>
                <a:lnTo>
                  <a:pt x="1037" y="800"/>
                </a:lnTo>
                <a:lnTo>
                  <a:pt x="1031" y="800"/>
                </a:lnTo>
                <a:lnTo>
                  <a:pt x="1026" y="805"/>
                </a:lnTo>
                <a:lnTo>
                  <a:pt x="1026" y="811"/>
                </a:lnTo>
                <a:lnTo>
                  <a:pt x="1020" y="817"/>
                </a:lnTo>
                <a:lnTo>
                  <a:pt x="1014" y="822"/>
                </a:lnTo>
                <a:lnTo>
                  <a:pt x="1009" y="828"/>
                </a:lnTo>
                <a:lnTo>
                  <a:pt x="1003" y="828"/>
                </a:lnTo>
                <a:lnTo>
                  <a:pt x="997" y="828"/>
                </a:lnTo>
                <a:lnTo>
                  <a:pt x="997" y="834"/>
                </a:lnTo>
                <a:lnTo>
                  <a:pt x="986" y="834"/>
                </a:lnTo>
                <a:lnTo>
                  <a:pt x="980" y="834"/>
                </a:lnTo>
                <a:lnTo>
                  <a:pt x="980" y="839"/>
                </a:lnTo>
                <a:lnTo>
                  <a:pt x="969" y="839"/>
                </a:lnTo>
                <a:lnTo>
                  <a:pt x="963" y="845"/>
                </a:lnTo>
                <a:lnTo>
                  <a:pt x="958" y="851"/>
                </a:lnTo>
                <a:lnTo>
                  <a:pt x="952" y="851"/>
                </a:lnTo>
                <a:lnTo>
                  <a:pt x="946" y="856"/>
                </a:lnTo>
                <a:lnTo>
                  <a:pt x="946" y="862"/>
                </a:lnTo>
                <a:lnTo>
                  <a:pt x="941" y="868"/>
                </a:lnTo>
                <a:lnTo>
                  <a:pt x="935" y="868"/>
                </a:lnTo>
                <a:lnTo>
                  <a:pt x="935" y="873"/>
                </a:lnTo>
                <a:lnTo>
                  <a:pt x="924" y="873"/>
                </a:lnTo>
                <a:lnTo>
                  <a:pt x="918" y="879"/>
                </a:lnTo>
                <a:lnTo>
                  <a:pt x="912" y="879"/>
                </a:lnTo>
                <a:lnTo>
                  <a:pt x="907" y="879"/>
                </a:lnTo>
                <a:lnTo>
                  <a:pt x="901" y="879"/>
                </a:lnTo>
                <a:lnTo>
                  <a:pt x="901" y="873"/>
                </a:lnTo>
                <a:lnTo>
                  <a:pt x="895" y="873"/>
                </a:lnTo>
                <a:lnTo>
                  <a:pt x="890" y="868"/>
                </a:lnTo>
                <a:lnTo>
                  <a:pt x="890" y="862"/>
                </a:lnTo>
                <a:lnTo>
                  <a:pt x="878" y="862"/>
                </a:lnTo>
                <a:lnTo>
                  <a:pt x="873" y="862"/>
                </a:lnTo>
                <a:lnTo>
                  <a:pt x="867" y="856"/>
                </a:lnTo>
                <a:lnTo>
                  <a:pt x="861" y="856"/>
                </a:lnTo>
                <a:lnTo>
                  <a:pt x="856" y="862"/>
                </a:lnTo>
                <a:lnTo>
                  <a:pt x="856" y="873"/>
                </a:lnTo>
                <a:lnTo>
                  <a:pt x="850" y="879"/>
                </a:lnTo>
                <a:lnTo>
                  <a:pt x="850" y="885"/>
                </a:lnTo>
                <a:lnTo>
                  <a:pt x="844" y="885"/>
                </a:lnTo>
                <a:lnTo>
                  <a:pt x="844" y="890"/>
                </a:lnTo>
                <a:lnTo>
                  <a:pt x="839" y="890"/>
                </a:lnTo>
                <a:lnTo>
                  <a:pt x="839" y="896"/>
                </a:lnTo>
                <a:lnTo>
                  <a:pt x="839" y="902"/>
                </a:lnTo>
                <a:lnTo>
                  <a:pt x="839" y="907"/>
                </a:lnTo>
                <a:lnTo>
                  <a:pt x="833" y="907"/>
                </a:lnTo>
                <a:lnTo>
                  <a:pt x="833" y="913"/>
                </a:lnTo>
                <a:lnTo>
                  <a:pt x="827" y="913"/>
                </a:lnTo>
                <a:lnTo>
                  <a:pt x="827" y="919"/>
                </a:lnTo>
                <a:lnTo>
                  <a:pt x="827" y="924"/>
                </a:lnTo>
                <a:lnTo>
                  <a:pt x="822" y="924"/>
                </a:lnTo>
                <a:lnTo>
                  <a:pt x="822" y="930"/>
                </a:lnTo>
                <a:lnTo>
                  <a:pt x="816" y="930"/>
                </a:lnTo>
                <a:lnTo>
                  <a:pt x="816" y="936"/>
                </a:lnTo>
                <a:lnTo>
                  <a:pt x="810" y="936"/>
                </a:lnTo>
                <a:lnTo>
                  <a:pt x="810" y="941"/>
                </a:lnTo>
                <a:lnTo>
                  <a:pt x="805" y="947"/>
                </a:lnTo>
                <a:lnTo>
                  <a:pt x="799" y="953"/>
                </a:lnTo>
                <a:lnTo>
                  <a:pt x="799" y="958"/>
                </a:lnTo>
                <a:lnTo>
                  <a:pt x="799" y="964"/>
                </a:lnTo>
                <a:lnTo>
                  <a:pt x="793" y="964"/>
                </a:lnTo>
                <a:lnTo>
                  <a:pt x="788" y="964"/>
                </a:lnTo>
                <a:lnTo>
                  <a:pt x="776" y="970"/>
                </a:lnTo>
                <a:lnTo>
                  <a:pt x="771" y="975"/>
                </a:lnTo>
                <a:lnTo>
                  <a:pt x="765" y="975"/>
                </a:lnTo>
                <a:lnTo>
                  <a:pt x="759" y="981"/>
                </a:lnTo>
                <a:lnTo>
                  <a:pt x="759" y="987"/>
                </a:lnTo>
                <a:lnTo>
                  <a:pt x="759" y="992"/>
                </a:lnTo>
                <a:lnTo>
                  <a:pt x="759" y="998"/>
                </a:lnTo>
                <a:lnTo>
                  <a:pt x="759" y="1004"/>
                </a:lnTo>
                <a:lnTo>
                  <a:pt x="754" y="1004"/>
                </a:lnTo>
                <a:lnTo>
                  <a:pt x="737" y="1004"/>
                </a:lnTo>
                <a:lnTo>
                  <a:pt x="725" y="1004"/>
                </a:lnTo>
                <a:lnTo>
                  <a:pt x="720" y="1009"/>
                </a:lnTo>
                <a:lnTo>
                  <a:pt x="714" y="1009"/>
                </a:lnTo>
                <a:lnTo>
                  <a:pt x="708" y="1009"/>
                </a:lnTo>
                <a:lnTo>
                  <a:pt x="703" y="1009"/>
                </a:lnTo>
                <a:lnTo>
                  <a:pt x="703" y="1015"/>
                </a:lnTo>
                <a:lnTo>
                  <a:pt x="697" y="1015"/>
                </a:lnTo>
                <a:lnTo>
                  <a:pt x="691" y="1015"/>
                </a:lnTo>
                <a:lnTo>
                  <a:pt x="680" y="1015"/>
                </a:lnTo>
                <a:lnTo>
                  <a:pt x="663" y="1015"/>
                </a:lnTo>
                <a:lnTo>
                  <a:pt x="657" y="1015"/>
                </a:lnTo>
                <a:lnTo>
                  <a:pt x="652" y="1015"/>
                </a:lnTo>
                <a:lnTo>
                  <a:pt x="646" y="1015"/>
                </a:lnTo>
                <a:lnTo>
                  <a:pt x="646" y="1021"/>
                </a:lnTo>
                <a:lnTo>
                  <a:pt x="640" y="1021"/>
                </a:lnTo>
                <a:lnTo>
                  <a:pt x="635" y="1026"/>
                </a:lnTo>
                <a:lnTo>
                  <a:pt x="635" y="1038"/>
                </a:lnTo>
                <a:lnTo>
                  <a:pt x="635" y="1043"/>
                </a:lnTo>
                <a:lnTo>
                  <a:pt x="629" y="1055"/>
                </a:lnTo>
                <a:lnTo>
                  <a:pt x="623" y="1072"/>
                </a:lnTo>
                <a:lnTo>
                  <a:pt x="618" y="1083"/>
                </a:lnTo>
                <a:lnTo>
                  <a:pt x="618" y="1089"/>
                </a:lnTo>
                <a:lnTo>
                  <a:pt x="612" y="1094"/>
                </a:lnTo>
                <a:lnTo>
                  <a:pt x="612" y="1100"/>
                </a:lnTo>
                <a:lnTo>
                  <a:pt x="612" y="1106"/>
                </a:lnTo>
                <a:lnTo>
                  <a:pt x="606" y="1106"/>
                </a:lnTo>
                <a:lnTo>
                  <a:pt x="606" y="1111"/>
                </a:lnTo>
                <a:lnTo>
                  <a:pt x="606" y="1117"/>
                </a:lnTo>
                <a:lnTo>
                  <a:pt x="606" y="1123"/>
                </a:lnTo>
                <a:lnTo>
                  <a:pt x="606" y="1128"/>
                </a:lnTo>
                <a:lnTo>
                  <a:pt x="606" y="1134"/>
                </a:lnTo>
                <a:lnTo>
                  <a:pt x="601" y="1134"/>
                </a:lnTo>
                <a:lnTo>
                  <a:pt x="601" y="1151"/>
                </a:lnTo>
                <a:lnTo>
                  <a:pt x="601" y="1157"/>
                </a:lnTo>
                <a:lnTo>
                  <a:pt x="595" y="1157"/>
                </a:lnTo>
                <a:lnTo>
                  <a:pt x="595" y="1162"/>
                </a:lnTo>
                <a:lnTo>
                  <a:pt x="589" y="1162"/>
                </a:lnTo>
                <a:lnTo>
                  <a:pt x="584" y="1162"/>
                </a:lnTo>
                <a:lnTo>
                  <a:pt x="584" y="1168"/>
                </a:lnTo>
                <a:lnTo>
                  <a:pt x="572" y="1168"/>
                </a:lnTo>
                <a:lnTo>
                  <a:pt x="555" y="1162"/>
                </a:lnTo>
                <a:lnTo>
                  <a:pt x="544" y="1162"/>
                </a:lnTo>
                <a:lnTo>
                  <a:pt x="538" y="1162"/>
                </a:lnTo>
                <a:lnTo>
                  <a:pt x="533" y="1162"/>
                </a:lnTo>
                <a:lnTo>
                  <a:pt x="527" y="1162"/>
                </a:lnTo>
                <a:lnTo>
                  <a:pt x="521" y="1157"/>
                </a:lnTo>
                <a:lnTo>
                  <a:pt x="516" y="1151"/>
                </a:lnTo>
                <a:lnTo>
                  <a:pt x="510" y="1151"/>
                </a:lnTo>
                <a:lnTo>
                  <a:pt x="504" y="1145"/>
                </a:lnTo>
                <a:lnTo>
                  <a:pt x="499" y="1145"/>
                </a:lnTo>
                <a:lnTo>
                  <a:pt x="493" y="1140"/>
                </a:lnTo>
                <a:lnTo>
                  <a:pt x="487" y="1134"/>
                </a:lnTo>
                <a:lnTo>
                  <a:pt x="482" y="1134"/>
                </a:lnTo>
                <a:lnTo>
                  <a:pt x="476" y="1128"/>
                </a:lnTo>
                <a:lnTo>
                  <a:pt x="470" y="1123"/>
                </a:lnTo>
                <a:lnTo>
                  <a:pt x="465" y="1123"/>
                </a:lnTo>
                <a:lnTo>
                  <a:pt x="459" y="1123"/>
                </a:lnTo>
                <a:lnTo>
                  <a:pt x="453" y="1123"/>
                </a:lnTo>
                <a:lnTo>
                  <a:pt x="448" y="1128"/>
                </a:lnTo>
                <a:lnTo>
                  <a:pt x="442" y="1128"/>
                </a:lnTo>
                <a:lnTo>
                  <a:pt x="442" y="1134"/>
                </a:lnTo>
                <a:lnTo>
                  <a:pt x="436" y="1134"/>
                </a:lnTo>
                <a:lnTo>
                  <a:pt x="431" y="1140"/>
                </a:lnTo>
                <a:lnTo>
                  <a:pt x="419" y="1145"/>
                </a:lnTo>
                <a:lnTo>
                  <a:pt x="419" y="1151"/>
                </a:lnTo>
                <a:lnTo>
                  <a:pt x="414" y="1157"/>
                </a:lnTo>
                <a:lnTo>
                  <a:pt x="402" y="1168"/>
                </a:lnTo>
                <a:lnTo>
                  <a:pt x="397" y="1168"/>
                </a:lnTo>
                <a:lnTo>
                  <a:pt x="391" y="1174"/>
                </a:lnTo>
                <a:lnTo>
                  <a:pt x="385" y="1179"/>
                </a:lnTo>
                <a:lnTo>
                  <a:pt x="385" y="1185"/>
                </a:lnTo>
                <a:lnTo>
                  <a:pt x="380" y="1185"/>
                </a:lnTo>
                <a:lnTo>
                  <a:pt x="363" y="1202"/>
                </a:lnTo>
                <a:lnTo>
                  <a:pt x="357" y="1208"/>
                </a:lnTo>
                <a:lnTo>
                  <a:pt x="351" y="1214"/>
                </a:lnTo>
                <a:lnTo>
                  <a:pt x="346" y="1219"/>
                </a:lnTo>
                <a:lnTo>
                  <a:pt x="340" y="1219"/>
                </a:lnTo>
                <a:lnTo>
                  <a:pt x="334" y="1219"/>
                </a:lnTo>
                <a:lnTo>
                  <a:pt x="323" y="1219"/>
                </a:lnTo>
                <a:lnTo>
                  <a:pt x="306" y="1219"/>
                </a:lnTo>
                <a:lnTo>
                  <a:pt x="294" y="1219"/>
                </a:lnTo>
                <a:lnTo>
                  <a:pt x="289" y="1219"/>
                </a:lnTo>
                <a:lnTo>
                  <a:pt x="277" y="1219"/>
                </a:lnTo>
                <a:lnTo>
                  <a:pt x="272" y="1225"/>
                </a:lnTo>
                <a:lnTo>
                  <a:pt x="266" y="1225"/>
                </a:lnTo>
                <a:lnTo>
                  <a:pt x="260" y="1225"/>
                </a:lnTo>
                <a:lnTo>
                  <a:pt x="260" y="1231"/>
                </a:lnTo>
                <a:lnTo>
                  <a:pt x="255" y="1231"/>
                </a:lnTo>
                <a:lnTo>
                  <a:pt x="249" y="1231"/>
                </a:lnTo>
                <a:lnTo>
                  <a:pt x="243" y="1236"/>
                </a:lnTo>
                <a:lnTo>
                  <a:pt x="238" y="1236"/>
                </a:lnTo>
                <a:lnTo>
                  <a:pt x="232" y="1242"/>
                </a:lnTo>
                <a:lnTo>
                  <a:pt x="226" y="1242"/>
                </a:lnTo>
                <a:lnTo>
                  <a:pt x="221" y="1248"/>
                </a:lnTo>
                <a:lnTo>
                  <a:pt x="215" y="1259"/>
                </a:lnTo>
                <a:lnTo>
                  <a:pt x="209" y="1259"/>
                </a:lnTo>
                <a:lnTo>
                  <a:pt x="209" y="1265"/>
                </a:lnTo>
                <a:lnTo>
                  <a:pt x="204" y="1265"/>
                </a:lnTo>
                <a:lnTo>
                  <a:pt x="204" y="1270"/>
                </a:lnTo>
                <a:lnTo>
                  <a:pt x="198" y="1276"/>
                </a:lnTo>
                <a:lnTo>
                  <a:pt x="192" y="1276"/>
                </a:lnTo>
                <a:lnTo>
                  <a:pt x="192" y="1282"/>
                </a:lnTo>
                <a:lnTo>
                  <a:pt x="192" y="1287"/>
                </a:lnTo>
                <a:lnTo>
                  <a:pt x="192" y="1293"/>
                </a:lnTo>
                <a:lnTo>
                  <a:pt x="187" y="1304"/>
                </a:lnTo>
                <a:lnTo>
                  <a:pt x="187" y="1316"/>
                </a:lnTo>
                <a:lnTo>
                  <a:pt x="187" y="1321"/>
                </a:lnTo>
                <a:lnTo>
                  <a:pt x="181" y="1321"/>
                </a:lnTo>
                <a:lnTo>
                  <a:pt x="170" y="1333"/>
                </a:lnTo>
                <a:lnTo>
                  <a:pt x="164" y="1333"/>
                </a:lnTo>
                <a:lnTo>
                  <a:pt x="153" y="1333"/>
                </a:lnTo>
                <a:lnTo>
                  <a:pt x="147" y="1333"/>
                </a:lnTo>
                <a:lnTo>
                  <a:pt x="141" y="1333"/>
                </a:lnTo>
                <a:lnTo>
                  <a:pt x="136" y="1333"/>
                </a:lnTo>
                <a:lnTo>
                  <a:pt x="124" y="1333"/>
                </a:lnTo>
                <a:lnTo>
                  <a:pt x="119" y="1333"/>
                </a:lnTo>
                <a:lnTo>
                  <a:pt x="96" y="132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68" name="Freeform 5"/>
          <p:cNvSpPr>
            <a:spLocks/>
          </p:cNvSpPr>
          <p:nvPr/>
        </p:nvSpPr>
        <p:spPr bwMode="gray">
          <a:xfrm>
            <a:off x="4127354" y="1242345"/>
            <a:ext cx="1461096" cy="1276359"/>
          </a:xfrm>
          <a:custGeom>
            <a:avLst/>
            <a:gdLst>
              <a:gd name="T0" fmla="*/ 0 w 862"/>
              <a:gd name="T1" fmla="*/ 2147483647 h 754"/>
              <a:gd name="T2" fmla="*/ 2147483647 w 862"/>
              <a:gd name="T3" fmla="*/ 2147483647 h 754"/>
              <a:gd name="T4" fmla="*/ 2147483647 w 862"/>
              <a:gd name="T5" fmla="*/ 2147483647 h 754"/>
              <a:gd name="T6" fmla="*/ 2147483647 w 862"/>
              <a:gd name="T7" fmla="*/ 2147483647 h 754"/>
              <a:gd name="T8" fmla="*/ 2147483647 w 862"/>
              <a:gd name="T9" fmla="*/ 2147483647 h 754"/>
              <a:gd name="T10" fmla="*/ 2147483647 w 862"/>
              <a:gd name="T11" fmla="*/ 2147483647 h 754"/>
              <a:gd name="T12" fmla="*/ 2147483647 w 862"/>
              <a:gd name="T13" fmla="*/ 2147483647 h 754"/>
              <a:gd name="T14" fmla="*/ 2147483647 w 862"/>
              <a:gd name="T15" fmla="*/ 2147483647 h 754"/>
              <a:gd name="T16" fmla="*/ 2147483647 w 862"/>
              <a:gd name="T17" fmla="*/ 2147483647 h 754"/>
              <a:gd name="T18" fmla="*/ 2147483647 w 862"/>
              <a:gd name="T19" fmla="*/ 2147483647 h 754"/>
              <a:gd name="T20" fmla="*/ 2147483647 w 862"/>
              <a:gd name="T21" fmla="*/ 2147483647 h 754"/>
              <a:gd name="T22" fmla="*/ 2147483647 w 862"/>
              <a:gd name="T23" fmla="*/ 2147483647 h 754"/>
              <a:gd name="T24" fmla="*/ 2147483647 w 862"/>
              <a:gd name="T25" fmla="*/ 2147483647 h 754"/>
              <a:gd name="T26" fmla="*/ 2147483647 w 862"/>
              <a:gd name="T27" fmla="*/ 2147483647 h 754"/>
              <a:gd name="T28" fmla="*/ 2147483647 w 862"/>
              <a:gd name="T29" fmla="*/ 2147483647 h 754"/>
              <a:gd name="T30" fmla="*/ 2147483647 w 862"/>
              <a:gd name="T31" fmla="*/ 2147483647 h 754"/>
              <a:gd name="T32" fmla="*/ 2147483647 w 862"/>
              <a:gd name="T33" fmla="*/ 2147483647 h 754"/>
              <a:gd name="T34" fmla="*/ 2147483647 w 862"/>
              <a:gd name="T35" fmla="*/ 2147483647 h 754"/>
              <a:gd name="T36" fmla="*/ 2147483647 w 862"/>
              <a:gd name="T37" fmla="*/ 2147483647 h 754"/>
              <a:gd name="T38" fmla="*/ 2147483647 w 862"/>
              <a:gd name="T39" fmla="*/ 2147483647 h 754"/>
              <a:gd name="T40" fmla="*/ 2147483647 w 862"/>
              <a:gd name="T41" fmla="*/ 2147483647 h 754"/>
              <a:gd name="T42" fmla="*/ 2147483647 w 862"/>
              <a:gd name="T43" fmla="*/ 2147483647 h 754"/>
              <a:gd name="T44" fmla="*/ 2147483647 w 862"/>
              <a:gd name="T45" fmla="*/ 2147483647 h 754"/>
              <a:gd name="T46" fmla="*/ 2147483647 w 862"/>
              <a:gd name="T47" fmla="*/ 2147483647 h 754"/>
              <a:gd name="T48" fmla="*/ 2147483647 w 862"/>
              <a:gd name="T49" fmla="*/ 2147483647 h 754"/>
              <a:gd name="T50" fmla="*/ 2147483647 w 862"/>
              <a:gd name="T51" fmla="*/ 2147483647 h 754"/>
              <a:gd name="T52" fmla="*/ 2147483647 w 862"/>
              <a:gd name="T53" fmla="*/ 2147483647 h 754"/>
              <a:gd name="T54" fmla="*/ 2147483647 w 862"/>
              <a:gd name="T55" fmla="*/ 2147483647 h 754"/>
              <a:gd name="T56" fmla="*/ 2147483647 w 862"/>
              <a:gd name="T57" fmla="*/ 2147483647 h 754"/>
              <a:gd name="T58" fmla="*/ 2147483647 w 862"/>
              <a:gd name="T59" fmla="*/ 2147483647 h 754"/>
              <a:gd name="T60" fmla="*/ 2147483647 w 862"/>
              <a:gd name="T61" fmla="*/ 2147483647 h 754"/>
              <a:gd name="T62" fmla="*/ 2147483647 w 862"/>
              <a:gd name="T63" fmla="*/ 2147483647 h 754"/>
              <a:gd name="T64" fmla="*/ 2147483647 w 862"/>
              <a:gd name="T65" fmla="*/ 2147483647 h 754"/>
              <a:gd name="T66" fmla="*/ 2147483647 w 862"/>
              <a:gd name="T67" fmla="*/ 2147483647 h 754"/>
              <a:gd name="T68" fmla="*/ 2147483647 w 862"/>
              <a:gd name="T69" fmla="*/ 2147483647 h 754"/>
              <a:gd name="T70" fmla="*/ 2147483647 w 862"/>
              <a:gd name="T71" fmla="*/ 2147483647 h 754"/>
              <a:gd name="T72" fmla="*/ 2147483647 w 862"/>
              <a:gd name="T73" fmla="*/ 2147483647 h 754"/>
              <a:gd name="T74" fmla="*/ 2147483647 w 862"/>
              <a:gd name="T75" fmla="*/ 2147483647 h 754"/>
              <a:gd name="T76" fmla="*/ 2147483647 w 862"/>
              <a:gd name="T77" fmla="*/ 2147483647 h 754"/>
              <a:gd name="T78" fmla="*/ 2147483647 w 862"/>
              <a:gd name="T79" fmla="*/ 2147483647 h 754"/>
              <a:gd name="T80" fmla="*/ 2147483647 w 862"/>
              <a:gd name="T81" fmla="*/ 2147483647 h 754"/>
              <a:gd name="T82" fmla="*/ 2147483647 w 862"/>
              <a:gd name="T83" fmla="*/ 2147483647 h 754"/>
              <a:gd name="T84" fmla="*/ 2147483647 w 862"/>
              <a:gd name="T85" fmla="*/ 2147483647 h 754"/>
              <a:gd name="T86" fmla="*/ 2147483647 w 862"/>
              <a:gd name="T87" fmla="*/ 2147483647 h 754"/>
              <a:gd name="T88" fmla="*/ 2147483647 w 862"/>
              <a:gd name="T89" fmla="*/ 2147483647 h 754"/>
              <a:gd name="T90" fmla="*/ 2147483647 w 862"/>
              <a:gd name="T91" fmla="*/ 2147483647 h 754"/>
              <a:gd name="T92" fmla="*/ 2147483647 w 862"/>
              <a:gd name="T93" fmla="*/ 2147483647 h 754"/>
              <a:gd name="T94" fmla="*/ 2147483647 w 862"/>
              <a:gd name="T95" fmla="*/ 2147483647 h 754"/>
              <a:gd name="T96" fmla="*/ 2147483647 w 862"/>
              <a:gd name="T97" fmla="*/ 2147483647 h 754"/>
              <a:gd name="T98" fmla="*/ 2147483647 w 862"/>
              <a:gd name="T99" fmla="*/ 2147483647 h 754"/>
              <a:gd name="T100" fmla="*/ 2147483647 w 862"/>
              <a:gd name="T101" fmla="*/ 2147483647 h 754"/>
              <a:gd name="T102" fmla="*/ 2147483647 w 862"/>
              <a:gd name="T103" fmla="*/ 2147483647 h 754"/>
              <a:gd name="T104" fmla="*/ 2147483647 w 862"/>
              <a:gd name="T105" fmla="*/ 2147483647 h 754"/>
              <a:gd name="T106" fmla="*/ 2147483647 w 862"/>
              <a:gd name="T107" fmla="*/ 2147483647 h 754"/>
              <a:gd name="T108" fmla="*/ 2147483647 w 862"/>
              <a:gd name="T109" fmla="*/ 2147483647 h 754"/>
              <a:gd name="T110" fmla="*/ 2147483647 w 862"/>
              <a:gd name="T111" fmla="*/ 2147483647 h 754"/>
              <a:gd name="T112" fmla="*/ 2147483647 w 862"/>
              <a:gd name="T113" fmla="*/ 2147483647 h 754"/>
              <a:gd name="T114" fmla="*/ 2147483647 w 862"/>
              <a:gd name="T115" fmla="*/ 2147483647 h 75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862"/>
              <a:gd name="T175" fmla="*/ 0 h 754"/>
              <a:gd name="T176" fmla="*/ 862 w 862"/>
              <a:gd name="T177" fmla="*/ 754 h 75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862" h="754">
                <a:moveTo>
                  <a:pt x="40" y="165"/>
                </a:moveTo>
                <a:lnTo>
                  <a:pt x="34" y="165"/>
                </a:lnTo>
                <a:lnTo>
                  <a:pt x="28" y="165"/>
                </a:lnTo>
                <a:lnTo>
                  <a:pt x="28" y="159"/>
                </a:lnTo>
                <a:lnTo>
                  <a:pt x="17" y="159"/>
                </a:lnTo>
                <a:lnTo>
                  <a:pt x="11" y="159"/>
                </a:lnTo>
                <a:lnTo>
                  <a:pt x="11" y="153"/>
                </a:lnTo>
                <a:lnTo>
                  <a:pt x="0" y="148"/>
                </a:lnTo>
                <a:lnTo>
                  <a:pt x="0" y="142"/>
                </a:lnTo>
                <a:lnTo>
                  <a:pt x="0" y="136"/>
                </a:lnTo>
                <a:lnTo>
                  <a:pt x="0" y="131"/>
                </a:lnTo>
                <a:lnTo>
                  <a:pt x="0" y="125"/>
                </a:lnTo>
                <a:lnTo>
                  <a:pt x="0" y="114"/>
                </a:lnTo>
                <a:lnTo>
                  <a:pt x="0" y="97"/>
                </a:lnTo>
                <a:lnTo>
                  <a:pt x="0" y="91"/>
                </a:lnTo>
                <a:lnTo>
                  <a:pt x="0" y="85"/>
                </a:lnTo>
                <a:lnTo>
                  <a:pt x="6" y="80"/>
                </a:lnTo>
                <a:lnTo>
                  <a:pt x="11" y="74"/>
                </a:lnTo>
                <a:lnTo>
                  <a:pt x="23" y="74"/>
                </a:lnTo>
                <a:lnTo>
                  <a:pt x="28" y="74"/>
                </a:lnTo>
                <a:lnTo>
                  <a:pt x="34" y="74"/>
                </a:lnTo>
                <a:lnTo>
                  <a:pt x="40" y="74"/>
                </a:lnTo>
                <a:lnTo>
                  <a:pt x="45" y="74"/>
                </a:lnTo>
                <a:lnTo>
                  <a:pt x="51" y="80"/>
                </a:lnTo>
                <a:lnTo>
                  <a:pt x="57" y="80"/>
                </a:lnTo>
                <a:lnTo>
                  <a:pt x="62" y="80"/>
                </a:lnTo>
                <a:lnTo>
                  <a:pt x="68" y="85"/>
                </a:lnTo>
                <a:lnTo>
                  <a:pt x="74" y="85"/>
                </a:lnTo>
                <a:lnTo>
                  <a:pt x="79" y="80"/>
                </a:lnTo>
                <a:lnTo>
                  <a:pt x="85" y="80"/>
                </a:lnTo>
                <a:lnTo>
                  <a:pt x="91" y="80"/>
                </a:lnTo>
                <a:lnTo>
                  <a:pt x="96" y="80"/>
                </a:lnTo>
                <a:lnTo>
                  <a:pt x="102" y="74"/>
                </a:lnTo>
                <a:lnTo>
                  <a:pt x="113" y="74"/>
                </a:lnTo>
                <a:lnTo>
                  <a:pt x="125" y="74"/>
                </a:lnTo>
                <a:lnTo>
                  <a:pt x="130" y="74"/>
                </a:lnTo>
                <a:lnTo>
                  <a:pt x="130" y="80"/>
                </a:lnTo>
                <a:lnTo>
                  <a:pt x="142" y="85"/>
                </a:lnTo>
                <a:lnTo>
                  <a:pt x="142" y="97"/>
                </a:lnTo>
                <a:lnTo>
                  <a:pt x="147" y="97"/>
                </a:lnTo>
                <a:lnTo>
                  <a:pt x="153" y="102"/>
                </a:lnTo>
                <a:lnTo>
                  <a:pt x="159" y="108"/>
                </a:lnTo>
                <a:lnTo>
                  <a:pt x="159" y="114"/>
                </a:lnTo>
                <a:lnTo>
                  <a:pt x="164" y="119"/>
                </a:lnTo>
                <a:lnTo>
                  <a:pt x="170" y="119"/>
                </a:lnTo>
                <a:lnTo>
                  <a:pt x="170" y="125"/>
                </a:lnTo>
                <a:lnTo>
                  <a:pt x="176" y="125"/>
                </a:lnTo>
                <a:lnTo>
                  <a:pt x="181" y="131"/>
                </a:lnTo>
                <a:lnTo>
                  <a:pt x="187" y="131"/>
                </a:lnTo>
                <a:lnTo>
                  <a:pt x="198" y="136"/>
                </a:lnTo>
                <a:lnTo>
                  <a:pt x="210" y="136"/>
                </a:lnTo>
                <a:lnTo>
                  <a:pt x="215" y="142"/>
                </a:lnTo>
                <a:lnTo>
                  <a:pt x="215" y="136"/>
                </a:lnTo>
                <a:lnTo>
                  <a:pt x="232" y="136"/>
                </a:lnTo>
                <a:lnTo>
                  <a:pt x="238" y="136"/>
                </a:lnTo>
                <a:lnTo>
                  <a:pt x="244" y="136"/>
                </a:lnTo>
                <a:lnTo>
                  <a:pt x="249" y="131"/>
                </a:lnTo>
                <a:lnTo>
                  <a:pt x="255" y="131"/>
                </a:lnTo>
                <a:lnTo>
                  <a:pt x="261" y="125"/>
                </a:lnTo>
                <a:lnTo>
                  <a:pt x="266" y="125"/>
                </a:lnTo>
                <a:lnTo>
                  <a:pt x="266" y="119"/>
                </a:lnTo>
                <a:lnTo>
                  <a:pt x="272" y="119"/>
                </a:lnTo>
                <a:lnTo>
                  <a:pt x="272" y="114"/>
                </a:lnTo>
                <a:lnTo>
                  <a:pt x="272" y="108"/>
                </a:lnTo>
                <a:lnTo>
                  <a:pt x="278" y="108"/>
                </a:lnTo>
                <a:lnTo>
                  <a:pt x="278" y="102"/>
                </a:lnTo>
                <a:lnTo>
                  <a:pt x="283" y="102"/>
                </a:lnTo>
                <a:lnTo>
                  <a:pt x="283" y="97"/>
                </a:lnTo>
                <a:lnTo>
                  <a:pt x="289" y="91"/>
                </a:lnTo>
                <a:lnTo>
                  <a:pt x="278" y="68"/>
                </a:lnTo>
                <a:lnTo>
                  <a:pt x="283" y="74"/>
                </a:lnTo>
                <a:lnTo>
                  <a:pt x="289" y="74"/>
                </a:lnTo>
                <a:lnTo>
                  <a:pt x="289" y="68"/>
                </a:lnTo>
                <a:lnTo>
                  <a:pt x="295" y="68"/>
                </a:lnTo>
                <a:lnTo>
                  <a:pt x="300" y="68"/>
                </a:lnTo>
                <a:lnTo>
                  <a:pt x="317" y="68"/>
                </a:lnTo>
                <a:lnTo>
                  <a:pt x="323" y="68"/>
                </a:lnTo>
                <a:lnTo>
                  <a:pt x="329" y="68"/>
                </a:lnTo>
                <a:lnTo>
                  <a:pt x="334" y="68"/>
                </a:lnTo>
                <a:lnTo>
                  <a:pt x="346" y="74"/>
                </a:lnTo>
                <a:lnTo>
                  <a:pt x="351" y="74"/>
                </a:lnTo>
                <a:lnTo>
                  <a:pt x="357" y="74"/>
                </a:lnTo>
                <a:lnTo>
                  <a:pt x="368" y="74"/>
                </a:lnTo>
                <a:lnTo>
                  <a:pt x="374" y="74"/>
                </a:lnTo>
                <a:lnTo>
                  <a:pt x="380" y="74"/>
                </a:lnTo>
                <a:lnTo>
                  <a:pt x="385" y="74"/>
                </a:lnTo>
                <a:lnTo>
                  <a:pt x="397" y="80"/>
                </a:lnTo>
                <a:lnTo>
                  <a:pt x="402" y="80"/>
                </a:lnTo>
                <a:lnTo>
                  <a:pt x="408" y="80"/>
                </a:lnTo>
                <a:lnTo>
                  <a:pt x="414" y="80"/>
                </a:lnTo>
                <a:lnTo>
                  <a:pt x="419" y="80"/>
                </a:lnTo>
                <a:lnTo>
                  <a:pt x="425" y="80"/>
                </a:lnTo>
                <a:lnTo>
                  <a:pt x="431" y="74"/>
                </a:lnTo>
                <a:lnTo>
                  <a:pt x="436" y="74"/>
                </a:lnTo>
                <a:lnTo>
                  <a:pt x="442" y="74"/>
                </a:lnTo>
                <a:lnTo>
                  <a:pt x="448" y="74"/>
                </a:lnTo>
                <a:lnTo>
                  <a:pt x="465" y="80"/>
                </a:lnTo>
                <a:lnTo>
                  <a:pt x="470" y="80"/>
                </a:lnTo>
                <a:lnTo>
                  <a:pt x="476" y="80"/>
                </a:lnTo>
                <a:lnTo>
                  <a:pt x="482" y="80"/>
                </a:lnTo>
                <a:lnTo>
                  <a:pt x="487" y="80"/>
                </a:lnTo>
                <a:lnTo>
                  <a:pt x="493" y="80"/>
                </a:lnTo>
                <a:lnTo>
                  <a:pt x="499" y="80"/>
                </a:lnTo>
                <a:lnTo>
                  <a:pt x="504" y="80"/>
                </a:lnTo>
                <a:lnTo>
                  <a:pt x="504" y="91"/>
                </a:lnTo>
                <a:lnTo>
                  <a:pt x="527" y="85"/>
                </a:lnTo>
                <a:lnTo>
                  <a:pt x="538" y="85"/>
                </a:lnTo>
                <a:lnTo>
                  <a:pt x="544" y="85"/>
                </a:lnTo>
                <a:lnTo>
                  <a:pt x="550" y="85"/>
                </a:lnTo>
                <a:lnTo>
                  <a:pt x="555" y="85"/>
                </a:lnTo>
                <a:lnTo>
                  <a:pt x="561" y="85"/>
                </a:lnTo>
                <a:lnTo>
                  <a:pt x="567" y="85"/>
                </a:lnTo>
                <a:lnTo>
                  <a:pt x="572" y="85"/>
                </a:lnTo>
                <a:lnTo>
                  <a:pt x="578" y="85"/>
                </a:lnTo>
                <a:lnTo>
                  <a:pt x="584" y="85"/>
                </a:lnTo>
                <a:lnTo>
                  <a:pt x="595" y="85"/>
                </a:lnTo>
                <a:lnTo>
                  <a:pt x="601" y="85"/>
                </a:lnTo>
                <a:lnTo>
                  <a:pt x="601" y="80"/>
                </a:lnTo>
                <a:lnTo>
                  <a:pt x="606" y="80"/>
                </a:lnTo>
                <a:lnTo>
                  <a:pt x="606" y="74"/>
                </a:lnTo>
                <a:lnTo>
                  <a:pt x="612" y="74"/>
                </a:lnTo>
                <a:lnTo>
                  <a:pt x="612" y="68"/>
                </a:lnTo>
                <a:lnTo>
                  <a:pt x="618" y="57"/>
                </a:lnTo>
                <a:lnTo>
                  <a:pt x="623" y="51"/>
                </a:lnTo>
                <a:lnTo>
                  <a:pt x="623" y="46"/>
                </a:lnTo>
                <a:lnTo>
                  <a:pt x="623" y="40"/>
                </a:lnTo>
                <a:lnTo>
                  <a:pt x="629" y="40"/>
                </a:lnTo>
                <a:lnTo>
                  <a:pt x="635" y="40"/>
                </a:lnTo>
                <a:lnTo>
                  <a:pt x="635" y="34"/>
                </a:lnTo>
                <a:lnTo>
                  <a:pt x="641" y="34"/>
                </a:lnTo>
                <a:lnTo>
                  <a:pt x="641" y="29"/>
                </a:lnTo>
                <a:lnTo>
                  <a:pt x="646" y="29"/>
                </a:lnTo>
                <a:lnTo>
                  <a:pt x="652" y="29"/>
                </a:lnTo>
                <a:lnTo>
                  <a:pt x="658" y="29"/>
                </a:lnTo>
                <a:lnTo>
                  <a:pt x="669" y="23"/>
                </a:lnTo>
                <a:lnTo>
                  <a:pt x="675" y="23"/>
                </a:lnTo>
                <a:lnTo>
                  <a:pt x="680" y="17"/>
                </a:lnTo>
                <a:lnTo>
                  <a:pt x="692" y="17"/>
                </a:lnTo>
                <a:lnTo>
                  <a:pt x="697" y="11"/>
                </a:lnTo>
                <a:lnTo>
                  <a:pt x="709" y="6"/>
                </a:lnTo>
                <a:lnTo>
                  <a:pt x="720" y="0"/>
                </a:lnTo>
                <a:lnTo>
                  <a:pt x="720" y="6"/>
                </a:lnTo>
                <a:lnTo>
                  <a:pt x="726" y="6"/>
                </a:lnTo>
                <a:lnTo>
                  <a:pt x="731" y="6"/>
                </a:lnTo>
                <a:lnTo>
                  <a:pt x="731" y="11"/>
                </a:lnTo>
                <a:lnTo>
                  <a:pt x="737" y="17"/>
                </a:lnTo>
                <a:lnTo>
                  <a:pt x="737" y="23"/>
                </a:lnTo>
                <a:lnTo>
                  <a:pt x="737" y="34"/>
                </a:lnTo>
                <a:lnTo>
                  <a:pt x="743" y="46"/>
                </a:lnTo>
                <a:lnTo>
                  <a:pt x="748" y="57"/>
                </a:lnTo>
                <a:lnTo>
                  <a:pt x="743" y="68"/>
                </a:lnTo>
                <a:lnTo>
                  <a:pt x="748" y="68"/>
                </a:lnTo>
                <a:lnTo>
                  <a:pt x="748" y="74"/>
                </a:lnTo>
                <a:lnTo>
                  <a:pt x="748" y="80"/>
                </a:lnTo>
                <a:lnTo>
                  <a:pt x="754" y="85"/>
                </a:lnTo>
                <a:lnTo>
                  <a:pt x="760" y="85"/>
                </a:lnTo>
                <a:lnTo>
                  <a:pt x="765" y="85"/>
                </a:lnTo>
                <a:lnTo>
                  <a:pt x="765" y="80"/>
                </a:lnTo>
                <a:lnTo>
                  <a:pt x="771" y="80"/>
                </a:lnTo>
                <a:lnTo>
                  <a:pt x="777" y="80"/>
                </a:lnTo>
                <a:lnTo>
                  <a:pt x="777" y="74"/>
                </a:lnTo>
                <a:lnTo>
                  <a:pt x="782" y="74"/>
                </a:lnTo>
                <a:lnTo>
                  <a:pt x="788" y="80"/>
                </a:lnTo>
                <a:lnTo>
                  <a:pt x="794" y="80"/>
                </a:lnTo>
                <a:lnTo>
                  <a:pt x="794" y="85"/>
                </a:lnTo>
                <a:lnTo>
                  <a:pt x="799" y="85"/>
                </a:lnTo>
                <a:lnTo>
                  <a:pt x="805" y="85"/>
                </a:lnTo>
                <a:lnTo>
                  <a:pt x="811" y="85"/>
                </a:lnTo>
                <a:lnTo>
                  <a:pt x="833" y="85"/>
                </a:lnTo>
                <a:lnTo>
                  <a:pt x="839" y="85"/>
                </a:lnTo>
                <a:lnTo>
                  <a:pt x="845" y="91"/>
                </a:lnTo>
                <a:lnTo>
                  <a:pt x="850" y="97"/>
                </a:lnTo>
                <a:lnTo>
                  <a:pt x="850" y="108"/>
                </a:lnTo>
                <a:lnTo>
                  <a:pt x="850" y="119"/>
                </a:lnTo>
                <a:lnTo>
                  <a:pt x="856" y="131"/>
                </a:lnTo>
                <a:lnTo>
                  <a:pt x="856" y="142"/>
                </a:lnTo>
                <a:lnTo>
                  <a:pt x="862" y="165"/>
                </a:lnTo>
                <a:lnTo>
                  <a:pt x="862" y="182"/>
                </a:lnTo>
                <a:lnTo>
                  <a:pt x="862" y="187"/>
                </a:lnTo>
                <a:lnTo>
                  <a:pt x="862" y="193"/>
                </a:lnTo>
                <a:lnTo>
                  <a:pt x="856" y="193"/>
                </a:lnTo>
                <a:lnTo>
                  <a:pt x="850" y="193"/>
                </a:lnTo>
                <a:lnTo>
                  <a:pt x="850" y="199"/>
                </a:lnTo>
                <a:lnTo>
                  <a:pt x="845" y="199"/>
                </a:lnTo>
                <a:lnTo>
                  <a:pt x="839" y="204"/>
                </a:lnTo>
                <a:lnTo>
                  <a:pt x="833" y="210"/>
                </a:lnTo>
                <a:lnTo>
                  <a:pt x="828" y="210"/>
                </a:lnTo>
                <a:lnTo>
                  <a:pt x="822" y="210"/>
                </a:lnTo>
                <a:lnTo>
                  <a:pt x="822" y="216"/>
                </a:lnTo>
                <a:lnTo>
                  <a:pt x="822" y="221"/>
                </a:lnTo>
                <a:lnTo>
                  <a:pt x="816" y="221"/>
                </a:lnTo>
                <a:lnTo>
                  <a:pt x="811" y="221"/>
                </a:lnTo>
                <a:lnTo>
                  <a:pt x="805" y="221"/>
                </a:lnTo>
                <a:lnTo>
                  <a:pt x="799" y="216"/>
                </a:lnTo>
                <a:lnTo>
                  <a:pt x="794" y="216"/>
                </a:lnTo>
                <a:lnTo>
                  <a:pt x="782" y="221"/>
                </a:lnTo>
                <a:lnTo>
                  <a:pt x="777" y="221"/>
                </a:lnTo>
                <a:lnTo>
                  <a:pt x="771" y="221"/>
                </a:lnTo>
                <a:lnTo>
                  <a:pt x="760" y="221"/>
                </a:lnTo>
                <a:lnTo>
                  <a:pt x="754" y="221"/>
                </a:lnTo>
                <a:lnTo>
                  <a:pt x="748" y="227"/>
                </a:lnTo>
                <a:lnTo>
                  <a:pt x="743" y="227"/>
                </a:lnTo>
                <a:lnTo>
                  <a:pt x="737" y="233"/>
                </a:lnTo>
                <a:lnTo>
                  <a:pt x="737" y="238"/>
                </a:lnTo>
                <a:lnTo>
                  <a:pt x="731" y="238"/>
                </a:lnTo>
                <a:lnTo>
                  <a:pt x="726" y="238"/>
                </a:lnTo>
                <a:lnTo>
                  <a:pt x="726" y="244"/>
                </a:lnTo>
                <a:lnTo>
                  <a:pt x="726" y="250"/>
                </a:lnTo>
                <a:lnTo>
                  <a:pt x="720" y="255"/>
                </a:lnTo>
                <a:lnTo>
                  <a:pt x="720" y="267"/>
                </a:lnTo>
                <a:lnTo>
                  <a:pt x="714" y="278"/>
                </a:lnTo>
                <a:lnTo>
                  <a:pt x="714" y="284"/>
                </a:lnTo>
                <a:lnTo>
                  <a:pt x="709" y="295"/>
                </a:lnTo>
                <a:lnTo>
                  <a:pt x="709" y="318"/>
                </a:lnTo>
                <a:lnTo>
                  <a:pt x="709" y="340"/>
                </a:lnTo>
                <a:lnTo>
                  <a:pt x="709" y="346"/>
                </a:lnTo>
                <a:lnTo>
                  <a:pt x="709" y="352"/>
                </a:lnTo>
                <a:lnTo>
                  <a:pt x="703" y="352"/>
                </a:lnTo>
                <a:lnTo>
                  <a:pt x="703" y="357"/>
                </a:lnTo>
                <a:lnTo>
                  <a:pt x="703" y="363"/>
                </a:lnTo>
                <a:lnTo>
                  <a:pt x="697" y="369"/>
                </a:lnTo>
                <a:lnTo>
                  <a:pt x="692" y="374"/>
                </a:lnTo>
                <a:lnTo>
                  <a:pt x="692" y="380"/>
                </a:lnTo>
                <a:lnTo>
                  <a:pt x="686" y="380"/>
                </a:lnTo>
                <a:lnTo>
                  <a:pt x="680" y="380"/>
                </a:lnTo>
                <a:lnTo>
                  <a:pt x="675" y="380"/>
                </a:lnTo>
                <a:lnTo>
                  <a:pt x="663" y="386"/>
                </a:lnTo>
                <a:lnTo>
                  <a:pt x="658" y="386"/>
                </a:lnTo>
                <a:lnTo>
                  <a:pt x="652" y="391"/>
                </a:lnTo>
                <a:lnTo>
                  <a:pt x="646" y="391"/>
                </a:lnTo>
                <a:lnTo>
                  <a:pt x="641" y="397"/>
                </a:lnTo>
                <a:lnTo>
                  <a:pt x="635" y="397"/>
                </a:lnTo>
                <a:lnTo>
                  <a:pt x="635" y="403"/>
                </a:lnTo>
                <a:lnTo>
                  <a:pt x="629" y="403"/>
                </a:lnTo>
                <a:lnTo>
                  <a:pt x="623" y="403"/>
                </a:lnTo>
                <a:lnTo>
                  <a:pt x="618" y="408"/>
                </a:lnTo>
                <a:lnTo>
                  <a:pt x="601" y="414"/>
                </a:lnTo>
                <a:lnTo>
                  <a:pt x="595" y="414"/>
                </a:lnTo>
                <a:lnTo>
                  <a:pt x="595" y="420"/>
                </a:lnTo>
                <a:lnTo>
                  <a:pt x="589" y="420"/>
                </a:lnTo>
                <a:lnTo>
                  <a:pt x="584" y="420"/>
                </a:lnTo>
                <a:lnTo>
                  <a:pt x="578" y="420"/>
                </a:lnTo>
                <a:lnTo>
                  <a:pt x="572" y="420"/>
                </a:lnTo>
                <a:lnTo>
                  <a:pt x="567" y="425"/>
                </a:lnTo>
                <a:lnTo>
                  <a:pt x="561" y="425"/>
                </a:lnTo>
                <a:lnTo>
                  <a:pt x="555" y="431"/>
                </a:lnTo>
                <a:lnTo>
                  <a:pt x="550" y="431"/>
                </a:lnTo>
                <a:lnTo>
                  <a:pt x="544" y="437"/>
                </a:lnTo>
                <a:lnTo>
                  <a:pt x="538" y="437"/>
                </a:lnTo>
                <a:lnTo>
                  <a:pt x="538" y="442"/>
                </a:lnTo>
                <a:lnTo>
                  <a:pt x="538" y="448"/>
                </a:lnTo>
                <a:lnTo>
                  <a:pt x="533" y="448"/>
                </a:lnTo>
                <a:lnTo>
                  <a:pt x="533" y="454"/>
                </a:lnTo>
                <a:lnTo>
                  <a:pt x="527" y="454"/>
                </a:lnTo>
                <a:lnTo>
                  <a:pt x="527" y="459"/>
                </a:lnTo>
                <a:lnTo>
                  <a:pt x="521" y="459"/>
                </a:lnTo>
                <a:lnTo>
                  <a:pt x="521" y="465"/>
                </a:lnTo>
                <a:lnTo>
                  <a:pt x="527" y="471"/>
                </a:lnTo>
                <a:lnTo>
                  <a:pt x="527" y="476"/>
                </a:lnTo>
                <a:lnTo>
                  <a:pt x="533" y="476"/>
                </a:lnTo>
                <a:lnTo>
                  <a:pt x="538" y="476"/>
                </a:lnTo>
                <a:lnTo>
                  <a:pt x="544" y="476"/>
                </a:lnTo>
                <a:lnTo>
                  <a:pt x="550" y="471"/>
                </a:lnTo>
                <a:lnTo>
                  <a:pt x="555" y="471"/>
                </a:lnTo>
                <a:lnTo>
                  <a:pt x="561" y="471"/>
                </a:lnTo>
                <a:lnTo>
                  <a:pt x="561" y="465"/>
                </a:lnTo>
                <a:lnTo>
                  <a:pt x="567" y="465"/>
                </a:lnTo>
                <a:lnTo>
                  <a:pt x="572" y="465"/>
                </a:lnTo>
                <a:lnTo>
                  <a:pt x="578" y="471"/>
                </a:lnTo>
                <a:lnTo>
                  <a:pt x="578" y="476"/>
                </a:lnTo>
                <a:lnTo>
                  <a:pt x="584" y="482"/>
                </a:lnTo>
                <a:lnTo>
                  <a:pt x="589" y="488"/>
                </a:lnTo>
                <a:lnTo>
                  <a:pt x="589" y="493"/>
                </a:lnTo>
                <a:lnTo>
                  <a:pt x="589" y="499"/>
                </a:lnTo>
                <a:lnTo>
                  <a:pt x="589" y="505"/>
                </a:lnTo>
                <a:lnTo>
                  <a:pt x="595" y="505"/>
                </a:lnTo>
                <a:lnTo>
                  <a:pt x="589" y="516"/>
                </a:lnTo>
                <a:lnTo>
                  <a:pt x="589" y="522"/>
                </a:lnTo>
                <a:lnTo>
                  <a:pt x="589" y="527"/>
                </a:lnTo>
                <a:lnTo>
                  <a:pt x="589" y="533"/>
                </a:lnTo>
                <a:lnTo>
                  <a:pt x="589" y="539"/>
                </a:lnTo>
                <a:lnTo>
                  <a:pt x="584" y="539"/>
                </a:lnTo>
                <a:lnTo>
                  <a:pt x="584" y="544"/>
                </a:lnTo>
                <a:lnTo>
                  <a:pt x="578" y="544"/>
                </a:lnTo>
                <a:lnTo>
                  <a:pt x="578" y="550"/>
                </a:lnTo>
                <a:lnTo>
                  <a:pt x="578" y="556"/>
                </a:lnTo>
                <a:lnTo>
                  <a:pt x="578" y="561"/>
                </a:lnTo>
                <a:lnTo>
                  <a:pt x="584" y="561"/>
                </a:lnTo>
                <a:lnTo>
                  <a:pt x="584" y="567"/>
                </a:lnTo>
                <a:lnTo>
                  <a:pt x="589" y="567"/>
                </a:lnTo>
                <a:lnTo>
                  <a:pt x="589" y="573"/>
                </a:lnTo>
                <a:lnTo>
                  <a:pt x="595" y="573"/>
                </a:lnTo>
                <a:lnTo>
                  <a:pt x="601" y="573"/>
                </a:lnTo>
                <a:lnTo>
                  <a:pt x="606" y="578"/>
                </a:lnTo>
                <a:lnTo>
                  <a:pt x="606" y="584"/>
                </a:lnTo>
                <a:lnTo>
                  <a:pt x="618" y="595"/>
                </a:lnTo>
                <a:lnTo>
                  <a:pt x="618" y="601"/>
                </a:lnTo>
                <a:lnTo>
                  <a:pt x="618" y="607"/>
                </a:lnTo>
                <a:lnTo>
                  <a:pt x="623" y="607"/>
                </a:lnTo>
                <a:lnTo>
                  <a:pt x="623" y="612"/>
                </a:lnTo>
                <a:lnTo>
                  <a:pt x="623" y="618"/>
                </a:lnTo>
                <a:lnTo>
                  <a:pt x="629" y="618"/>
                </a:lnTo>
                <a:lnTo>
                  <a:pt x="635" y="624"/>
                </a:lnTo>
                <a:lnTo>
                  <a:pt x="635" y="629"/>
                </a:lnTo>
                <a:lnTo>
                  <a:pt x="641" y="635"/>
                </a:lnTo>
                <a:lnTo>
                  <a:pt x="652" y="641"/>
                </a:lnTo>
                <a:lnTo>
                  <a:pt x="663" y="641"/>
                </a:lnTo>
                <a:lnTo>
                  <a:pt x="669" y="641"/>
                </a:lnTo>
                <a:lnTo>
                  <a:pt x="675" y="641"/>
                </a:lnTo>
                <a:lnTo>
                  <a:pt x="680" y="641"/>
                </a:lnTo>
                <a:lnTo>
                  <a:pt x="692" y="641"/>
                </a:lnTo>
                <a:lnTo>
                  <a:pt x="703" y="646"/>
                </a:lnTo>
                <a:lnTo>
                  <a:pt x="714" y="646"/>
                </a:lnTo>
                <a:lnTo>
                  <a:pt x="720" y="646"/>
                </a:lnTo>
                <a:lnTo>
                  <a:pt x="731" y="652"/>
                </a:lnTo>
                <a:lnTo>
                  <a:pt x="743" y="658"/>
                </a:lnTo>
                <a:lnTo>
                  <a:pt x="748" y="658"/>
                </a:lnTo>
                <a:lnTo>
                  <a:pt x="754" y="658"/>
                </a:lnTo>
                <a:lnTo>
                  <a:pt x="760" y="658"/>
                </a:lnTo>
                <a:lnTo>
                  <a:pt x="771" y="658"/>
                </a:lnTo>
                <a:lnTo>
                  <a:pt x="777" y="663"/>
                </a:lnTo>
                <a:lnTo>
                  <a:pt x="777" y="669"/>
                </a:lnTo>
                <a:lnTo>
                  <a:pt x="777" y="675"/>
                </a:lnTo>
                <a:lnTo>
                  <a:pt x="777" y="680"/>
                </a:lnTo>
                <a:lnTo>
                  <a:pt x="771" y="680"/>
                </a:lnTo>
                <a:lnTo>
                  <a:pt x="771" y="686"/>
                </a:lnTo>
                <a:lnTo>
                  <a:pt x="765" y="686"/>
                </a:lnTo>
                <a:lnTo>
                  <a:pt x="760" y="692"/>
                </a:lnTo>
                <a:lnTo>
                  <a:pt x="760" y="697"/>
                </a:lnTo>
                <a:lnTo>
                  <a:pt x="754" y="697"/>
                </a:lnTo>
                <a:lnTo>
                  <a:pt x="748" y="697"/>
                </a:lnTo>
                <a:lnTo>
                  <a:pt x="743" y="697"/>
                </a:lnTo>
                <a:lnTo>
                  <a:pt x="731" y="697"/>
                </a:lnTo>
                <a:lnTo>
                  <a:pt x="726" y="703"/>
                </a:lnTo>
                <a:lnTo>
                  <a:pt x="720" y="703"/>
                </a:lnTo>
                <a:lnTo>
                  <a:pt x="714" y="709"/>
                </a:lnTo>
                <a:lnTo>
                  <a:pt x="709" y="709"/>
                </a:lnTo>
                <a:lnTo>
                  <a:pt x="703" y="714"/>
                </a:lnTo>
                <a:lnTo>
                  <a:pt x="703" y="726"/>
                </a:lnTo>
                <a:lnTo>
                  <a:pt x="703" y="731"/>
                </a:lnTo>
                <a:lnTo>
                  <a:pt x="703" y="737"/>
                </a:lnTo>
                <a:lnTo>
                  <a:pt x="709" y="737"/>
                </a:lnTo>
                <a:lnTo>
                  <a:pt x="714" y="743"/>
                </a:lnTo>
                <a:lnTo>
                  <a:pt x="720" y="748"/>
                </a:lnTo>
                <a:lnTo>
                  <a:pt x="720" y="754"/>
                </a:lnTo>
                <a:lnTo>
                  <a:pt x="714" y="754"/>
                </a:lnTo>
                <a:lnTo>
                  <a:pt x="709" y="754"/>
                </a:lnTo>
                <a:lnTo>
                  <a:pt x="703" y="748"/>
                </a:lnTo>
                <a:lnTo>
                  <a:pt x="697" y="748"/>
                </a:lnTo>
                <a:lnTo>
                  <a:pt x="697" y="743"/>
                </a:lnTo>
                <a:lnTo>
                  <a:pt x="692" y="743"/>
                </a:lnTo>
                <a:lnTo>
                  <a:pt x="686" y="743"/>
                </a:lnTo>
                <a:lnTo>
                  <a:pt x="663" y="743"/>
                </a:lnTo>
                <a:lnTo>
                  <a:pt x="646" y="737"/>
                </a:lnTo>
                <a:lnTo>
                  <a:pt x="641" y="737"/>
                </a:lnTo>
                <a:lnTo>
                  <a:pt x="635" y="743"/>
                </a:lnTo>
                <a:lnTo>
                  <a:pt x="629" y="737"/>
                </a:lnTo>
                <a:lnTo>
                  <a:pt x="623" y="731"/>
                </a:lnTo>
                <a:lnTo>
                  <a:pt x="623" y="726"/>
                </a:lnTo>
                <a:lnTo>
                  <a:pt x="618" y="714"/>
                </a:lnTo>
                <a:lnTo>
                  <a:pt x="618" y="697"/>
                </a:lnTo>
                <a:lnTo>
                  <a:pt x="612" y="686"/>
                </a:lnTo>
                <a:lnTo>
                  <a:pt x="612" y="680"/>
                </a:lnTo>
                <a:lnTo>
                  <a:pt x="606" y="669"/>
                </a:lnTo>
                <a:lnTo>
                  <a:pt x="606" y="663"/>
                </a:lnTo>
                <a:lnTo>
                  <a:pt x="601" y="658"/>
                </a:lnTo>
                <a:lnTo>
                  <a:pt x="601" y="652"/>
                </a:lnTo>
                <a:lnTo>
                  <a:pt x="595" y="652"/>
                </a:lnTo>
                <a:lnTo>
                  <a:pt x="595" y="646"/>
                </a:lnTo>
                <a:lnTo>
                  <a:pt x="589" y="646"/>
                </a:lnTo>
                <a:lnTo>
                  <a:pt x="589" y="641"/>
                </a:lnTo>
                <a:lnTo>
                  <a:pt x="584" y="641"/>
                </a:lnTo>
                <a:lnTo>
                  <a:pt x="578" y="641"/>
                </a:lnTo>
                <a:lnTo>
                  <a:pt x="572" y="641"/>
                </a:lnTo>
                <a:lnTo>
                  <a:pt x="561" y="641"/>
                </a:lnTo>
                <a:lnTo>
                  <a:pt x="555" y="646"/>
                </a:lnTo>
                <a:lnTo>
                  <a:pt x="550" y="646"/>
                </a:lnTo>
                <a:lnTo>
                  <a:pt x="544" y="646"/>
                </a:lnTo>
                <a:lnTo>
                  <a:pt x="538" y="646"/>
                </a:lnTo>
                <a:lnTo>
                  <a:pt x="533" y="646"/>
                </a:lnTo>
                <a:lnTo>
                  <a:pt x="521" y="646"/>
                </a:lnTo>
                <a:lnTo>
                  <a:pt x="516" y="646"/>
                </a:lnTo>
                <a:lnTo>
                  <a:pt x="510" y="646"/>
                </a:lnTo>
                <a:lnTo>
                  <a:pt x="510" y="641"/>
                </a:lnTo>
                <a:lnTo>
                  <a:pt x="504" y="635"/>
                </a:lnTo>
                <a:lnTo>
                  <a:pt x="504" y="629"/>
                </a:lnTo>
                <a:lnTo>
                  <a:pt x="504" y="624"/>
                </a:lnTo>
                <a:lnTo>
                  <a:pt x="499" y="618"/>
                </a:lnTo>
                <a:lnTo>
                  <a:pt x="493" y="618"/>
                </a:lnTo>
                <a:lnTo>
                  <a:pt x="487" y="618"/>
                </a:lnTo>
                <a:lnTo>
                  <a:pt x="482" y="618"/>
                </a:lnTo>
                <a:lnTo>
                  <a:pt x="476" y="624"/>
                </a:lnTo>
                <a:lnTo>
                  <a:pt x="465" y="629"/>
                </a:lnTo>
                <a:lnTo>
                  <a:pt x="453" y="624"/>
                </a:lnTo>
                <a:lnTo>
                  <a:pt x="448" y="624"/>
                </a:lnTo>
                <a:lnTo>
                  <a:pt x="448" y="618"/>
                </a:lnTo>
                <a:lnTo>
                  <a:pt x="442" y="618"/>
                </a:lnTo>
                <a:lnTo>
                  <a:pt x="436" y="618"/>
                </a:lnTo>
                <a:lnTo>
                  <a:pt x="436" y="612"/>
                </a:lnTo>
                <a:lnTo>
                  <a:pt x="431" y="612"/>
                </a:lnTo>
                <a:lnTo>
                  <a:pt x="425" y="612"/>
                </a:lnTo>
                <a:lnTo>
                  <a:pt x="419" y="612"/>
                </a:lnTo>
                <a:lnTo>
                  <a:pt x="419" y="607"/>
                </a:lnTo>
                <a:lnTo>
                  <a:pt x="408" y="607"/>
                </a:lnTo>
                <a:lnTo>
                  <a:pt x="402" y="607"/>
                </a:lnTo>
                <a:lnTo>
                  <a:pt x="397" y="612"/>
                </a:lnTo>
                <a:lnTo>
                  <a:pt x="391" y="607"/>
                </a:lnTo>
                <a:lnTo>
                  <a:pt x="397" y="601"/>
                </a:lnTo>
                <a:lnTo>
                  <a:pt x="397" y="595"/>
                </a:lnTo>
                <a:lnTo>
                  <a:pt x="397" y="590"/>
                </a:lnTo>
                <a:lnTo>
                  <a:pt x="391" y="584"/>
                </a:lnTo>
                <a:lnTo>
                  <a:pt x="397" y="578"/>
                </a:lnTo>
                <a:lnTo>
                  <a:pt x="397" y="573"/>
                </a:lnTo>
                <a:lnTo>
                  <a:pt x="402" y="561"/>
                </a:lnTo>
                <a:lnTo>
                  <a:pt x="408" y="556"/>
                </a:lnTo>
                <a:lnTo>
                  <a:pt x="414" y="556"/>
                </a:lnTo>
                <a:lnTo>
                  <a:pt x="419" y="556"/>
                </a:lnTo>
                <a:lnTo>
                  <a:pt x="425" y="556"/>
                </a:lnTo>
                <a:lnTo>
                  <a:pt x="425" y="550"/>
                </a:lnTo>
                <a:lnTo>
                  <a:pt x="431" y="544"/>
                </a:lnTo>
                <a:lnTo>
                  <a:pt x="436" y="539"/>
                </a:lnTo>
                <a:lnTo>
                  <a:pt x="436" y="533"/>
                </a:lnTo>
                <a:lnTo>
                  <a:pt x="436" y="527"/>
                </a:lnTo>
                <a:lnTo>
                  <a:pt x="431" y="527"/>
                </a:lnTo>
                <a:lnTo>
                  <a:pt x="425" y="527"/>
                </a:lnTo>
                <a:lnTo>
                  <a:pt x="419" y="527"/>
                </a:lnTo>
                <a:lnTo>
                  <a:pt x="419" y="522"/>
                </a:lnTo>
                <a:lnTo>
                  <a:pt x="419" y="516"/>
                </a:lnTo>
                <a:lnTo>
                  <a:pt x="414" y="516"/>
                </a:lnTo>
                <a:lnTo>
                  <a:pt x="408" y="510"/>
                </a:lnTo>
                <a:lnTo>
                  <a:pt x="402" y="505"/>
                </a:lnTo>
                <a:lnTo>
                  <a:pt x="397" y="505"/>
                </a:lnTo>
                <a:lnTo>
                  <a:pt x="391" y="499"/>
                </a:lnTo>
                <a:lnTo>
                  <a:pt x="391" y="493"/>
                </a:lnTo>
                <a:lnTo>
                  <a:pt x="391" y="488"/>
                </a:lnTo>
                <a:lnTo>
                  <a:pt x="391" y="482"/>
                </a:lnTo>
                <a:lnTo>
                  <a:pt x="397" y="482"/>
                </a:lnTo>
                <a:lnTo>
                  <a:pt x="397" y="476"/>
                </a:lnTo>
                <a:lnTo>
                  <a:pt x="397" y="471"/>
                </a:lnTo>
                <a:lnTo>
                  <a:pt x="391" y="471"/>
                </a:lnTo>
                <a:lnTo>
                  <a:pt x="380" y="476"/>
                </a:lnTo>
                <a:lnTo>
                  <a:pt x="368" y="476"/>
                </a:lnTo>
                <a:lnTo>
                  <a:pt x="363" y="476"/>
                </a:lnTo>
                <a:lnTo>
                  <a:pt x="363" y="471"/>
                </a:lnTo>
                <a:lnTo>
                  <a:pt x="363" y="465"/>
                </a:lnTo>
                <a:lnTo>
                  <a:pt x="363" y="459"/>
                </a:lnTo>
                <a:lnTo>
                  <a:pt x="363" y="448"/>
                </a:lnTo>
                <a:lnTo>
                  <a:pt x="363" y="442"/>
                </a:lnTo>
                <a:lnTo>
                  <a:pt x="363" y="437"/>
                </a:lnTo>
                <a:lnTo>
                  <a:pt x="368" y="437"/>
                </a:lnTo>
                <a:lnTo>
                  <a:pt x="368" y="431"/>
                </a:lnTo>
                <a:lnTo>
                  <a:pt x="374" y="431"/>
                </a:lnTo>
                <a:lnTo>
                  <a:pt x="380" y="431"/>
                </a:lnTo>
                <a:lnTo>
                  <a:pt x="380" y="425"/>
                </a:lnTo>
                <a:lnTo>
                  <a:pt x="385" y="420"/>
                </a:lnTo>
                <a:lnTo>
                  <a:pt x="385" y="403"/>
                </a:lnTo>
                <a:lnTo>
                  <a:pt x="385" y="391"/>
                </a:lnTo>
                <a:lnTo>
                  <a:pt x="385" y="386"/>
                </a:lnTo>
                <a:lnTo>
                  <a:pt x="385" y="380"/>
                </a:lnTo>
                <a:lnTo>
                  <a:pt x="380" y="374"/>
                </a:lnTo>
                <a:lnTo>
                  <a:pt x="380" y="363"/>
                </a:lnTo>
                <a:lnTo>
                  <a:pt x="380" y="352"/>
                </a:lnTo>
                <a:lnTo>
                  <a:pt x="374" y="346"/>
                </a:lnTo>
                <a:lnTo>
                  <a:pt x="368" y="346"/>
                </a:lnTo>
                <a:lnTo>
                  <a:pt x="368" y="340"/>
                </a:lnTo>
                <a:lnTo>
                  <a:pt x="363" y="346"/>
                </a:lnTo>
                <a:lnTo>
                  <a:pt x="363" y="352"/>
                </a:lnTo>
                <a:lnTo>
                  <a:pt x="357" y="352"/>
                </a:lnTo>
                <a:lnTo>
                  <a:pt x="357" y="357"/>
                </a:lnTo>
                <a:lnTo>
                  <a:pt x="357" y="363"/>
                </a:lnTo>
                <a:lnTo>
                  <a:pt x="357" y="369"/>
                </a:lnTo>
                <a:lnTo>
                  <a:pt x="351" y="369"/>
                </a:lnTo>
                <a:lnTo>
                  <a:pt x="346" y="369"/>
                </a:lnTo>
                <a:lnTo>
                  <a:pt x="340" y="363"/>
                </a:lnTo>
                <a:lnTo>
                  <a:pt x="334" y="363"/>
                </a:lnTo>
                <a:lnTo>
                  <a:pt x="334" y="357"/>
                </a:lnTo>
                <a:lnTo>
                  <a:pt x="334" y="352"/>
                </a:lnTo>
                <a:lnTo>
                  <a:pt x="334" y="346"/>
                </a:lnTo>
                <a:lnTo>
                  <a:pt x="329" y="340"/>
                </a:lnTo>
                <a:lnTo>
                  <a:pt x="317" y="346"/>
                </a:lnTo>
                <a:lnTo>
                  <a:pt x="312" y="346"/>
                </a:lnTo>
                <a:lnTo>
                  <a:pt x="306" y="352"/>
                </a:lnTo>
                <a:lnTo>
                  <a:pt x="300" y="352"/>
                </a:lnTo>
                <a:lnTo>
                  <a:pt x="289" y="346"/>
                </a:lnTo>
                <a:lnTo>
                  <a:pt x="283" y="346"/>
                </a:lnTo>
                <a:lnTo>
                  <a:pt x="283" y="340"/>
                </a:lnTo>
                <a:lnTo>
                  <a:pt x="278" y="340"/>
                </a:lnTo>
                <a:lnTo>
                  <a:pt x="278" y="335"/>
                </a:lnTo>
                <a:lnTo>
                  <a:pt x="283" y="335"/>
                </a:lnTo>
                <a:lnTo>
                  <a:pt x="283" y="329"/>
                </a:lnTo>
                <a:lnTo>
                  <a:pt x="283" y="323"/>
                </a:lnTo>
                <a:lnTo>
                  <a:pt x="289" y="323"/>
                </a:lnTo>
                <a:lnTo>
                  <a:pt x="289" y="318"/>
                </a:lnTo>
                <a:lnTo>
                  <a:pt x="289" y="312"/>
                </a:lnTo>
                <a:lnTo>
                  <a:pt x="295" y="312"/>
                </a:lnTo>
                <a:lnTo>
                  <a:pt x="295" y="306"/>
                </a:lnTo>
                <a:lnTo>
                  <a:pt x="289" y="306"/>
                </a:lnTo>
                <a:lnTo>
                  <a:pt x="289" y="301"/>
                </a:lnTo>
                <a:lnTo>
                  <a:pt x="283" y="301"/>
                </a:lnTo>
                <a:lnTo>
                  <a:pt x="283" y="295"/>
                </a:lnTo>
                <a:lnTo>
                  <a:pt x="283" y="284"/>
                </a:lnTo>
                <a:lnTo>
                  <a:pt x="278" y="284"/>
                </a:lnTo>
                <a:lnTo>
                  <a:pt x="278" y="278"/>
                </a:lnTo>
                <a:lnTo>
                  <a:pt x="278" y="272"/>
                </a:lnTo>
                <a:lnTo>
                  <a:pt x="272" y="272"/>
                </a:lnTo>
                <a:lnTo>
                  <a:pt x="272" y="267"/>
                </a:lnTo>
                <a:lnTo>
                  <a:pt x="266" y="267"/>
                </a:lnTo>
                <a:lnTo>
                  <a:pt x="255" y="267"/>
                </a:lnTo>
                <a:lnTo>
                  <a:pt x="249" y="267"/>
                </a:lnTo>
                <a:lnTo>
                  <a:pt x="238" y="272"/>
                </a:lnTo>
                <a:lnTo>
                  <a:pt x="232" y="272"/>
                </a:lnTo>
                <a:lnTo>
                  <a:pt x="227" y="267"/>
                </a:lnTo>
                <a:lnTo>
                  <a:pt x="221" y="267"/>
                </a:lnTo>
                <a:lnTo>
                  <a:pt x="221" y="255"/>
                </a:lnTo>
                <a:lnTo>
                  <a:pt x="221" y="250"/>
                </a:lnTo>
                <a:lnTo>
                  <a:pt x="227" y="244"/>
                </a:lnTo>
                <a:lnTo>
                  <a:pt x="227" y="238"/>
                </a:lnTo>
                <a:lnTo>
                  <a:pt x="227" y="233"/>
                </a:lnTo>
                <a:lnTo>
                  <a:pt x="227" y="227"/>
                </a:lnTo>
                <a:lnTo>
                  <a:pt x="221" y="227"/>
                </a:lnTo>
                <a:lnTo>
                  <a:pt x="221" y="221"/>
                </a:lnTo>
                <a:lnTo>
                  <a:pt x="215" y="221"/>
                </a:lnTo>
                <a:lnTo>
                  <a:pt x="210" y="221"/>
                </a:lnTo>
                <a:lnTo>
                  <a:pt x="198" y="221"/>
                </a:lnTo>
                <a:lnTo>
                  <a:pt x="193" y="216"/>
                </a:lnTo>
                <a:lnTo>
                  <a:pt x="193" y="210"/>
                </a:lnTo>
                <a:lnTo>
                  <a:pt x="187" y="210"/>
                </a:lnTo>
                <a:lnTo>
                  <a:pt x="187" y="204"/>
                </a:lnTo>
                <a:lnTo>
                  <a:pt x="187" y="199"/>
                </a:lnTo>
                <a:lnTo>
                  <a:pt x="193" y="193"/>
                </a:lnTo>
                <a:lnTo>
                  <a:pt x="198" y="193"/>
                </a:lnTo>
                <a:lnTo>
                  <a:pt x="198" y="182"/>
                </a:lnTo>
                <a:lnTo>
                  <a:pt x="198" y="176"/>
                </a:lnTo>
                <a:lnTo>
                  <a:pt x="198" y="170"/>
                </a:lnTo>
                <a:lnTo>
                  <a:pt x="193" y="170"/>
                </a:lnTo>
                <a:lnTo>
                  <a:pt x="187" y="170"/>
                </a:lnTo>
                <a:lnTo>
                  <a:pt x="181" y="170"/>
                </a:lnTo>
                <a:lnTo>
                  <a:pt x="176" y="170"/>
                </a:lnTo>
                <a:lnTo>
                  <a:pt x="170" y="170"/>
                </a:lnTo>
                <a:lnTo>
                  <a:pt x="164" y="170"/>
                </a:lnTo>
                <a:lnTo>
                  <a:pt x="159" y="170"/>
                </a:lnTo>
                <a:lnTo>
                  <a:pt x="159" y="165"/>
                </a:lnTo>
                <a:lnTo>
                  <a:pt x="153" y="165"/>
                </a:lnTo>
                <a:lnTo>
                  <a:pt x="153" y="159"/>
                </a:lnTo>
                <a:lnTo>
                  <a:pt x="147" y="159"/>
                </a:lnTo>
                <a:lnTo>
                  <a:pt x="142" y="159"/>
                </a:lnTo>
                <a:lnTo>
                  <a:pt x="142" y="165"/>
                </a:lnTo>
                <a:lnTo>
                  <a:pt x="136" y="165"/>
                </a:lnTo>
                <a:lnTo>
                  <a:pt x="130" y="165"/>
                </a:lnTo>
                <a:lnTo>
                  <a:pt x="130" y="170"/>
                </a:lnTo>
                <a:lnTo>
                  <a:pt x="119" y="170"/>
                </a:lnTo>
                <a:lnTo>
                  <a:pt x="113" y="170"/>
                </a:lnTo>
                <a:lnTo>
                  <a:pt x="108" y="170"/>
                </a:lnTo>
                <a:lnTo>
                  <a:pt x="102" y="170"/>
                </a:lnTo>
                <a:lnTo>
                  <a:pt x="96" y="176"/>
                </a:lnTo>
                <a:lnTo>
                  <a:pt x="96" y="182"/>
                </a:lnTo>
                <a:lnTo>
                  <a:pt x="91" y="182"/>
                </a:lnTo>
                <a:lnTo>
                  <a:pt x="91" y="187"/>
                </a:lnTo>
                <a:lnTo>
                  <a:pt x="91" y="193"/>
                </a:lnTo>
                <a:lnTo>
                  <a:pt x="85" y="193"/>
                </a:lnTo>
                <a:lnTo>
                  <a:pt x="85" y="199"/>
                </a:lnTo>
                <a:lnTo>
                  <a:pt x="85" y="204"/>
                </a:lnTo>
                <a:lnTo>
                  <a:pt x="79" y="204"/>
                </a:lnTo>
                <a:lnTo>
                  <a:pt x="79" y="210"/>
                </a:lnTo>
                <a:lnTo>
                  <a:pt x="79" y="216"/>
                </a:lnTo>
                <a:lnTo>
                  <a:pt x="79" y="221"/>
                </a:lnTo>
                <a:lnTo>
                  <a:pt x="74" y="227"/>
                </a:lnTo>
                <a:lnTo>
                  <a:pt x="74" y="221"/>
                </a:lnTo>
                <a:lnTo>
                  <a:pt x="68" y="221"/>
                </a:lnTo>
                <a:lnTo>
                  <a:pt x="68" y="210"/>
                </a:lnTo>
                <a:lnTo>
                  <a:pt x="68" y="204"/>
                </a:lnTo>
                <a:lnTo>
                  <a:pt x="68" y="199"/>
                </a:lnTo>
                <a:lnTo>
                  <a:pt x="68" y="193"/>
                </a:lnTo>
                <a:lnTo>
                  <a:pt x="62" y="193"/>
                </a:lnTo>
                <a:lnTo>
                  <a:pt x="57" y="187"/>
                </a:lnTo>
                <a:lnTo>
                  <a:pt x="57" y="182"/>
                </a:lnTo>
                <a:lnTo>
                  <a:pt x="51" y="182"/>
                </a:lnTo>
                <a:lnTo>
                  <a:pt x="45" y="176"/>
                </a:lnTo>
                <a:lnTo>
                  <a:pt x="45" y="170"/>
                </a:lnTo>
                <a:lnTo>
                  <a:pt x="40" y="170"/>
                </a:lnTo>
                <a:lnTo>
                  <a:pt x="40" y="16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69" name="Freeform 6"/>
          <p:cNvSpPr>
            <a:spLocks/>
          </p:cNvSpPr>
          <p:nvPr/>
        </p:nvSpPr>
        <p:spPr bwMode="gray">
          <a:xfrm>
            <a:off x="2897896" y="2173698"/>
            <a:ext cx="1614980" cy="1516081"/>
          </a:xfrm>
          <a:custGeom>
            <a:avLst/>
            <a:gdLst>
              <a:gd name="T0" fmla="*/ 2147483647 w 953"/>
              <a:gd name="T1" fmla="*/ 2147483647 h 896"/>
              <a:gd name="T2" fmla="*/ 2147483647 w 953"/>
              <a:gd name="T3" fmla="*/ 2147483647 h 896"/>
              <a:gd name="T4" fmla="*/ 2147483647 w 953"/>
              <a:gd name="T5" fmla="*/ 2147483647 h 896"/>
              <a:gd name="T6" fmla="*/ 2147483647 w 953"/>
              <a:gd name="T7" fmla="*/ 2147483647 h 896"/>
              <a:gd name="T8" fmla="*/ 2147483647 w 953"/>
              <a:gd name="T9" fmla="*/ 2147483647 h 896"/>
              <a:gd name="T10" fmla="*/ 2147483647 w 953"/>
              <a:gd name="T11" fmla="*/ 2147483647 h 896"/>
              <a:gd name="T12" fmla="*/ 2147483647 w 953"/>
              <a:gd name="T13" fmla="*/ 2147483647 h 896"/>
              <a:gd name="T14" fmla="*/ 2147483647 w 953"/>
              <a:gd name="T15" fmla="*/ 2147483647 h 896"/>
              <a:gd name="T16" fmla="*/ 2147483647 w 953"/>
              <a:gd name="T17" fmla="*/ 2147483647 h 896"/>
              <a:gd name="T18" fmla="*/ 2147483647 w 953"/>
              <a:gd name="T19" fmla="*/ 2147483647 h 896"/>
              <a:gd name="T20" fmla="*/ 2147483647 w 953"/>
              <a:gd name="T21" fmla="*/ 2147483647 h 896"/>
              <a:gd name="T22" fmla="*/ 2147483647 w 953"/>
              <a:gd name="T23" fmla="*/ 2147483647 h 896"/>
              <a:gd name="T24" fmla="*/ 2147483647 w 953"/>
              <a:gd name="T25" fmla="*/ 2147483647 h 896"/>
              <a:gd name="T26" fmla="*/ 2147483647 w 953"/>
              <a:gd name="T27" fmla="*/ 2147483647 h 896"/>
              <a:gd name="T28" fmla="*/ 2147483647 w 953"/>
              <a:gd name="T29" fmla="*/ 2147483647 h 896"/>
              <a:gd name="T30" fmla="*/ 2147483647 w 953"/>
              <a:gd name="T31" fmla="*/ 2147483647 h 896"/>
              <a:gd name="T32" fmla="*/ 2147483647 w 953"/>
              <a:gd name="T33" fmla="*/ 2147483647 h 896"/>
              <a:gd name="T34" fmla="*/ 2147483647 w 953"/>
              <a:gd name="T35" fmla="*/ 2147483647 h 896"/>
              <a:gd name="T36" fmla="*/ 2147483647 w 953"/>
              <a:gd name="T37" fmla="*/ 2147483647 h 896"/>
              <a:gd name="T38" fmla="*/ 2147483647 w 953"/>
              <a:gd name="T39" fmla="*/ 2147483647 h 896"/>
              <a:gd name="T40" fmla="*/ 0 w 953"/>
              <a:gd name="T41" fmla="*/ 2147483647 h 896"/>
              <a:gd name="T42" fmla="*/ 2147483647 w 953"/>
              <a:gd name="T43" fmla="*/ 2147483647 h 896"/>
              <a:gd name="T44" fmla="*/ 2147483647 w 953"/>
              <a:gd name="T45" fmla="*/ 2147483647 h 896"/>
              <a:gd name="T46" fmla="*/ 2147483647 w 953"/>
              <a:gd name="T47" fmla="*/ 2147483647 h 896"/>
              <a:gd name="T48" fmla="*/ 2147483647 w 953"/>
              <a:gd name="T49" fmla="*/ 2147483647 h 896"/>
              <a:gd name="T50" fmla="*/ 2147483647 w 953"/>
              <a:gd name="T51" fmla="*/ 2147483647 h 896"/>
              <a:gd name="T52" fmla="*/ 2147483647 w 953"/>
              <a:gd name="T53" fmla="*/ 2147483647 h 896"/>
              <a:gd name="T54" fmla="*/ 2147483647 w 953"/>
              <a:gd name="T55" fmla="*/ 2147483647 h 896"/>
              <a:gd name="T56" fmla="*/ 2147483647 w 953"/>
              <a:gd name="T57" fmla="*/ 2147483647 h 896"/>
              <a:gd name="T58" fmla="*/ 2147483647 w 953"/>
              <a:gd name="T59" fmla="*/ 2147483647 h 896"/>
              <a:gd name="T60" fmla="*/ 2147483647 w 953"/>
              <a:gd name="T61" fmla="*/ 2147483647 h 896"/>
              <a:gd name="T62" fmla="*/ 2147483647 w 953"/>
              <a:gd name="T63" fmla="*/ 2147483647 h 896"/>
              <a:gd name="T64" fmla="*/ 2147483647 w 953"/>
              <a:gd name="T65" fmla="*/ 2147483647 h 896"/>
              <a:gd name="T66" fmla="*/ 2147483647 w 953"/>
              <a:gd name="T67" fmla="*/ 2147483647 h 896"/>
              <a:gd name="T68" fmla="*/ 2147483647 w 953"/>
              <a:gd name="T69" fmla="*/ 2147483647 h 896"/>
              <a:gd name="T70" fmla="*/ 2147483647 w 953"/>
              <a:gd name="T71" fmla="*/ 2147483647 h 896"/>
              <a:gd name="T72" fmla="*/ 2147483647 w 953"/>
              <a:gd name="T73" fmla="*/ 2147483647 h 896"/>
              <a:gd name="T74" fmla="*/ 2147483647 w 953"/>
              <a:gd name="T75" fmla="*/ 2147483647 h 896"/>
              <a:gd name="T76" fmla="*/ 2147483647 w 953"/>
              <a:gd name="T77" fmla="*/ 2147483647 h 896"/>
              <a:gd name="T78" fmla="*/ 2147483647 w 953"/>
              <a:gd name="T79" fmla="*/ 2147483647 h 896"/>
              <a:gd name="T80" fmla="*/ 2147483647 w 953"/>
              <a:gd name="T81" fmla="*/ 2147483647 h 896"/>
              <a:gd name="T82" fmla="*/ 2147483647 w 953"/>
              <a:gd name="T83" fmla="*/ 2147483647 h 896"/>
              <a:gd name="T84" fmla="*/ 2147483647 w 953"/>
              <a:gd name="T85" fmla="*/ 2147483647 h 896"/>
              <a:gd name="T86" fmla="*/ 2147483647 w 953"/>
              <a:gd name="T87" fmla="*/ 2147483647 h 896"/>
              <a:gd name="T88" fmla="*/ 2147483647 w 953"/>
              <a:gd name="T89" fmla="*/ 2147483647 h 896"/>
              <a:gd name="T90" fmla="*/ 2147483647 w 953"/>
              <a:gd name="T91" fmla="*/ 2147483647 h 896"/>
              <a:gd name="T92" fmla="*/ 2147483647 w 953"/>
              <a:gd name="T93" fmla="*/ 2147483647 h 896"/>
              <a:gd name="T94" fmla="*/ 2147483647 w 953"/>
              <a:gd name="T95" fmla="*/ 2147483647 h 896"/>
              <a:gd name="T96" fmla="*/ 2147483647 w 953"/>
              <a:gd name="T97" fmla="*/ 2147483647 h 896"/>
              <a:gd name="T98" fmla="*/ 2147483647 w 953"/>
              <a:gd name="T99" fmla="*/ 2147483647 h 896"/>
              <a:gd name="T100" fmla="*/ 2147483647 w 953"/>
              <a:gd name="T101" fmla="*/ 2147483647 h 896"/>
              <a:gd name="T102" fmla="*/ 2147483647 w 953"/>
              <a:gd name="T103" fmla="*/ 2147483647 h 896"/>
              <a:gd name="T104" fmla="*/ 2147483647 w 953"/>
              <a:gd name="T105" fmla="*/ 2147483647 h 896"/>
              <a:gd name="T106" fmla="*/ 2147483647 w 953"/>
              <a:gd name="T107" fmla="*/ 2147483647 h 896"/>
              <a:gd name="T108" fmla="*/ 2147483647 w 953"/>
              <a:gd name="T109" fmla="*/ 2147483647 h 896"/>
              <a:gd name="T110" fmla="*/ 2147483647 w 953"/>
              <a:gd name="T111" fmla="*/ 2147483647 h 896"/>
              <a:gd name="T112" fmla="*/ 2147483647 w 953"/>
              <a:gd name="T113" fmla="*/ 2147483647 h 896"/>
              <a:gd name="T114" fmla="*/ 2147483647 w 953"/>
              <a:gd name="T115" fmla="*/ 2147483647 h 896"/>
              <a:gd name="T116" fmla="*/ 2147483647 w 953"/>
              <a:gd name="T117" fmla="*/ 2147483647 h 896"/>
              <a:gd name="T118" fmla="*/ 2147483647 w 953"/>
              <a:gd name="T119" fmla="*/ 2147483647 h 89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53"/>
              <a:gd name="T181" fmla="*/ 0 h 896"/>
              <a:gd name="T182" fmla="*/ 953 w 953"/>
              <a:gd name="T183" fmla="*/ 896 h 89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53" h="896">
                <a:moveTo>
                  <a:pt x="465" y="771"/>
                </a:moveTo>
                <a:lnTo>
                  <a:pt x="454" y="771"/>
                </a:lnTo>
                <a:lnTo>
                  <a:pt x="448" y="771"/>
                </a:lnTo>
                <a:lnTo>
                  <a:pt x="442" y="771"/>
                </a:lnTo>
                <a:lnTo>
                  <a:pt x="437" y="771"/>
                </a:lnTo>
                <a:lnTo>
                  <a:pt x="431" y="777"/>
                </a:lnTo>
                <a:lnTo>
                  <a:pt x="425" y="777"/>
                </a:lnTo>
                <a:lnTo>
                  <a:pt x="420" y="777"/>
                </a:lnTo>
                <a:lnTo>
                  <a:pt x="414" y="777"/>
                </a:lnTo>
                <a:lnTo>
                  <a:pt x="408" y="771"/>
                </a:lnTo>
                <a:lnTo>
                  <a:pt x="414" y="771"/>
                </a:lnTo>
                <a:lnTo>
                  <a:pt x="414" y="765"/>
                </a:lnTo>
                <a:lnTo>
                  <a:pt x="420" y="760"/>
                </a:lnTo>
                <a:lnTo>
                  <a:pt x="420" y="754"/>
                </a:lnTo>
                <a:lnTo>
                  <a:pt x="420" y="748"/>
                </a:lnTo>
                <a:lnTo>
                  <a:pt x="414" y="748"/>
                </a:lnTo>
                <a:lnTo>
                  <a:pt x="403" y="748"/>
                </a:lnTo>
                <a:lnTo>
                  <a:pt x="397" y="748"/>
                </a:lnTo>
                <a:lnTo>
                  <a:pt x="397" y="743"/>
                </a:lnTo>
                <a:lnTo>
                  <a:pt x="397" y="737"/>
                </a:lnTo>
                <a:lnTo>
                  <a:pt x="397" y="731"/>
                </a:lnTo>
                <a:lnTo>
                  <a:pt x="397" y="726"/>
                </a:lnTo>
                <a:lnTo>
                  <a:pt x="397" y="720"/>
                </a:lnTo>
                <a:lnTo>
                  <a:pt x="403" y="720"/>
                </a:lnTo>
                <a:lnTo>
                  <a:pt x="403" y="714"/>
                </a:lnTo>
                <a:lnTo>
                  <a:pt x="408" y="709"/>
                </a:lnTo>
                <a:lnTo>
                  <a:pt x="414" y="709"/>
                </a:lnTo>
                <a:lnTo>
                  <a:pt x="414" y="703"/>
                </a:lnTo>
                <a:lnTo>
                  <a:pt x="420" y="703"/>
                </a:lnTo>
                <a:lnTo>
                  <a:pt x="425" y="697"/>
                </a:lnTo>
                <a:lnTo>
                  <a:pt x="425" y="692"/>
                </a:lnTo>
                <a:lnTo>
                  <a:pt x="425" y="686"/>
                </a:lnTo>
                <a:lnTo>
                  <a:pt x="431" y="680"/>
                </a:lnTo>
                <a:lnTo>
                  <a:pt x="431" y="675"/>
                </a:lnTo>
                <a:lnTo>
                  <a:pt x="437" y="675"/>
                </a:lnTo>
                <a:lnTo>
                  <a:pt x="442" y="675"/>
                </a:lnTo>
                <a:lnTo>
                  <a:pt x="442" y="669"/>
                </a:lnTo>
                <a:lnTo>
                  <a:pt x="437" y="669"/>
                </a:lnTo>
                <a:lnTo>
                  <a:pt x="437" y="663"/>
                </a:lnTo>
                <a:lnTo>
                  <a:pt x="431" y="663"/>
                </a:lnTo>
                <a:lnTo>
                  <a:pt x="425" y="663"/>
                </a:lnTo>
                <a:lnTo>
                  <a:pt x="425" y="658"/>
                </a:lnTo>
                <a:lnTo>
                  <a:pt x="420" y="658"/>
                </a:lnTo>
                <a:lnTo>
                  <a:pt x="414" y="652"/>
                </a:lnTo>
                <a:lnTo>
                  <a:pt x="414" y="646"/>
                </a:lnTo>
                <a:lnTo>
                  <a:pt x="420" y="646"/>
                </a:lnTo>
                <a:lnTo>
                  <a:pt x="420" y="641"/>
                </a:lnTo>
                <a:lnTo>
                  <a:pt x="425" y="641"/>
                </a:lnTo>
                <a:lnTo>
                  <a:pt x="425" y="635"/>
                </a:lnTo>
                <a:lnTo>
                  <a:pt x="420" y="635"/>
                </a:lnTo>
                <a:lnTo>
                  <a:pt x="414" y="635"/>
                </a:lnTo>
                <a:lnTo>
                  <a:pt x="408" y="635"/>
                </a:lnTo>
                <a:lnTo>
                  <a:pt x="403" y="635"/>
                </a:lnTo>
                <a:lnTo>
                  <a:pt x="397" y="629"/>
                </a:lnTo>
                <a:lnTo>
                  <a:pt x="397" y="624"/>
                </a:lnTo>
                <a:lnTo>
                  <a:pt x="397" y="618"/>
                </a:lnTo>
                <a:lnTo>
                  <a:pt x="403" y="618"/>
                </a:lnTo>
                <a:lnTo>
                  <a:pt x="408" y="618"/>
                </a:lnTo>
                <a:lnTo>
                  <a:pt x="414" y="612"/>
                </a:lnTo>
                <a:lnTo>
                  <a:pt x="420" y="607"/>
                </a:lnTo>
                <a:lnTo>
                  <a:pt x="425" y="607"/>
                </a:lnTo>
                <a:lnTo>
                  <a:pt x="425" y="601"/>
                </a:lnTo>
                <a:lnTo>
                  <a:pt x="425" y="595"/>
                </a:lnTo>
                <a:lnTo>
                  <a:pt x="425" y="590"/>
                </a:lnTo>
                <a:lnTo>
                  <a:pt x="425" y="578"/>
                </a:lnTo>
                <a:lnTo>
                  <a:pt x="425" y="567"/>
                </a:lnTo>
                <a:lnTo>
                  <a:pt x="420" y="561"/>
                </a:lnTo>
                <a:lnTo>
                  <a:pt x="420" y="556"/>
                </a:lnTo>
                <a:lnTo>
                  <a:pt x="425" y="544"/>
                </a:lnTo>
                <a:lnTo>
                  <a:pt x="425" y="539"/>
                </a:lnTo>
                <a:lnTo>
                  <a:pt x="425" y="533"/>
                </a:lnTo>
                <a:lnTo>
                  <a:pt x="420" y="533"/>
                </a:lnTo>
                <a:lnTo>
                  <a:pt x="420" y="527"/>
                </a:lnTo>
                <a:lnTo>
                  <a:pt x="414" y="527"/>
                </a:lnTo>
                <a:lnTo>
                  <a:pt x="408" y="522"/>
                </a:lnTo>
                <a:lnTo>
                  <a:pt x="403" y="522"/>
                </a:lnTo>
                <a:lnTo>
                  <a:pt x="397" y="522"/>
                </a:lnTo>
                <a:lnTo>
                  <a:pt x="386" y="527"/>
                </a:lnTo>
                <a:lnTo>
                  <a:pt x="380" y="527"/>
                </a:lnTo>
                <a:lnTo>
                  <a:pt x="374" y="527"/>
                </a:lnTo>
                <a:lnTo>
                  <a:pt x="369" y="527"/>
                </a:lnTo>
                <a:lnTo>
                  <a:pt x="357" y="527"/>
                </a:lnTo>
                <a:lnTo>
                  <a:pt x="346" y="522"/>
                </a:lnTo>
                <a:lnTo>
                  <a:pt x="340" y="522"/>
                </a:lnTo>
                <a:lnTo>
                  <a:pt x="329" y="522"/>
                </a:lnTo>
                <a:lnTo>
                  <a:pt x="323" y="522"/>
                </a:lnTo>
                <a:lnTo>
                  <a:pt x="318" y="522"/>
                </a:lnTo>
                <a:lnTo>
                  <a:pt x="312" y="522"/>
                </a:lnTo>
                <a:lnTo>
                  <a:pt x="306" y="516"/>
                </a:lnTo>
                <a:lnTo>
                  <a:pt x="301" y="510"/>
                </a:lnTo>
                <a:lnTo>
                  <a:pt x="289" y="505"/>
                </a:lnTo>
                <a:lnTo>
                  <a:pt x="289" y="499"/>
                </a:lnTo>
                <a:lnTo>
                  <a:pt x="284" y="499"/>
                </a:lnTo>
                <a:lnTo>
                  <a:pt x="284" y="493"/>
                </a:lnTo>
                <a:lnTo>
                  <a:pt x="284" y="488"/>
                </a:lnTo>
                <a:lnTo>
                  <a:pt x="284" y="482"/>
                </a:lnTo>
                <a:lnTo>
                  <a:pt x="289" y="482"/>
                </a:lnTo>
                <a:lnTo>
                  <a:pt x="295" y="476"/>
                </a:lnTo>
                <a:lnTo>
                  <a:pt x="295" y="471"/>
                </a:lnTo>
                <a:lnTo>
                  <a:pt x="301" y="471"/>
                </a:lnTo>
                <a:lnTo>
                  <a:pt x="301" y="465"/>
                </a:lnTo>
                <a:lnTo>
                  <a:pt x="306" y="465"/>
                </a:lnTo>
                <a:lnTo>
                  <a:pt x="312" y="465"/>
                </a:lnTo>
                <a:lnTo>
                  <a:pt x="312" y="459"/>
                </a:lnTo>
                <a:lnTo>
                  <a:pt x="318" y="454"/>
                </a:lnTo>
                <a:lnTo>
                  <a:pt x="323" y="448"/>
                </a:lnTo>
                <a:lnTo>
                  <a:pt x="329" y="448"/>
                </a:lnTo>
                <a:lnTo>
                  <a:pt x="329" y="442"/>
                </a:lnTo>
                <a:lnTo>
                  <a:pt x="335" y="442"/>
                </a:lnTo>
                <a:lnTo>
                  <a:pt x="335" y="437"/>
                </a:lnTo>
                <a:lnTo>
                  <a:pt x="340" y="431"/>
                </a:lnTo>
                <a:lnTo>
                  <a:pt x="340" y="425"/>
                </a:lnTo>
                <a:lnTo>
                  <a:pt x="335" y="425"/>
                </a:lnTo>
                <a:lnTo>
                  <a:pt x="335" y="420"/>
                </a:lnTo>
                <a:lnTo>
                  <a:pt x="329" y="414"/>
                </a:lnTo>
                <a:lnTo>
                  <a:pt x="323" y="408"/>
                </a:lnTo>
                <a:lnTo>
                  <a:pt x="318" y="408"/>
                </a:lnTo>
                <a:lnTo>
                  <a:pt x="312" y="408"/>
                </a:lnTo>
                <a:lnTo>
                  <a:pt x="306" y="408"/>
                </a:lnTo>
                <a:lnTo>
                  <a:pt x="301" y="408"/>
                </a:lnTo>
                <a:lnTo>
                  <a:pt x="295" y="403"/>
                </a:lnTo>
                <a:lnTo>
                  <a:pt x="289" y="403"/>
                </a:lnTo>
                <a:lnTo>
                  <a:pt x="289" y="397"/>
                </a:lnTo>
                <a:lnTo>
                  <a:pt x="295" y="391"/>
                </a:lnTo>
                <a:lnTo>
                  <a:pt x="295" y="385"/>
                </a:lnTo>
                <a:lnTo>
                  <a:pt x="301" y="380"/>
                </a:lnTo>
                <a:lnTo>
                  <a:pt x="301" y="374"/>
                </a:lnTo>
                <a:lnTo>
                  <a:pt x="301" y="368"/>
                </a:lnTo>
                <a:lnTo>
                  <a:pt x="301" y="357"/>
                </a:lnTo>
                <a:lnTo>
                  <a:pt x="295" y="357"/>
                </a:lnTo>
                <a:lnTo>
                  <a:pt x="289" y="351"/>
                </a:lnTo>
                <a:lnTo>
                  <a:pt x="289" y="346"/>
                </a:lnTo>
                <a:lnTo>
                  <a:pt x="284" y="346"/>
                </a:lnTo>
                <a:lnTo>
                  <a:pt x="272" y="346"/>
                </a:lnTo>
                <a:lnTo>
                  <a:pt x="267" y="346"/>
                </a:lnTo>
                <a:lnTo>
                  <a:pt x="261" y="346"/>
                </a:lnTo>
                <a:lnTo>
                  <a:pt x="261" y="340"/>
                </a:lnTo>
                <a:lnTo>
                  <a:pt x="261" y="334"/>
                </a:lnTo>
                <a:lnTo>
                  <a:pt x="261" y="329"/>
                </a:lnTo>
                <a:lnTo>
                  <a:pt x="267" y="329"/>
                </a:lnTo>
                <a:lnTo>
                  <a:pt x="267" y="323"/>
                </a:lnTo>
                <a:lnTo>
                  <a:pt x="261" y="317"/>
                </a:lnTo>
                <a:lnTo>
                  <a:pt x="261" y="312"/>
                </a:lnTo>
                <a:lnTo>
                  <a:pt x="255" y="312"/>
                </a:lnTo>
                <a:lnTo>
                  <a:pt x="250" y="312"/>
                </a:lnTo>
                <a:lnTo>
                  <a:pt x="244" y="306"/>
                </a:lnTo>
                <a:lnTo>
                  <a:pt x="233" y="306"/>
                </a:lnTo>
                <a:lnTo>
                  <a:pt x="227" y="306"/>
                </a:lnTo>
                <a:lnTo>
                  <a:pt x="227" y="312"/>
                </a:lnTo>
                <a:lnTo>
                  <a:pt x="221" y="312"/>
                </a:lnTo>
                <a:lnTo>
                  <a:pt x="216" y="312"/>
                </a:lnTo>
                <a:lnTo>
                  <a:pt x="216" y="317"/>
                </a:lnTo>
                <a:lnTo>
                  <a:pt x="221" y="317"/>
                </a:lnTo>
                <a:lnTo>
                  <a:pt x="227" y="323"/>
                </a:lnTo>
                <a:lnTo>
                  <a:pt x="227" y="329"/>
                </a:lnTo>
                <a:lnTo>
                  <a:pt x="210" y="329"/>
                </a:lnTo>
                <a:lnTo>
                  <a:pt x="199" y="329"/>
                </a:lnTo>
                <a:lnTo>
                  <a:pt x="199" y="334"/>
                </a:lnTo>
                <a:lnTo>
                  <a:pt x="187" y="334"/>
                </a:lnTo>
                <a:lnTo>
                  <a:pt x="182" y="334"/>
                </a:lnTo>
                <a:lnTo>
                  <a:pt x="182" y="340"/>
                </a:lnTo>
                <a:lnTo>
                  <a:pt x="176" y="340"/>
                </a:lnTo>
                <a:lnTo>
                  <a:pt x="170" y="340"/>
                </a:lnTo>
                <a:lnTo>
                  <a:pt x="165" y="340"/>
                </a:lnTo>
                <a:lnTo>
                  <a:pt x="159" y="346"/>
                </a:lnTo>
                <a:lnTo>
                  <a:pt x="153" y="340"/>
                </a:lnTo>
                <a:lnTo>
                  <a:pt x="148" y="334"/>
                </a:lnTo>
                <a:lnTo>
                  <a:pt x="148" y="329"/>
                </a:lnTo>
                <a:lnTo>
                  <a:pt x="148" y="323"/>
                </a:lnTo>
                <a:lnTo>
                  <a:pt x="142" y="323"/>
                </a:lnTo>
                <a:lnTo>
                  <a:pt x="142" y="317"/>
                </a:lnTo>
                <a:lnTo>
                  <a:pt x="136" y="317"/>
                </a:lnTo>
                <a:lnTo>
                  <a:pt x="131" y="317"/>
                </a:lnTo>
                <a:lnTo>
                  <a:pt x="131" y="323"/>
                </a:lnTo>
                <a:lnTo>
                  <a:pt x="125" y="323"/>
                </a:lnTo>
                <a:lnTo>
                  <a:pt x="125" y="329"/>
                </a:lnTo>
                <a:lnTo>
                  <a:pt x="119" y="329"/>
                </a:lnTo>
                <a:lnTo>
                  <a:pt x="114" y="329"/>
                </a:lnTo>
                <a:lnTo>
                  <a:pt x="114" y="334"/>
                </a:lnTo>
                <a:lnTo>
                  <a:pt x="108" y="334"/>
                </a:lnTo>
                <a:lnTo>
                  <a:pt x="108" y="340"/>
                </a:lnTo>
                <a:lnTo>
                  <a:pt x="97" y="346"/>
                </a:lnTo>
                <a:lnTo>
                  <a:pt x="91" y="346"/>
                </a:lnTo>
                <a:lnTo>
                  <a:pt x="91" y="351"/>
                </a:lnTo>
                <a:lnTo>
                  <a:pt x="91" y="357"/>
                </a:lnTo>
                <a:lnTo>
                  <a:pt x="85" y="357"/>
                </a:lnTo>
                <a:lnTo>
                  <a:pt x="80" y="357"/>
                </a:lnTo>
                <a:lnTo>
                  <a:pt x="80" y="363"/>
                </a:lnTo>
                <a:lnTo>
                  <a:pt x="74" y="363"/>
                </a:lnTo>
                <a:lnTo>
                  <a:pt x="74" y="368"/>
                </a:lnTo>
                <a:lnTo>
                  <a:pt x="68" y="368"/>
                </a:lnTo>
                <a:lnTo>
                  <a:pt x="63" y="368"/>
                </a:lnTo>
                <a:lnTo>
                  <a:pt x="63" y="374"/>
                </a:lnTo>
                <a:lnTo>
                  <a:pt x="63" y="380"/>
                </a:lnTo>
                <a:lnTo>
                  <a:pt x="57" y="380"/>
                </a:lnTo>
                <a:lnTo>
                  <a:pt x="57" y="385"/>
                </a:lnTo>
                <a:lnTo>
                  <a:pt x="51" y="397"/>
                </a:lnTo>
                <a:lnTo>
                  <a:pt x="46" y="397"/>
                </a:lnTo>
                <a:lnTo>
                  <a:pt x="46" y="403"/>
                </a:lnTo>
                <a:lnTo>
                  <a:pt x="40" y="403"/>
                </a:lnTo>
                <a:lnTo>
                  <a:pt x="34" y="403"/>
                </a:lnTo>
                <a:lnTo>
                  <a:pt x="29" y="403"/>
                </a:lnTo>
                <a:lnTo>
                  <a:pt x="23" y="403"/>
                </a:lnTo>
                <a:lnTo>
                  <a:pt x="17" y="403"/>
                </a:lnTo>
                <a:lnTo>
                  <a:pt x="17" y="397"/>
                </a:lnTo>
                <a:lnTo>
                  <a:pt x="17" y="391"/>
                </a:lnTo>
                <a:lnTo>
                  <a:pt x="17" y="385"/>
                </a:lnTo>
                <a:lnTo>
                  <a:pt x="17" y="380"/>
                </a:lnTo>
                <a:lnTo>
                  <a:pt x="12" y="380"/>
                </a:lnTo>
                <a:lnTo>
                  <a:pt x="12" y="374"/>
                </a:lnTo>
                <a:lnTo>
                  <a:pt x="6" y="374"/>
                </a:lnTo>
                <a:lnTo>
                  <a:pt x="0" y="374"/>
                </a:lnTo>
                <a:lnTo>
                  <a:pt x="0" y="368"/>
                </a:lnTo>
                <a:lnTo>
                  <a:pt x="0" y="363"/>
                </a:lnTo>
                <a:lnTo>
                  <a:pt x="0" y="357"/>
                </a:lnTo>
                <a:lnTo>
                  <a:pt x="0" y="351"/>
                </a:lnTo>
                <a:lnTo>
                  <a:pt x="0" y="346"/>
                </a:lnTo>
                <a:lnTo>
                  <a:pt x="6" y="340"/>
                </a:lnTo>
                <a:lnTo>
                  <a:pt x="6" y="334"/>
                </a:lnTo>
                <a:lnTo>
                  <a:pt x="12" y="334"/>
                </a:lnTo>
                <a:lnTo>
                  <a:pt x="12" y="329"/>
                </a:lnTo>
                <a:lnTo>
                  <a:pt x="6" y="317"/>
                </a:lnTo>
                <a:lnTo>
                  <a:pt x="6" y="312"/>
                </a:lnTo>
                <a:lnTo>
                  <a:pt x="12" y="312"/>
                </a:lnTo>
                <a:lnTo>
                  <a:pt x="12" y="300"/>
                </a:lnTo>
                <a:lnTo>
                  <a:pt x="6" y="300"/>
                </a:lnTo>
                <a:lnTo>
                  <a:pt x="6" y="295"/>
                </a:lnTo>
                <a:lnTo>
                  <a:pt x="6" y="289"/>
                </a:lnTo>
                <a:lnTo>
                  <a:pt x="0" y="289"/>
                </a:lnTo>
                <a:lnTo>
                  <a:pt x="0" y="283"/>
                </a:lnTo>
                <a:lnTo>
                  <a:pt x="0" y="278"/>
                </a:lnTo>
                <a:lnTo>
                  <a:pt x="6" y="272"/>
                </a:lnTo>
                <a:lnTo>
                  <a:pt x="6" y="266"/>
                </a:lnTo>
                <a:lnTo>
                  <a:pt x="6" y="261"/>
                </a:lnTo>
                <a:lnTo>
                  <a:pt x="6" y="255"/>
                </a:lnTo>
                <a:lnTo>
                  <a:pt x="6" y="249"/>
                </a:lnTo>
                <a:lnTo>
                  <a:pt x="12" y="244"/>
                </a:lnTo>
                <a:lnTo>
                  <a:pt x="17" y="238"/>
                </a:lnTo>
                <a:lnTo>
                  <a:pt x="17" y="232"/>
                </a:lnTo>
                <a:lnTo>
                  <a:pt x="23" y="227"/>
                </a:lnTo>
                <a:lnTo>
                  <a:pt x="29" y="227"/>
                </a:lnTo>
                <a:lnTo>
                  <a:pt x="34" y="227"/>
                </a:lnTo>
                <a:lnTo>
                  <a:pt x="40" y="227"/>
                </a:lnTo>
                <a:lnTo>
                  <a:pt x="46" y="227"/>
                </a:lnTo>
                <a:lnTo>
                  <a:pt x="46" y="221"/>
                </a:lnTo>
                <a:lnTo>
                  <a:pt x="46" y="215"/>
                </a:lnTo>
                <a:lnTo>
                  <a:pt x="51" y="215"/>
                </a:lnTo>
                <a:lnTo>
                  <a:pt x="51" y="204"/>
                </a:lnTo>
                <a:lnTo>
                  <a:pt x="57" y="204"/>
                </a:lnTo>
                <a:lnTo>
                  <a:pt x="57" y="198"/>
                </a:lnTo>
                <a:lnTo>
                  <a:pt x="63" y="193"/>
                </a:lnTo>
                <a:lnTo>
                  <a:pt x="68" y="193"/>
                </a:lnTo>
                <a:lnTo>
                  <a:pt x="68" y="187"/>
                </a:lnTo>
                <a:lnTo>
                  <a:pt x="74" y="187"/>
                </a:lnTo>
                <a:lnTo>
                  <a:pt x="74" y="181"/>
                </a:lnTo>
                <a:lnTo>
                  <a:pt x="80" y="181"/>
                </a:lnTo>
                <a:lnTo>
                  <a:pt x="91" y="176"/>
                </a:lnTo>
                <a:lnTo>
                  <a:pt x="91" y="170"/>
                </a:lnTo>
                <a:lnTo>
                  <a:pt x="102" y="170"/>
                </a:lnTo>
                <a:lnTo>
                  <a:pt x="102" y="164"/>
                </a:lnTo>
                <a:lnTo>
                  <a:pt x="108" y="164"/>
                </a:lnTo>
                <a:lnTo>
                  <a:pt x="114" y="170"/>
                </a:lnTo>
                <a:lnTo>
                  <a:pt x="119" y="170"/>
                </a:lnTo>
                <a:lnTo>
                  <a:pt x="125" y="176"/>
                </a:lnTo>
                <a:lnTo>
                  <a:pt x="131" y="176"/>
                </a:lnTo>
                <a:lnTo>
                  <a:pt x="142" y="176"/>
                </a:lnTo>
                <a:lnTo>
                  <a:pt x="148" y="176"/>
                </a:lnTo>
                <a:lnTo>
                  <a:pt x="153" y="176"/>
                </a:lnTo>
                <a:lnTo>
                  <a:pt x="159" y="176"/>
                </a:lnTo>
                <a:lnTo>
                  <a:pt x="176" y="170"/>
                </a:lnTo>
                <a:lnTo>
                  <a:pt x="182" y="170"/>
                </a:lnTo>
                <a:lnTo>
                  <a:pt x="187" y="164"/>
                </a:lnTo>
                <a:lnTo>
                  <a:pt x="193" y="164"/>
                </a:lnTo>
                <a:lnTo>
                  <a:pt x="199" y="164"/>
                </a:lnTo>
                <a:lnTo>
                  <a:pt x="199" y="159"/>
                </a:lnTo>
                <a:lnTo>
                  <a:pt x="204" y="159"/>
                </a:lnTo>
                <a:lnTo>
                  <a:pt x="210" y="153"/>
                </a:lnTo>
                <a:lnTo>
                  <a:pt x="216" y="147"/>
                </a:lnTo>
                <a:lnTo>
                  <a:pt x="216" y="142"/>
                </a:lnTo>
                <a:lnTo>
                  <a:pt x="221" y="142"/>
                </a:lnTo>
                <a:lnTo>
                  <a:pt x="221" y="136"/>
                </a:lnTo>
                <a:lnTo>
                  <a:pt x="227" y="130"/>
                </a:lnTo>
                <a:lnTo>
                  <a:pt x="227" y="125"/>
                </a:lnTo>
                <a:lnTo>
                  <a:pt x="227" y="119"/>
                </a:lnTo>
                <a:lnTo>
                  <a:pt x="227" y="108"/>
                </a:lnTo>
                <a:lnTo>
                  <a:pt x="233" y="96"/>
                </a:lnTo>
                <a:lnTo>
                  <a:pt x="233" y="91"/>
                </a:lnTo>
                <a:lnTo>
                  <a:pt x="238" y="85"/>
                </a:lnTo>
                <a:lnTo>
                  <a:pt x="244" y="85"/>
                </a:lnTo>
                <a:lnTo>
                  <a:pt x="244" y="79"/>
                </a:lnTo>
                <a:lnTo>
                  <a:pt x="250" y="79"/>
                </a:lnTo>
                <a:lnTo>
                  <a:pt x="255" y="79"/>
                </a:lnTo>
                <a:lnTo>
                  <a:pt x="255" y="74"/>
                </a:lnTo>
                <a:lnTo>
                  <a:pt x="261" y="74"/>
                </a:lnTo>
                <a:lnTo>
                  <a:pt x="261" y="68"/>
                </a:lnTo>
                <a:lnTo>
                  <a:pt x="267" y="68"/>
                </a:lnTo>
                <a:lnTo>
                  <a:pt x="272" y="62"/>
                </a:lnTo>
                <a:lnTo>
                  <a:pt x="278" y="57"/>
                </a:lnTo>
                <a:lnTo>
                  <a:pt x="284" y="51"/>
                </a:lnTo>
                <a:lnTo>
                  <a:pt x="278" y="45"/>
                </a:lnTo>
                <a:lnTo>
                  <a:pt x="284" y="51"/>
                </a:lnTo>
                <a:lnTo>
                  <a:pt x="289" y="51"/>
                </a:lnTo>
                <a:lnTo>
                  <a:pt x="295" y="51"/>
                </a:lnTo>
                <a:lnTo>
                  <a:pt x="306" y="51"/>
                </a:lnTo>
                <a:lnTo>
                  <a:pt x="312" y="57"/>
                </a:lnTo>
                <a:lnTo>
                  <a:pt x="318" y="57"/>
                </a:lnTo>
                <a:lnTo>
                  <a:pt x="318" y="62"/>
                </a:lnTo>
                <a:lnTo>
                  <a:pt x="318" y="68"/>
                </a:lnTo>
                <a:lnTo>
                  <a:pt x="318" y="79"/>
                </a:lnTo>
                <a:lnTo>
                  <a:pt x="312" y="79"/>
                </a:lnTo>
                <a:lnTo>
                  <a:pt x="312" y="85"/>
                </a:lnTo>
                <a:lnTo>
                  <a:pt x="312" y="91"/>
                </a:lnTo>
                <a:lnTo>
                  <a:pt x="312" y="96"/>
                </a:lnTo>
                <a:lnTo>
                  <a:pt x="318" y="96"/>
                </a:lnTo>
                <a:lnTo>
                  <a:pt x="318" y="102"/>
                </a:lnTo>
                <a:lnTo>
                  <a:pt x="323" y="102"/>
                </a:lnTo>
                <a:lnTo>
                  <a:pt x="329" y="108"/>
                </a:lnTo>
                <a:lnTo>
                  <a:pt x="335" y="108"/>
                </a:lnTo>
                <a:lnTo>
                  <a:pt x="340" y="108"/>
                </a:lnTo>
                <a:lnTo>
                  <a:pt x="340" y="113"/>
                </a:lnTo>
                <a:lnTo>
                  <a:pt x="346" y="113"/>
                </a:lnTo>
                <a:lnTo>
                  <a:pt x="346" y="119"/>
                </a:lnTo>
                <a:lnTo>
                  <a:pt x="352" y="119"/>
                </a:lnTo>
                <a:lnTo>
                  <a:pt x="357" y="125"/>
                </a:lnTo>
                <a:lnTo>
                  <a:pt x="357" y="130"/>
                </a:lnTo>
                <a:lnTo>
                  <a:pt x="369" y="136"/>
                </a:lnTo>
                <a:lnTo>
                  <a:pt x="374" y="136"/>
                </a:lnTo>
                <a:lnTo>
                  <a:pt x="380" y="130"/>
                </a:lnTo>
                <a:lnTo>
                  <a:pt x="386" y="130"/>
                </a:lnTo>
                <a:lnTo>
                  <a:pt x="386" y="125"/>
                </a:lnTo>
                <a:lnTo>
                  <a:pt x="386" y="119"/>
                </a:lnTo>
                <a:lnTo>
                  <a:pt x="386" y="113"/>
                </a:lnTo>
                <a:lnTo>
                  <a:pt x="386" y="108"/>
                </a:lnTo>
                <a:lnTo>
                  <a:pt x="386" y="96"/>
                </a:lnTo>
                <a:lnTo>
                  <a:pt x="386" y="91"/>
                </a:lnTo>
                <a:lnTo>
                  <a:pt x="386" y="85"/>
                </a:lnTo>
                <a:lnTo>
                  <a:pt x="397" y="79"/>
                </a:lnTo>
                <a:lnTo>
                  <a:pt x="408" y="79"/>
                </a:lnTo>
                <a:lnTo>
                  <a:pt x="414" y="79"/>
                </a:lnTo>
                <a:lnTo>
                  <a:pt x="420" y="85"/>
                </a:lnTo>
                <a:lnTo>
                  <a:pt x="425" y="85"/>
                </a:lnTo>
                <a:lnTo>
                  <a:pt x="431" y="85"/>
                </a:lnTo>
                <a:lnTo>
                  <a:pt x="437" y="85"/>
                </a:lnTo>
                <a:lnTo>
                  <a:pt x="437" y="79"/>
                </a:lnTo>
                <a:lnTo>
                  <a:pt x="442" y="79"/>
                </a:lnTo>
                <a:lnTo>
                  <a:pt x="442" y="62"/>
                </a:lnTo>
                <a:lnTo>
                  <a:pt x="448" y="57"/>
                </a:lnTo>
                <a:lnTo>
                  <a:pt x="448" y="51"/>
                </a:lnTo>
                <a:lnTo>
                  <a:pt x="454" y="51"/>
                </a:lnTo>
                <a:lnTo>
                  <a:pt x="460" y="51"/>
                </a:lnTo>
                <a:lnTo>
                  <a:pt x="465" y="45"/>
                </a:lnTo>
                <a:lnTo>
                  <a:pt x="471" y="45"/>
                </a:lnTo>
                <a:lnTo>
                  <a:pt x="482" y="45"/>
                </a:lnTo>
                <a:lnTo>
                  <a:pt x="488" y="45"/>
                </a:lnTo>
                <a:lnTo>
                  <a:pt x="494" y="51"/>
                </a:lnTo>
                <a:lnTo>
                  <a:pt x="499" y="51"/>
                </a:lnTo>
                <a:lnTo>
                  <a:pt x="499" y="57"/>
                </a:lnTo>
                <a:lnTo>
                  <a:pt x="505" y="62"/>
                </a:lnTo>
                <a:lnTo>
                  <a:pt x="511" y="62"/>
                </a:lnTo>
                <a:lnTo>
                  <a:pt x="516" y="68"/>
                </a:lnTo>
                <a:lnTo>
                  <a:pt x="522" y="68"/>
                </a:lnTo>
                <a:lnTo>
                  <a:pt x="528" y="79"/>
                </a:lnTo>
                <a:lnTo>
                  <a:pt x="528" y="85"/>
                </a:lnTo>
                <a:lnTo>
                  <a:pt x="528" y="91"/>
                </a:lnTo>
                <a:lnTo>
                  <a:pt x="528" y="102"/>
                </a:lnTo>
                <a:lnTo>
                  <a:pt x="528" y="108"/>
                </a:lnTo>
                <a:lnTo>
                  <a:pt x="533" y="108"/>
                </a:lnTo>
                <a:lnTo>
                  <a:pt x="539" y="108"/>
                </a:lnTo>
                <a:lnTo>
                  <a:pt x="545" y="108"/>
                </a:lnTo>
                <a:lnTo>
                  <a:pt x="550" y="108"/>
                </a:lnTo>
                <a:lnTo>
                  <a:pt x="556" y="102"/>
                </a:lnTo>
                <a:lnTo>
                  <a:pt x="556" y="96"/>
                </a:lnTo>
                <a:lnTo>
                  <a:pt x="567" y="91"/>
                </a:lnTo>
                <a:lnTo>
                  <a:pt x="573" y="91"/>
                </a:lnTo>
                <a:lnTo>
                  <a:pt x="573" y="85"/>
                </a:lnTo>
                <a:lnTo>
                  <a:pt x="579" y="85"/>
                </a:lnTo>
                <a:lnTo>
                  <a:pt x="579" y="79"/>
                </a:lnTo>
                <a:lnTo>
                  <a:pt x="584" y="79"/>
                </a:lnTo>
                <a:lnTo>
                  <a:pt x="584" y="74"/>
                </a:lnTo>
                <a:lnTo>
                  <a:pt x="590" y="74"/>
                </a:lnTo>
                <a:lnTo>
                  <a:pt x="596" y="68"/>
                </a:lnTo>
                <a:lnTo>
                  <a:pt x="601" y="68"/>
                </a:lnTo>
                <a:lnTo>
                  <a:pt x="613" y="62"/>
                </a:lnTo>
                <a:lnTo>
                  <a:pt x="613" y="57"/>
                </a:lnTo>
                <a:lnTo>
                  <a:pt x="618" y="51"/>
                </a:lnTo>
                <a:lnTo>
                  <a:pt x="624" y="51"/>
                </a:lnTo>
                <a:lnTo>
                  <a:pt x="630" y="45"/>
                </a:lnTo>
                <a:lnTo>
                  <a:pt x="635" y="40"/>
                </a:lnTo>
                <a:lnTo>
                  <a:pt x="641" y="34"/>
                </a:lnTo>
                <a:lnTo>
                  <a:pt x="652" y="23"/>
                </a:lnTo>
                <a:lnTo>
                  <a:pt x="664" y="23"/>
                </a:lnTo>
                <a:lnTo>
                  <a:pt x="669" y="17"/>
                </a:lnTo>
                <a:lnTo>
                  <a:pt x="675" y="11"/>
                </a:lnTo>
                <a:lnTo>
                  <a:pt x="681" y="11"/>
                </a:lnTo>
                <a:lnTo>
                  <a:pt x="686" y="11"/>
                </a:lnTo>
                <a:lnTo>
                  <a:pt x="692" y="11"/>
                </a:lnTo>
                <a:lnTo>
                  <a:pt x="698" y="6"/>
                </a:lnTo>
                <a:lnTo>
                  <a:pt x="703" y="6"/>
                </a:lnTo>
                <a:lnTo>
                  <a:pt x="709" y="6"/>
                </a:lnTo>
                <a:lnTo>
                  <a:pt x="715" y="0"/>
                </a:lnTo>
                <a:lnTo>
                  <a:pt x="720" y="6"/>
                </a:lnTo>
                <a:lnTo>
                  <a:pt x="726" y="17"/>
                </a:lnTo>
                <a:lnTo>
                  <a:pt x="726" y="23"/>
                </a:lnTo>
                <a:lnTo>
                  <a:pt x="726" y="34"/>
                </a:lnTo>
                <a:lnTo>
                  <a:pt x="726" y="40"/>
                </a:lnTo>
                <a:lnTo>
                  <a:pt x="720" y="40"/>
                </a:lnTo>
                <a:lnTo>
                  <a:pt x="720" y="45"/>
                </a:lnTo>
                <a:lnTo>
                  <a:pt x="726" y="45"/>
                </a:lnTo>
                <a:lnTo>
                  <a:pt x="726" y="51"/>
                </a:lnTo>
                <a:lnTo>
                  <a:pt x="726" y="57"/>
                </a:lnTo>
                <a:lnTo>
                  <a:pt x="726" y="62"/>
                </a:lnTo>
                <a:lnTo>
                  <a:pt x="732" y="62"/>
                </a:lnTo>
                <a:lnTo>
                  <a:pt x="737" y="62"/>
                </a:lnTo>
                <a:lnTo>
                  <a:pt x="743" y="62"/>
                </a:lnTo>
                <a:lnTo>
                  <a:pt x="749" y="68"/>
                </a:lnTo>
                <a:lnTo>
                  <a:pt x="754" y="68"/>
                </a:lnTo>
                <a:lnTo>
                  <a:pt x="760" y="74"/>
                </a:lnTo>
                <a:lnTo>
                  <a:pt x="766" y="74"/>
                </a:lnTo>
                <a:lnTo>
                  <a:pt x="766" y="79"/>
                </a:lnTo>
                <a:lnTo>
                  <a:pt x="771" y="79"/>
                </a:lnTo>
                <a:lnTo>
                  <a:pt x="771" y="91"/>
                </a:lnTo>
                <a:lnTo>
                  <a:pt x="777" y="96"/>
                </a:lnTo>
                <a:lnTo>
                  <a:pt x="783" y="102"/>
                </a:lnTo>
                <a:lnTo>
                  <a:pt x="783" y="108"/>
                </a:lnTo>
                <a:lnTo>
                  <a:pt x="788" y="108"/>
                </a:lnTo>
                <a:lnTo>
                  <a:pt x="794" y="108"/>
                </a:lnTo>
                <a:lnTo>
                  <a:pt x="800" y="108"/>
                </a:lnTo>
                <a:lnTo>
                  <a:pt x="805" y="108"/>
                </a:lnTo>
                <a:lnTo>
                  <a:pt x="811" y="108"/>
                </a:lnTo>
                <a:lnTo>
                  <a:pt x="817" y="113"/>
                </a:lnTo>
                <a:lnTo>
                  <a:pt x="828" y="119"/>
                </a:lnTo>
                <a:lnTo>
                  <a:pt x="834" y="119"/>
                </a:lnTo>
                <a:lnTo>
                  <a:pt x="839" y="119"/>
                </a:lnTo>
                <a:lnTo>
                  <a:pt x="839" y="125"/>
                </a:lnTo>
                <a:lnTo>
                  <a:pt x="845" y="125"/>
                </a:lnTo>
                <a:lnTo>
                  <a:pt x="851" y="130"/>
                </a:lnTo>
                <a:lnTo>
                  <a:pt x="856" y="136"/>
                </a:lnTo>
                <a:lnTo>
                  <a:pt x="862" y="136"/>
                </a:lnTo>
                <a:lnTo>
                  <a:pt x="862" y="142"/>
                </a:lnTo>
                <a:lnTo>
                  <a:pt x="868" y="147"/>
                </a:lnTo>
                <a:lnTo>
                  <a:pt x="868" y="153"/>
                </a:lnTo>
                <a:lnTo>
                  <a:pt x="873" y="153"/>
                </a:lnTo>
                <a:lnTo>
                  <a:pt x="873" y="159"/>
                </a:lnTo>
                <a:lnTo>
                  <a:pt x="879" y="159"/>
                </a:lnTo>
                <a:lnTo>
                  <a:pt x="879" y="164"/>
                </a:lnTo>
                <a:lnTo>
                  <a:pt x="879" y="170"/>
                </a:lnTo>
                <a:lnTo>
                  <a:pt x="885" y="170"/>
                </a:lnTo>
                <a:lnTo>
                  <a:pt x="885" y="176"/>
                </a:lnTo>
                <a:lnTo>
                  <a:pt x="885" y="181"/>
                </a:lnTo>
                <a:lnTo>
                  <a:pt x="885" y="187"/>
                </a:lnTo>
                <a:lnTo>
                  <a:pt x="885" y="193"/>
                </a:lnTo>
                <a:lnTo>
                  <a:pt x="879" y="193"/>
                </a:lnTo>
                <a:lnTo>
                  <a:pt x="879" y="215"/>
                </a:lnTo>
                <a:lnTo>
                  <a:pt x="879" y="221"/>
                </a:lnTo>
                <a:lnTo>
                  <a:pt x="879" y="227"/>
                </a:lnTo>
                <a:lnTo>
                  <a:pt x="879" y="232"/>
                </a:lnTo>
                <a:lnTo>
                  <a:pt x="879" y="244"/>
                </a:lnTo>
                <a:lnTo>
                  <a:pt x="879" y="261"/>
                </a:lnTo>
                <a:lnTo>
                  <a:pt x="885" y="272"/>
                </a:lnTo>
                <a:lnTo>
                  <a:pt x="885" y="278"/>
                </a:lnTo>
                <a:lnTo>
                  <a:pt x="885" y="283"/>
                </a:lnTo>
                <a:lnTo>
                  <a:pt x="885" y="289"/>
                </a:lnTo>
                <a:lnTo>
                  <a:pt x="879" y="289"/>
                </a:lnTo>
                <a:lnTo>
                  <a:pt x="873" y="289"/>
                </a:lnTo>
                <a:lnTo>
                  <a:pt x="868" y="289"/>
                </a:lnTo>
                <a:lnTo>
                  <a:pt x="862" y="295"/>
                </a:lnTo>
                <a:lnTo>
                  <a:pt x="862" y="300"/>
                </a:lnTo>
                <a:lnTo>
                  <a:pt x="862" y="306"/>
                </a:lnTo>
                <a:lnTo>
                  <a:pt x="868" y="306"/>
                </a:lnTo>
                <a:lnTo>
                  <a:pt x="873" y="306"/>
                </a:lnTo>
                <a:lnTo>
                  <a:pt x="879" y="312"/>
                </a:lnTo>
                <a:lnTo>
                  <a:pt x="890" y="312"/>
                </a:lnTo>
                <a:lnTo>
                  <a:pt x="896" y="312"/>
                </a:lnTo>
                <a:lnTo>
                  <a:pt x="896" y="317"/>
                </a:lnTo>
                <a:lnTo>
                  <a:pt x="902" y="317"/>
                </a:lnTo>
                <a:lnTo>
                  <a:pt x="902" y="323"/>
                </a:lnTo>
                <a:lnTo>
                  <a:pt x="907" y="329"/>
                </a:lnTo>
                <a:lnTo>
                  <a:pt x="907" y="334"/>
                </a:lnTo>
                <a:lnTo>
                  <a:pt x="913" y="340"/>
                </a:lnTo>
                <a:lnTo>
                  <a:pt x="919" y="340"/>
                </a:lnTo>
                <a:lnTo>
                  <a:pt x="924" y="346"/>
                </a:lnTo>
                <a:lnTo>
                  <a:pt x="930" y="346"/>
                </a:lnTo>
                <a:lnTo>
                  <a:pt x="936" y="346"/>
                </a:lnTo>
                <a:lnTo>
                  <a:pt x="936" y="340"/>
                </a:lnTo>
                <a:lnTo>
                  <a:pt x="941" y="340"/>
                </a:lnTo>
                <a:lnTo>
                  <a:pt x="947" y="346"/>
                </a:lnTo>
                <a:lnTo>
                  <a:pt x="941" y="346"/>
                </a:lnTo>
                <a:lnTo>
                  <a:pt x="941" y="351"/>
                </a:lnTo>
                <a:lnTo>
                  <a:pt x="941" y="357"/>
                </a:lnTo>
                <a:lnTo>
                  <a:pt x="936" y="363"/>
                </a:lnTo>
                <a:lnTo>
                  <a:pt x="936" y="368"/>
                </a:lnTo>
                <a:lnTo>
                  <a:pt x="936" y="374"/>
                </a:lnTo>
                <a:lnTo>
                  <a:pt x="941" y="385"/>
                </a:lnTo>
                <a:lnTo>
                  <a:pt x="947" y="397"/>
                </a:lnTo>
                <a:lnTo>
                  <a:pt x="953" y="403"/>
                </a:lnTo>
                <a:lnTo>
                  <a:pt x="953" y="408"/>
                </a:lnTo>
                <a:lnTo>
                  <a:pt x="953" y="414"/>
                </a:lnTo>
                <a:lnTo>
                  <a:pt x="953" y="420"/>
                </a:lnTo>
                <a:lnTo>
                  <a:pt x="953" y="437"/>
                </a:lnTo>
                <a:lnTo>
                  <a:pt x="953" y="442"/>
                </a:lnTo>
                <a:lnTo>
                  <a:pt x="947" y="448"/>
                </a:lnTo>
                <a:lnTo>
                  <a:pt x="947" y="454"/>
                </a:lnTo>
                <a:lnTo>
                  <a:pt x="941" y="459"/>
                </a:lnTo>
                <a:lnTo>
                  <a:pt x="936" y="465"/>
                </a:lnTo>
                <a:lnTo>
                  <a:pt x="930" y="465"/>
                </a:lnTo>
                <a:lnTo>
                  <a:pt x="924" y="471"/>
                </a:lnTo>
                <a:lnTo>
                  <a:pt x="919" y="476"/>
                </a:lnTo>
                <a:lnTo>
                  <a:pt x="919" y="482"/>
                </a:lnTo>
                <a:lnTo>
                  <a:pt x="919" y="488"/>
                </a:lnTo>
                <a:lnTo>
                  <a:pt x="919" y="493"/>
                </a:lnTo>
                <a:lnTo>
                  <a:pt x="919" y="499"/>
                </a:lnTo>
                <a:lnTo>
                  <a:pt x="919" y="522"/>
                </a:lnTo>
                <a:lnTo>
                  <a:pt x="919" y="527"/>
                </a:lnTo>
                <a:lnTo>
                  <a:pt x="919" y="533"/>
                </a:lnTo>
                <a:lnTo>
                  <a:pt x="919" y="539"/>
                </a:lnTo>
                <a:lnTo>
                  <a:pt x="919" y="544"/>
                </a:lnTo>
                <a:lnTo>
                  <a:pt x="913" y="550"/>
                </a:lnTo>
                <a:lnTo>
                  <a:pt x="913" y="556"/>
                </a:lnTo>
                <a:lnTo>
                  <a:pt x="907" y="556"/>
                </a:lnTo>
                <a:lnTo>
                  <a:pt x="907" y="561"/>
                </a:lnTo>
                <a:lnTo>
                  <a:pt x="907" y="567"/>
                </a:lnTo>
                <a:lnTo>
                  <a:pt x="902" y="573"/>
                </a:lnTo>
                <a:lnTo>
                  <a:pt x="902" y="578"/>
                </a:lnTo>
                <a:lnTo>
                  <a:pt x="902" y="584"/>
                </a:lnTo>
                <a:lnTo>
                  <a:pt x="902" y="595"/>
                </a:lnTo>
                <a:lnTo>
                  <a:pt x="902" y="618"/>
                </a:lnTo>
                <a:lnTo>
                  <a:pt x="902" y="624"/>
                </a:lnTo>
                <a:lnTo>
                  <a:pt x="902" y="635"/>
                </a:lnTo>
                <a:lnTo>
                  <a:pt x="902" y="646"/>
                </a:lnTo>
                <a:lnTo>
                  <a:pt x="896" y="652"/>
                </a:lnTo>
                <a:lnTo>
                  <a:pt x="890" y="658"/>
                </a:lnTo>
                <a:lnTo>
                  <a:pt x="890" y="663"/>
                </a:lnTo>
                <a:lnTo>
                  <a:pt x="890" y="669"/>
                </a:lnTo>
                <a:lnTo>
                  <a:pt x="885" y="680"/>
                </a:lnTo>
                <a:lnTo>
                  <a:pt x="879" y="692"/>
                </a:lnTo>
                <a:lnTo>
                  <a:pt x="879" y="697"/>
                </a:lnTo>
                <a:lnTo>
                  <a:pt x="879" y="703"/>
                </a:lnTo>
                <a:lnTo>
                  <a:pt x="879" y="714"/>
                </a:lnTo>
                <a:lnTo>
                  <a:pt x="879" y="720"/>
                </a:lnTo>
                <a:lnTo>
                  <a:pt x="879" y="726"/>
                </a:lnTo>
                <a:lnTo>
                  <a:pt x="879" y="731"/>
                </a:lnTo>
                <a:lnTo>
                  <a:pt x="885" y="731"/>
                </a:lnTo>
                <a:lnTo>
                  <a:pt x="885" y="737"/>
                </a:lnTo>
                <a:lnTo>
                  <a:pt x="890" y="743"/>
                </a:lnTo>
                <a:lnTo>
                  <a:pt x="902" y="754"/>
                </a:lnTo>
                <a:lnTo>
                  <a:pt x="907" y="760"/>
                </a:lnTo>
                <a:lnTo>
                  <a:pt x="907" y="765"/>
                </a:lnTo>
                <a:lnTo>
                  <a:pt x="913" y="765"/>
                </a:lnTo>
                <a:lnTo>
                  <a:pt x="919" y="765"/>
                </a:lnTo>
                <a:lnTo>
                  <a:pt x="919" y="771"/>
                </a:lnTo>
                <a:lnTo>
                  <a:pt x="924" y="771"/>
                </a:lnTo>
                <a:lnTo>
                  <a:pt x="930" y="777"/>
                </a:lnTo>
                <a:lnTo>
                  <a:pt x="930" y="782"/>
                </a:lnTo>
                <a:lnTo>
                  <a:pt x="930" y="788"/>
                </a:lnTo>
                <a:lnTo>
                  <a:pt x="930" y="794"/>
                </a:lnTo>
                <a:lnTo>
                  <a:pt x="924" y="799"/>
                </a:lnTo>
                <a:lnTo>
                  <a:pt x="919" y="805"/>
                </a:lnTo>
                <a:lnTo>
                  <a:pt x="919" y="811"/>
                </a:lnTo>
                <a:lnTo>
                  <a:pt x="919" y="816"/>
                </a:lnTo>
                <a:lnTo>
                  <a:pt x="913" y="816"/>
                </a:lnTo>
                <a:lnTo>
                  <a:pt x="913" y="822"/>
                </a:lnTo>
                <a:lnTo>
                  <a:pt x="907" y="828"/>
                </a:lnTo>
                <a:lnTo>
                  <a:pt x="907" y="833"/>
                </a:lnTo>
                <a:lnTo>
                  <a:pt x="907" y="839"/>
                </a:lnTo>
                <a:lnTo>
                  <a:pt x="902" y="845"/>
                </a:lnTo>
                <a:lnTo>
                  <a:pt x="902" y="850"/>
                </a:lnTo>
                <a:lnTo>
                  <a:pt x="896" y="856"/>
                </a:lnTo>
                <a:lnTo>
                  <a:pt x="896" y="862"/>
                </a:lnTo>
                <a:lnTo>
                  <a:pt x="890" y="867"/>
                </a:lnTo>
                <a:lnTo>
                  <a:pt x="890" y="873"/>
                </a:lnTo>
                <a:lnTo>
                  <a:pt x="890" y="879"/>
                </a:lnTo>
                <a:lnTo>
                  <a:pt x="890" y="884"/>
                </a:lnTo>
                <a:lnTo>
                  <a:pt x="885" y="884"/>
                </a:lnTo>
                <a:lnTo>
                  <a:pt x="879" y="890"/>
                </a:lnTo>
                <a:lnTo>
                  <a:pt x="879" y="896"/>
                </a:lnTo>
                <a:lnTo>
                  <a:pt x="873" y="896"/>
                </a:lnTo>
                <a:lnTo>
                  <a:pt x="868" y="896"/>
                </a:lnTo>
                <a:lnTo>
                  <a:pt x="862" y="896"/>
                </a:lnTo>
                <a:lnTo>
                  <a:pt x="851" y="896"/>
                </a:lnTo>
                <a:lnTo>
                  <a:pt x="845" y="896"/>
                </a:lnTo>
                <a:lnTo>
                  <a:pt x="839" y="890"/>
                </a:lnTo>
                <a:lnTo>
                  <a:pt x="834" y="884"/>
                </a:lnTo>
                <a:lnTo>
                  <a:pt x="828" y="884"/>
                </a:lnTo>
                <a:lnTo>
                  <a:pt x="828" y="879"/>
                </a:lnTo>
                <a:lnTo>
                  <a:pt x="822" y="873"/>
                </a:lnTo>
                <a:lnTo>
                  <a:pt x="822" y="867"/>
                </a:lnTo>
                <a:lnTo>
                  <a:pt x="817" y="862"/>
                </a:lnTo>
                <a:lnTo>
                  <a:pt x="811" y="856"/>
                </a:lnTo>
                <a:lnTo>
                  <a:pt x="805" y="850"/>
                </a:lnTo>
                <a:lnTo>
                  <a:pt x="800" y="850"/>
                </a:lnTo>
                <a:lnTo>
                  <a:pt x="788" y="850"/>
                </a:lnTo>
                <a:lnTo>
                  <a:pt x="783" y="845"/>
                </a:lnTo>
                <a:lnTo>
                  <a:pt x="777" y="850"/>
                </a:lnTo>
                <a:lnTo>
                  <a:pt x="771" y="850"/>
                </a:lnTo>
                <a:lnTo>
                  <a:pt x="766" y="850"/>
                </a:lnTo>
                <a:lnTo>
                  <a:pt x="766" y="856"/>
                </a:lnTo>
                <a:lnTo>
                  <a:pt x="760" y="856"/>
                </a:lnTo>
                <a:lnTo>
                  <a:pt x="754" y="862"/>
                </a:lnTo>
                <a:lnTo>
                  <a:pt x="754" y="867"/>
                </a:lnTo>
                <a:lnTo>
                  <a:pt x="749" y="867"/>
                </a:lnTo>
                <a:lnTo>
                  <a:pt x="749" y="873"/>
                </a:lnTo>
                <a:lnTo>
                  <a:pt x="743" y="879"/>
                </a:lnTo>
                <a:lnTo>
                  <a:pt x="737" y="879"/>
                </a:lnTo>
                <a:lnTo>
                  <a:pt x="737" y="884"/>
                </a:lnTo>
                <a:lnTo>
                  <a:pt x="732" y="890"/>
                </a:lnTo>
                <a:lnTo>
                  <a:pt x="726" y="896"/>
                </a:lnTo>
                <a:lnTo>
                  <a:pt x="720" y="896"/>
                </a:lnTo>
                <a:lnTo>
                  <a:pt x="715" y="884"/>
                </a:lnTo>
                <a:lnTo>
                  <a:pt x="715" y="879"/>
                </a:lnTo>
                <a:lnTo>
                  <a:pt x="720" y="862"/>
                </a:lnTo>
                <a:lnTo>
                  <a:pt x="720" y="856"/>
                </a:lnTo>
                <a:lnTo>
                  <a:pt x="720" y="850"/>
                </a:lnTo>
                <a:lnTo>
                  <a:pt x="720" y="845"/>
                </a:lnTo>
                <a:lnTo>
                  <a:pt x="720" y="839"/>
                </a:lnTo>
                <a:lnTo>
                  <a:pt x="715" y="833"/>
                </a:lnTo>
                <a:lnTo>
                  <a:pt x="709" y="828"/>
                </a:lnTo>
                <a:lnTo>
                  <a:pt x="709" y="822"/>
                </a:lnTo>
                <a:lnTo>
                  <a:pt x="703" y="816"/>
                </a:lnTo>
                <a:lnTo>
                  <a:pt x="698" y="816"/>
                </a:lnTo>
                <a:lnTo>
                  <a:pt x="698" y="811"/>
                </a:lnTo>
                <a:lnTo>
                  <a:pt x="698" y="805"/>
                </a:lnTo>
                <a:lnTo>
                  <a:pt x="692" y="799"/>
                </a:lnTo>
                <a:lnTo>
                  <a:pt x="692" y="794"/>
                </a:lnTo>
                <a:lnTo>
                  <a:pt x="692" y="788"/>
                </a:lnTo>
                <a:lnTo>
                  <a:pt x="692" y="782"/>
                </a:lnTo>
                <a:lnTo>
                  <a:pt x="686" y="782"/>
                </a:lnTo>
                <a:lnTo>
                  <a:pt x="686" y="777"/>
                </a:lnTo>
                <a:lnTo>
                  <a:pt x="681" y="771"/>
                </a:lnTo>
                <a:lnTo>
                  <a:pt x="681" y="765"/>
                </a:lnTo>
                <a:lnTo>
                  <a:pt x="675" y="760"/>
                </a:lnTo>
                <a:lnTo>
                  <a:pt x="669" y="760"/>
                </a:lnTo>
                <a:lnTo>
                  <a:pt x="664" y="760"/>
                </a:lnTo>
                <a:lnTo>
                  <a:pt x="658" y="760"/>
                </a:lnTo>
                <a:lnTo>
                  <a:pt x="652" y="760"/>
                </a:lnTo>
                <a:lnTo>
                  <a:pt x="641" y="760"/>
                </a:lnTo>
                <a:lnTo>
                  <a:pt x="641" y="765"/>
                </a:lnTo>
                <a:lnTo>
                  <a:pt x="641" y="771"/>
                </a:lnTo>
                <a:lnTo>
                  <a:pt x="635" y="771"/>
                </a:lnTo>
                <a:lnTo>
                  <a:pt x="635" y="777"/>
                </a:lnTo>
                <a:lnTo>
                  <a:pt x="630" y="777"/>
                </a:lnTo>
                <a:lnTo>
                  <a:pt x="624" y="782"/>
                </a:lnTo>
                <a:lnTo>
                  <a:pt x="613" y="788"/>
                </a:lnTo>
                <a:lnTo>
                  <a:pt x="607" y="782"/>
                </a:lnTo>
                <a:lnTo>
                  <a:pt x="601" y="782"/>
                </a:lnTo>
                <a:lnTo>
                  <a:pt x="601" y="777"/>
                </a:lnTo>
                <a:lnTo>
                  <a:pt x="596" y="777"/>
                </a:lnTo>
                <a:lnTo>
                  <a:pt x="590" y="777"/>
                </a:lnTo>
                <a:lnTo>
                  <a:pt x="584" y="777"/>
                </a:lnTo>
                <a:lnTo>
                  <a:pt x="579" y="777"/>
                </a:lnTo>
                <a:lnTo>
                  <a:pt x="579" y="771"/>
                </a:lnTo>
                <a:lnTo>
                  <a:pt x="573" y="765"/>
                </a:lnTo>
                <a:lnTo>
                  <a:pt x="567" y="765"/>
                </a:lnTo>
                <a:lnTo>
                  <a:pt x="562" y="765"/>
                </a:lnTo>
                <a:lnTo>
                  <a:pt x="556" y="765"/>
                </a:lnTo>
                <a:lnTo>
                  <a:pt x="556" y="771"/>
                </a:lnTo>
                <a:lnTo>
                  <a:pt x="550" y="771"/>
                </a:lnTo>
                <a:lnTo>
                  <a:pt x="545" y="771"/>
                </a:lnTo>
                <a:lnTo>
                  <a:pt x="522" y="754"/>
                </a:lnTo>
                <a:lnTo>
                  <a:pt x="499" y="771"/>
                </a:lnTo>
                <a:lnTo>
                  <a:pt x="494" y="771"/>
                </a:lnTo>
                <a:lnTo>
                  <a:pt x="482" y="771"/>
                </a:lnTo>
                <a:lnTo>
                  <a:pt x="465" y="77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0" name="Freeform 7"/>
          <p:cNvSpPr>
            <a:spLocks/>
          </p:cNvSpPr>
          <p:nvPr/>
        </p:nvSpPr>
        <p:spPr bwMode="gray">
          <a:xfrm>
            <a:off x="3829303" y="1511223"/>
            <a:ext cx="1036698" cy="1247204"/>
          </a:xfrm>
          <a:custGeom>
            <a:avLst/>
            <a:gdLst>
              <a:gd name="T0" fmla="*/ 2147483647 w 612"/>
              <a:gd name="T1" fmla="*/ 2147483647 h 737"/>
              <a:gd name="T2" fmla="*/ 2147483647 w 612"/>
              <a:gd name="T3" fmla="*/ 2147483647 h 737"/>
              <a:gd name="T4" fmla="*/ 2147483647 w 612"/>
              <a:gd name="T5" fmla="*/ 2147483647 h 737"/>
              <a:gd name="T6" fmla="*/ 2147483647 w 612"/>
              <a:gd name="T7" fmla="*/ 2147483647 h 737"/>
              <a:gd name="T8" fmla="*/ 2147483647 w 612"/>
              <a:gd name="T9" fmla="*/ 2147483647 h 737"/>
              <a:gd name="T10" fmla="*/ 2147483647 w 612"/>
              <a:gd name="T11" fmla="*/ 2147483647 h 737"/>
              <a:gd name="T12" fmla="*/ 2147483647 w 612"/>
              <a:gd name="T13" fmla="*/ 2147483647 h 737"/>
              <a:gd name="T14" fmla="*/ 2147483647 w 612"/>
              <a:gd name="T15" fmla="*/ 2147483647 h 737"/>
              <a:gd name="T16" fmla="*/ 2147483647 w 612"/>
              <a:gd name="T17" fmla="*/ 2147483647 h 737"/>
              <a:gd name="T18" fmla="*/ 2147483647 w 612"/>
              <a:gd name="T19" fmla="*/ 2147483647 h 737"/>
              <a:gd name="T20" fmla="*/ 2147483647 w 612"/>
              <a:gd name="T21" fmla="*/ 2147483647 h 737"/>
              <a:gd name="T22" fmla="*/ 2147483647 w 612"/>
              <a:gd name="T23" fmla="*/ 2147483647 h 737"/>
              <a:gd name="T24" fmla="*/ 2147483647 w 612"/>
              <a:gd name="T25" fmla="*/ 2147483647 h 737"/>
              <a:gd name="T26" fmla="*/ 2147483647 w 612"/>
              <a:gd name="T27" fmla="*/ 2147483647 h 737"/>
              <a:gd name="T28" fmla="*/ 2147483647 w 612"/>
              <a:gd name="T29" fmla="*/ 2147483647 h 737"/>
              <a:gd name="T30" fmla="*/ 2147483647 w 612"/>
              <a:gd name="T31" fmla="*/ 2147483647 h 737"/>
              <a:gd name="T32" fmla="*/ 2147483647 w 612"/>
              <a:gd name="T33" fmla="*/ 2147483647 h 737"/>
              <a:gd name="T34" fmla="*/ 2147483647 w 612"/>
              <a:gd name="T35" fmla="*/ 2147483647 h 737"/>
              <a:gd name="T36" fmla="*/ 2147483647 w 612"/>
              <a:gd name="T37" fmla="*/ 2147483647 h 737"/>
              <a:gd name="T38" fmla="*/ 2147483647 w 612"/>
              <a:gd name="T39" fmla="*/ 2147483647 h 737"/>
              <a:gd name="T40" fmla="*/ 2147483647 w 612"/>
              <a:gd name="T41" fmla="*/ 2147483647 h 737"/>
              <a:gd name="T42" fmla="*/ 2147483647 w 612"/>
              <a:gd name="T43" fmla="*/ 2147483647 h 737"/>
              <a:gd name="T44" fmla="*/ 2147483647 w 612"/>
              <a:gd name="T45" fmla="*/ 2147483647 h 737"/>
              <a:gd name="T46" fmla="*/ 2147483647 w 612"/>
              <a:gd name="T47" fmla="*/ 2147483647 h 737"/>
              <a:gd name="T48" fmla="*/ 2147483647 w 612"/>
              <a:gd name="T49" fmla="*/ 2147483647 h 737"/>
              <a:gd name="T50" fmla="*/ 2147483647 w 612"/>
              <a:gd name="T51" fmla="*/ 2147483647 h 737"/>
              <a:gd name="T52" fmla="*/ 2147483647 w 612"/>
              <a:gd name="T53" fmla="*/ 2147483647 h 737"/>
              <a:gd name="T54" fmla="*/ 2147483647 w 612"/>
              <a:gd name="T55" fmla="*/ 2147483647 h 737"/>
              <a:gd name="T56" fmla="*/ 2147483647 w 612"/>
              <a:gd name="T57" fmla="*/ 2147483647 h 737"/>
              <a:gd name="T58" fmla="*/ 2147483647 w 612"/>
              <a:gd name="T59" fmla="*/ 2147483647 h 737"/>
              <a:gd name="T60" fmla="*/ 2147483647 w 612"/>
              <a:gd name="T61" fmla="*/ 2147483647 h 737"/>
              <a:gd name="T62" fmla="*/ 2147483647 w 612"/>
              <a:gd name="T63" fmla="*/ 2147483647 h 737"/>
              <a:gd name="T64" fmla="*/ 2147483647 w 612"/>
              <a:gd name="T65" fmla="*/ 2147483647 h 737"/>
              <a:gd name="T66" fmla="*/ 2147483647 w 612"/>
              <a:gd name="T67" fmla="*/ 2147483647 h 737"/>
              <a:gd name="T68" fmla="*/ 2147483647 w 612"/>
              <a:gd name="T69" fmla="*/ 2147483647 h 737"/>
              <a:gd name="T70" fmla="*/ 2147483647 w 612"/>
              <a:gd name="T71" fmla="*/ 2147483647 h 737"/>
              <a:gd name="T72" fmla="*/ 2147483647 w 612"/>
              <a:gd name="T73" fmla="*/ 2147483647 h 737"/>
              <a:gd name="T74" fmla="*/ 2147483647 w 612"/>
              <a:gd name="T75" fmla="*/ 2147483647 h 737"/>
              <a:gd name="T76" fmla="*/ 2147483647 w 612"/>
              <a:gd name="T77" fmla="*/ 2147483647 h 737"/>
              <a:gd name="T78" fmla="*/ 2147483647 w 612"/>
              <a:gd name="T79" fmla="*/ 2147483647 h 737"/>
              <a:gd name="T80" fmla="*/ 2147483647 w 612"/>
              <a:gd name="T81" fmla="*/ 2147483647 h 737"/>
              <a:gd name="T82" fmla="*/ 2147483647 w 612"/>
              <a:gd name="T83" fmla="*/ 2147483647 h 737"/>
              <a:gd name="T84" fmla="*/ 2147483647 w 612"/>
              <a:gd name="T85" fmla="*/ 2147483647 h 737"/>
              <a:gd name="T86" fmla="*/ 2147483647 w 612"/>
              <a:gd name="T87" fmla="*/ 2147483647 h 737"/>
              <a:gd name="T88" fmla="*/ 2147483647 w 612"/>
              <a:gd name="T89" fmla="*/ 2147483647 h 737"/>
              <a:gd name="T90" fmla="*/ 2147483647 w 612"/>
              <a:gd name="T91" fmla="*/ 2147483647 h 737"/>
              <a:gd name="T92" fmla="*/ 2147483647 w 612"/>
              <a:gd name="T93" fmla="*/ 2147483647 h 737"/>
              <a:gd name="T94" fmla="*/ 2147483647 w 612"/>
              <a:gd name="T95" fmla="*/ 2147483647 h 737"/>
              <a:gd name="T96" fmla="*/ 2147483647 w 612"/>
              <a:gd name="T97" fmla="*/ 2147483647 h 737"/>
              <a:gd name="T98" fmla="*/ 2147483647 w 612"/>
              <a:gd name="T99" fmla="*/ 2147483647 h 737"/>
              <a:gd name="T100" fmla="*/ 2147483647 w 612"/>
              <a:gd name="T101" fmla="*/ 2147483647 h 737"/>
              <a:gd name="T102" fmla="*/ 2147483647 w 612"/>
              <a:gd name="T103" fmla="*/ 2147483647 h 737"/>
              <a:gd name="T104" fmla="*/ 2147483647 w 612"/>
              <a:gd name="T105" fmla="*/ 2147483647 h 737"/>
              <a:gd name="T106" fmla="*/ 2147483647 w 612"/>
              <a:gd name="T107" fmla="*/ 2147483647 h 737"/>
              <a:gd name="T108" fmla="*/ 2147483647 w 612"/>
              <a:gd name="T109" fmla="*/ 2147483647 h 737"/>
              <a:gd name="T110" fmla="*/ 2147483647 w 612"/>
              <a:gd name="T111" fmla="*/ 2147483647 h 73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12"/>
              <a:gd name="T169" fmla="*/ 0 h 737"/>
              <a:gd name="T170" fmla="*/ 612 w 612"/>
              <a:gd name="T171" fmla="*/ 737 h 73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12" h="737">
                <a:moveTo>
                  <a:pt x="63" y="448"/>
                </a:moveTo>
                <a:lnTo>
                  <a:pt x="57" y="448"/>
                </a:lnTo>
                <a:lnTo>
                  <a:pt x="51" y="448"/>
                </a:lnTo>
                <a:lnTo>
                  <a:pt x="46" y="448"/>
                </a:lnTo>
                <a:lnTo>
                  <a:pt x="40" y="448"/>
                </a:lnTo>
                <a:lnTo>
                  <a:pt x="34" y="448"/>
                </a:lnTo>
                <a:lnTo>
                  <a:pt x="29" y="442"/>
                </a:lnTo>
                <a:lnTo>
                  <a:pt x="29" y="436"/>
                </a:lnTo>
                <a:lnTo>
                  <a:pt x="29" y="431"/>
                </a:lnTo>
                <a:lnTo>
                  <a:pt x="17" y="431"/>
                </a:lnTo>
                <a:lnTo>
                  <a:pt x="17" y="425"/>
                </a:lnTo>
                <a:lnTo>
                  <a:pt x="17" y="419"/>
                </a:lnTo>
                <a:lnTo>
                  <a:pt x="12" y="419"/>
                </a:lnTo>
                <a:lnTo>
                  <a:pt x="12" y="414"/>
                </a:lnTo>
                <a:lnTo>
                  <a:pt x="6" y="414"/>
                </a:lnTo>
                <a:lnTo>
                  <a:pt x="6" y="408"/>
                </a:lnTo>
                <a:lnTo>
                  <a:pt x="6" y="402"/>
                </a:lnTo>
                <a:lnTo>
                  <a:pt x="0" y="402"/>
                </a:lnTo>
                <a:lnTo>
                  <a:pt x="0" y="397"/>
                </a:lnTo>
                <a:lnTo>
                  <a:pt x="6" y="397"/>
                </a:lnTo>
                <a:lnTo>
                  <a:pt x="6" y="391"/>
                </a:lnTo>
                <a:lnTo>
                  <a:pt x="12" y="391"/>
                </a:lnTo>
                <a:lnTo>
                  <a:pt x="12" y="385"/>
                </a:lnTo>
                <a:lnTo>
                  <a:pt x="17" y="385"/>
                </a:lnTo>
                <a:lnTo>
                  <a:pt x="17" y="374"/>
                </a:lnTo>
                <a:lnTo>
                  <a:pt x="23" y="374"/>
                </a:lnTo>
                <a:lnTo>
                  <a:pt x="29" y="368"/>
                </a:lnTo>
                <a:lnTo>
                  <a:pt x="34" y="368"/>
                </a:lnTo>
                <a:lnTo>
                  <a:pt x="34" y="363"/>
                </a:lnTo>
                <a:lnTo>
                  <a:pt x="40" y="363"/>
                </a:lnTo>
                <a:lnTo>
                  <a:pt x="46" y="357"/>
                </a:lnTo>
                <a:lnTo>
                  <a:pt x="51" y="357"/>
                </a:lnTo>
                <a:lnTo>
                  <a:pt x="57" y="357"/>
                </a:lnTo>
                <a:lnTo>
                  <a:pt x="68" y="357"/>
                </a:lnTo>
                <a:lnTo>
                  <a:pt x="74" y="357"/>
                </a:lnTo>
                <a:lnTo>
                  <a:pt x="85" y="351"/>
                </a:lnTo>
                <a:lnTo>
                  <a:pt x="85" y="346"/>
                </a:lnTo>
                <a:lnTo>
                  <a:pt x="85" y="340"/>
                </a:lnTo>
                <a:lnTo>
                  <a:pt x="85" y="334"/>
                </a:lnTo>
                <a:lnTo>
                  <a:pt x="85" y="329"/>
                </a:lnTo>
                <a:lnTo>
                  <a:pt x="80" y="323"/>
                </a:lnTo>
                <a:lnTo>
                  <a:pt x="74" y="317"/>
                </a:lnTo>
                <a:lnTo>
                  <a:pt x="74" y="312"/>
                </a:lnTo>
                <a:lnTo>
                  <a:pt x="74" y="300"/>
                </a:lnTo>
                <a:lnTo>
                  <a:pt x="74" y="295"/>
                </a:lnTo>
                <a:lnTo>
                  <a:pt x="74" y="289"/>
                </a:lnTo>
                <a:lnTo>
                  <a:pt x="74" y="283"/>
                </a:lnTo>
                <a:lnTo>
                  <a:pt x="74" y="278"/>
                </a:lnTo>
                <a:lnTo>
                  <a:pt x="68" y="272"/>
                </a:lnTo>
                <a:lnTo>
                  <a:pt x="68" y="266"/>
                </a:lnTo>
                <a:lnTo>
                  <a:pt x="63" y="266"/>
                </a:lnTo>
                <a:lnTo>
                  <a:pt x="63" y="261"/>
                </a:lnTo>
                <a:lnTo>
                  <a:pt x="63" y="255"/>
                </a:lnTo>
                <a:lnTo>
                  <a:pt x="57" y="255"/>
                </a:lnTo>
                <a:lnTo>
                  <a:pt x="57" y="249"/>
                </a:lnTo>
                <a:lnTo>
                  <a:pt x="57" y="244"/>
                </a:lnTo>
                <a:lnTo>
                  <a:pt x="57" y="238"/>
                </a:lnTo>
                <a:lnTo>
                  <a:pt x="57" y="227"/>
                </a:lnTo>
                <a:lnTo>
                  <a:pt x="57" y="221"/>
                </a:lnTo>
                <a:lnTo>
                  <a:pt x="63" y="210"/>
                </a:lnTo>
                <a:lnTo>
                  <a:pt x="63" y="204"/>
                </a:lnTo>
                <a:lnTo>
                  <a:pt x="63" y="198"/>
                </a:lnTo>
                <a:lnTo>
                  <a:pt x="57" y="187"/>
                </a:lnTo>
                <a:lnTo>
                  <a:pt x="57" y="181"/>
                </a:lnTo>
                <a:lnTo>
                  <a:pt x="57" y="176"/>
                </a:lnTo>
                <a:lnTo>
                  <a:pt x="57" y="164"/>
                </a:lnTo>
                <a:lnTo>
                  <a:pt x="51" y="159"/>
                </a:lnTo>
                <a:lnTo>
                  <a:pt x="51" y="153"/>
                </a:lnTo>
                <a:lnTo>
                  <a:pt x="51" y="147"/>
                </a:lnTo>
                <a:lnTo>
                  <a:pt x="51" y="142"/>
                </a:lnTo>
                <a:lnTo>
                  <a:pt x="51" y="136"/>
                </a:lnTo>
                <a:lnTo>
                  <a:pt x="57" y="125"/>
                </a:lnTo>
                <a:lnTo>
                  <a:pt x="63" y="119"/>
                </a:lnTo>
                <a:lnTo>
                  <a:pt x="68" y="113"/>
                </a:lnTo>
                <a:lnTo>
                  <a:pt x="74" y="113"/>
                </a:lnTo>
                <a:lnTo>
                  <a:pt x="74" y="108"/>
                </a:lnTo>
                <a:lnTo>
                  <a:pt x="80" y="108"/>
                </a:lnTo>
                <a:lnTo>
                  <a:pt x="91" y="102"/>
                </a:lnTo>
                <a:lnTo>
                  <a:pt x="91" y="96"/>
                </a:lnTo>
                <a:lnTo>
                  <a:pt x="97" y="96"/>
                </a:lnTo>
                <a:lnTo>
                  <a:pt x="102" y="96"/>
                </a:lnTo>
                <a:lnTo>
                  <a:pt x="108" y="96"/>
                </a:lnTo>
                <a:lnTo>
                  <a:pt x="114" y="96"/>
                </a:lnTo>
                <a:lnTo>
                  <a:pt x="119" y="91"/>
                </a:lnTo>
                <a:lnTo>
                  <a:pt x="125" y="91"/>
                </a:lnTo>
                <a:lnTo>
                  <a:pt x="131" y="91"/>
                </a:lnTo>
                <a:lnTo>
                  <a:pt x="142" y="91"/>
                </a:lnTo>
                <a:lnTo>
                  <a:pt x="142" y="85"/>
                </a:lnTo>
                <a:lnTo>
                  <a:pt x="148" y="85"/>
                </a:lnTo>
                <a:lnTo>
                  <a:pt x="153" y="79"/>
                </a:lnTo>
                <a:lnTo>
                  <a:pt x="159" y="79"/>
                </a:lnTo>
                <a:lnTo>
                  <a:pt x="165" y="74"/>
                </a:lnTo>
                <a:lnTo>
                  <a:pt x="170" y="68"/>
                </a:lnTo>
                <a:lnTo>
                  <a:pt x="170" y="62"/>
                </a:lnTo>
                <a:lnTo>
                  <a:pt x="176" y="62"/>
                </a:lnTo>
                <a:lnTo>
                  <a:pt x="176" y="57"/>
                </a:lnTo>
                <a:lnTo>
                  <a:pt x="176" y="45"/>
                </a:lnTo>
                <a:lnTo>
                  <a:pt x="182" y="40"/>
                </a:lnTo>
                <a:lnTo>
                  <a:pt x="187" y="40"/>
                </a:lnTo>
                <a:lnTo>
                  <a:pt x="187" y="34"/>
                </a:lnTo>
                <a:lnTo>
                  <a:pt x="187" y="28"/>
                </a:lnTo>
                <a:lnTo>
                  <a:pt x="193" y="23"/>
                </a:lnTo>
                <a:lnTo>
                  <a:pt x="199" y="23"/>
                </a:lnTo>
                <a:lnTo>
                  <a:pt x="204" y="17"/>
                </a:lnTo>
                <a:lnTo>
                  <a:pt x="204" y="11"/>
                </a:lnTo>
                <a:lnTo>
                  <a:pt x="216" y="6"/>
                </a:lnTo>
                <a:lnTo>
                  <a:pt x="216" y="11"/>
                </a:lnTo>
                <a:lnTo>
                  <a:pt x="221" y="11"/>
                </a:lnTo>
                <a:lnTo>
                  <a:pt x="221" y="17"/>
                </a:lnTo>
                <a:lnTo>
                  <a:pt x="227" y="23"/>
                </a:lnTo>
                <a:lnTo>
                  <a:pt x="233" y="23"/>
                </a:lnTo>
                <a:lnTo>
                  <a:pt x="233" y="28"/>
                </a:lnTo>
                <a:lnTo>
                  <a:pt x="238" y="34"/>
                </a:lnTo>
                <a:lnTo>
                  <a:pt x="244" y="34"/>
                </a:lnTo>
                <a:lnTo>
                  <a:pt x="244" y="40"/>
                </a:lnTo>
                <a:lnTo>
                  <a:pt x="244" y="45"/>
                </a:lnTo>
                <a:lnTo>
                  <a:pt x="244" y="51"/>
                </a:lnTo>
                <a:lnTo>
                  <a:pt x="244" y="62"/>
                </a:lnTo>
                <a:lnTo>
                  <a:pt x="250" y="62"/>
                </a:lnTo>
                <a:lnTo>
                  <a:pt x="250" y="68"/>
                </a:lnTo>
                <a:lnTo>
                  <a:pt x="255" y="62"/>
                </a:lnTo>
                <a:lnTo>
                  <a:pt x="255" y="57"/>
                </a:lnTo>
                <a:lnTo>
                  <a:pt x="255" y="51"/>
                </a:lnTo>
                <a:lnTo>
                  <a:pt x="255" y="45"/>
                </a:lnTo>
                <a:lnTo>
                  <a:pt x="261" y="45"/>
                </a:lnTo>
                <a:lnTo>
                  <a:pt x="261" y="40"/>
                </a:lnTo>
                <a:lnTo>
                  <a:pt x="261" y="34"/>
                </a:lnTo>
                <a:lnTo>
                  <a:pt x="267" y="34"/>
                </a:lnTo>
                <a:lnTo>
                  <a:pt x="267" y="28"/>
                </a:lnTo>
                <a:lnTo>
                  <a:pt x="267" y="23"/>
                </a:lnTo>
                <a:lnTo>
                  <a:pt x="272" y="23"/>
                </a:lnTo>
                <a:lnTo>
                  <a:pt x="272" y="17"/>
                </a:lnTo>
                <a:lnTo>
                  <a:pt x="278" y="11"/>
                </a:lnTo>
                <a:lnTo>
                  <a:pt x="284" y="11"/>
                </a:lnTo>
                <a:lnTo>
                  <a:pt x="289" y="11"/>
                </a:lnTo>
                <a:lnTo>
                  <a:pt x="295" y="11"/>
                </a:lnTo>
                <a:lnTo>
                  <a:pt x="306" y="11"/>
                </a:lnTo>
                <a:lnTo>
                  <a:pt x="306" y="6"/>
                </a:lnTo>
                <a:lnTo>
                  <a:pt x="312" y="6"/>
                </a:lnTo>
                <a:lnTo>
                  <a:pt x="318" y="6"/>
                </a:lnTo>
                <a:lnTo>
                  <a:pt x="318" y="0"/>
                </a:lnTo>
                <a:lnTo>
                  <a:pt x="323" y="0"/>
                </a:lnTo>
                <a:lnTo>
                  <a:pt x="329" y="0"/>
                </a:lnTo>
                <a:lnTo>
                  <a:pt x="329" y="6"/>
                </a:lnTo>
                <a:lnTo>
                  <a:pt x="335" y="6"/>
                </a:lnTo>
                <a:lnTo>
                  <a:pt x="335" y="11"/>
                </a:lnTo>
                <a:lnTo>
                  <a:pt x="340" y="11"/>
                </a:lnTo>
                <a:lnTo>
                  <a:pt x="346" y="11"/>
                </a:lnTo>
                <a:lnTo>
                  <a:pt x="352" y="11"/>
                </a:lnTo>
                <a:lnTo>
                  <a:pt x="357" y="11"/>
                </a:lnTo>
                <a:lnTo>
                  <a:pt x="363" y="11"/>
                </a:lnTo>
                <a:lnTo>
                  <a:pt x="369" y="11"/>
                </a:lnTo>
                <a:lnTo>
                  <a:pt x="374" y="11"/>
                </a:lnTo>
                <a:lnTo>
                  <a:pt x="374" y="17"/>
                </a:lnTo>
                <a:lnTo>
                  <a:pt x="374" y="23"/>
                </a:lnTo>
                <a:lnTo>
                  <a:pt x="374" y="34"/>
                </a:lnTo>
                <a:lnTo>
                  <a:pt x="369" y="34"/>
                </a:lnTo>
                <a:lnTo>
                  <a:pt x="363" y="40"/>
                </a:lnTo>
                <a:lnTo>
                  <a:pt x="363" y="45"/>
                </a:lnTo>
                <a:lnTo>
                  <a:pt x="363" y="51"/>
                </a:lnTo>
                <a:lnTo>
                  <a:pt x="369" y="51"/>
                </a:lnTo>
                <a:lnTo>
                  <a:pt x="369" y="57"/>
                </a:lnTo>
                <a:lnTo>
                  <a:pt x="374" y="62"/>
                </a:lnTo>
                <a:lnTo>
                  <a:pt x="386" y="62"/>
                </a:lnTo>
                <a:lnTo>
                  <a:pt x="391" y="62"/>
                </a:lnTo>
                <a:lnTo>
                  <a:pt x="397" y="62"/>
                </a:lnTo>
                <a:lnTo>
                  <a:pt x="397" y="68"/>
                </a:lnTo>
                <a:lnTo>
                  <a:pt x="403" y="68"/>
                </a:lnTo>
                <a:lnTo>
                  <a:pt x="403" y="74"/>
                </a:lnTo>
                <a:lnTo>
                  <a:pt x="403" y="79"/>
                </a:lnTo>
                <a:lnTo>
                  <a:pt x="403" y="85"/>
                </a:lnTo>
                <a:lnTo>
                  <a:pt x="397" y="91"/>
                </a:lnTo>
                <a:lnTo>
                  <a:pt x="397" y="96"/>
                </a:lnTo>
                <a:lnTo>
                  <a:pt x="397" y="108"/>
                </a:lnTo>
                <a:lnTo>
                  <a:pt x="403" y="108"/>
                </a:lnTo>
                <a:lnTo>
                  <a:pt x="408" y="113"/>
                </a:lnTo>
                <a:lnTo>
                  <a:pt x="414" y="113"/>
                </a:lnTo>
                <a:lnTo>
                  <a:pt x="425" y="108"/>
                </a:lnTo>
                <a:lnTo>
                  <a:pt x="431" y="108"/>
                </a:lnTo>
                <a:lnTo>
                  <a:pt x="442" y="108"/>
                </a:lnTo>
                <a:lnTo>
                  <a:pt x="448" y="108"/>
                </a:lnTo>
                <a:lnTo>
                  <a:pt x="448" y="113"/>
                </a:lnTo>
                <a:lnTo>
                  <a:pt x="454" y="113"/>
                </a:lnTo>
                <a:lnTo>
                  <a:pt x="454" y="119"/>
                </a:lnTo>
                <a:lnTo>
                  <a:pt x="454" y="125"/>
                </a:lnTo>
                <a:lnTo>
                  <a:pt x="459" y="125"/>
                </a:lnTo>
                <a:lnTo>
                  <a:pt x="459" y="136"/>
                </a:lnTo>
                <a:lnTo>
                  <a:pt x="459" y="142"/>
                </a:lnTo>
                <a:lnTo>
                  <a:pt x="465" y="142"/>
                </a:lnTo>
                <a:lnTo>
                  <a:pt x="465" y="147"/>
                </a:lnTo>
                <a:lnTo>
                  <a:pt x="471" y="147"/>
                </a:lnTo>
                <a:lnTo>
                  <a:pt x="471" y="153"/>
                </a:lnTo>
                <a:lnTo>
                  <a:pt x="465" y="153"/>
                </a:lnTo>
                <a:lnTo>
                  <a:pt x="465" y="159"/>
                </a:lnTo>
                <a:lnTo>
                  <a:pt x="465" y="164"/>
                </a:lnTo>
                <a:lnTo>
                  <a:pt x="459" y="164"/>
                </a:lnTo>
                <a:lnTo>
                  <a:pt x="459" y="170"/>
                </a:lnTo>
                <a:lnTo>
                  <a:pt x="459" y="176"/>
                </a:lnTo>
                <a:lnTo>
                  <a:pt x="454" y="176"/>
                </a:lnTo>
                <a:lnTo>
                  <a:pt x="454" y="181"/>
                </a:lnTo>
                <a:lnTo>
                  <a:pt x="459" y="181"/>
                </a:lnTo>
                <a:lnTo>
                  <a:pt x="459" y="187"/>
                </a:lnTo>
                <a:lnTo>
                  <a:pt x="465" y="187"/>
                </a:lnTo>
                <a:lnTo>
                  <a:pt x="476" y="193"/>
                </a:lnTo>
                <a:lnTo>
                  <a:pt x="482" y="193"/>
                </a:lnTo>
                <a:lnTo>
                  <a:pt x="488" y="187"/>
                </a:lnTo>
                <a:lnTo>
                  <a:pt x="493" y="187"/>
                </a:lnTo>
                <a:lnTo>
                  <a:pt x="505" y="181"/>
                </a:lnTo>
                <a:lnTo>
                  <a:pt x="510" y="187"/>
                </a:lnTo>
                <a:lnTo>
                  <a:pt x="510" y="193"/>
                </a:lnTo>
                <a:lnTo>
                  <a:pt x="510" y="198"/>
                </a:lnTo>
                <a:lnTo>
                  <a:pt x="510" y="204"/>
                </a:lnTo>
                <a:lnTo>
                  <a:pt x="516" y="204"/>
                </a:lnTo>
                <a:lnTo>
                  <a:pt x="522" y="210"/>
                </a:lnTo>
                <a:lnTo>
                  <a:pt x="527" y="210"/>
                </a:lnTo>
                <a:lnTo>
                  <a:pt x="533" y="210"/>
                </a:lnTo>
                <a:lnTo>
                  <a:pt x="533" y="204"/>
                </a:lnTo>
                <a:lnTo>
                  <a:pt x="533" y="198"/>
                </a:lnTo>
                <a:lnTo>
                  <a:pt x="533" y="193"/>
                </a:lnTo>
                <a:lnTo>
                  <a:pt x="539" y="193"/>
                </a:lnTo>
                <a:lnTo>
                  <a:pt x="539" y="187"/>
                </a:lnTo>
                <a:lnTo>
                  <a:pt x="544" y="181"/>
                </a:lnTo>
                <a:lnTo>
                  <a:pt x="544" y="187"/>
                </a:lnTo>
                <a:lnTo>
                  <a:pt x="550" y="187"/>
                </a:lnTo>
                <a:lnTo>
                  <a:pt x="556" y="193"/>
                </a:lnTo>
                <a:lnTo>
                  <a:pt x="556" y="204"/>
                </a:lnTo>
                <a:lnTo>
                  <a:pt x="556" y="215"/>
                </a:lnTo>
                <a:lnTo>
                  <a:pt x="561" y="221"/>
                </a:lnTo>
                <a:lnTo>
                  <a:pt x="561" y="227"/>
                </a:lnTo>
                <a:lnTo>
                  <a:pt x="561" y="232"/>
                </a:lnTo>
                <a:lnTo>
                  <a:pt x="561" y="244"/>
                </a:lnTo>
                <a:lnTo>
                  <a:pt x="561" y="261"/>
                </a:lnTo>
                <a:lnTo>
                  <a:pt x="556" y="266"/>
                </a:lnTo>
                <a:lnTo>
                  <a:pt x="556" y="272"/>
                </a:lnTo>
                <a:lnTo>
                  <a:pt x="550" y="272"/>
                </a:lnTo>
                <a:lnTo>
                  <a:pt x="544" y="272"/>
                </a:lnTo>
                <a:lnTo>
                  <a:pt x="544" y="278"/>
                </a:lnTo>
                <a:lnTo>
                  <a:pt x="539" y="278"/>
                </a:lnTo>
                <a:lnTo>
                  <a:pt x="539" y="283"/>
                </a:lnTo>
                <a:lnTo>
                  <a:pt x="539" y="289"/>
                </a:lnTo>
                <a:lnTo>
                  <a:pt x="539" y="300"/>
                </a:lnTo>
                <a:lnTo>
                  <a:pt x="539" y="306"/>
                </a:lnTo>
                <a:lnTo>
                  <a:pt x="539" y="312"/>
                </a:lnTo>
                <a:lnTo>
                  <a:pt x="539" y="317"/>
                </a:lnTo>
                <a:lnTo>
                  <a:pt x="544" y="317"/>
                </a:lnTo>
                <a:lnTo>
                  <a:pt x="556" y="317"/>
                </a:lnTo>
                <a:lnTo>
                  <a:pt x="567" y="312"/>
                </a:lnTo>
                <a:lnTo>
                  <a:pt x="573" y="312"/>
                </a:lnTo>
                <a:lnTo>
                  <a:pt x="573" y="317"/>
                </a:lnTo>
                <a:lnTo>
                  <a:pt x="573" y="323"/>
                </a:lnTo>
                <a:lnTo>
                  <a:pt x="567" y="323"/>
                </a:lnTo>
                <a:lnTo>
                  <a:pt x="567" y="329"/>
                </a:lnTo>
                <a:lnTo>
                  <a:pt x="567" y="334"/>
                </a:lnTo>
                <a:lnTo>
                  <a:pt x="567" y="340"/>
                </a:lnTo>
                <a:lnTo>
                  <a:pt x="573" y="346"/>
                </a:lnTo>
                <a:lnTo>
                  <a:pt x="578" y="346"/>
                </a:lnTo>
                <a:lnTo>
                  <a:pt x="584" y="351"/>
                </a:lnTo>
                <a:lnTo>
                  <a:pt x="590" y="357"/>
                </a:lnTo>
                <a:lnTo>
                  <a:pt x="595" y="357"/>
                </a:lnTo>
                <a:lnTo>
                  <a:pt x="595" y="363"/>
                </a:lnTo>
                <a:lnTo>
                  <a:pt x="595" y="368"/>
                </a:lnTo>
                <a:lnTo>
                  <a:pt x="601" y="368"/>
                </a:lnTo>
                <a:lnTo>
                  <a:pt x="607" y="368"/>
                </a:lnTo>
                <a:lnTo>
                  <a:pt x="612" y="368"/>
                </a:lnTo>
                <a:lnTo>
                  <a:pt x="612" y="374"/>
                </a:lnTo>
                <a:lnTo>
                  <a:pt x="612" y="380"/>
                </a:lnTo>
                <a:lnTo>
                  <a:pt x="607" y="385"/>
                </a:lnTo>
                <a:lnTo>
                  <a:pt x="601" y="391"/>
                </a:lnTo>
                <a:lnTo>
                  <a:pt x="601" y="397"/>
                </a:lnTo>
                <a:lnTo>
                  <a:pt x="595" y="397"/>
                </a:lnTo>
                <a:lnTo>
                  <a:pt x="590" y="397"/>
                </a:lnTo>
                <a:lnTo>
                  <a:pt x="584" y="397"/>
                </a:lnTo>
                <a:lnTo>
                  <a:pt x="578" y="402"/>
                </a:lnTo>
                <a:lnTo>
                  <a:pt x="573" y="414"/>
                </a:lnTo>
                <a:lnTo>
                  <a:pt x="573" y="419"/>
                </a:lnTo>
                <a:lnTo>
                  <a:pt x="567" y="425"/>
                </a:lnTo>
                <a:lnTo>
                  <a:pt x="573" y="431"/>
                </a:lnTo>
                <a:lnTo>
                  <a:pt x="573" y="436"/>
                </a:lnTo>
                <a:lnTo>
                  <a:pt x="573" y="442"/>
                </a:lnTo>
                <a:lnTo>
                  <a:pt x="567" y="448"/>
                </a:lnTo>
                <a:lnTo>
                  <a:pt x="556" y="448"/>
                </a:lnTo>
                <a:lnTo>
                  <a:pt x="556" y="453"/>
                </a:lnTo>
                <a:lnTo>
                  <a:pt x="550" y="453"/>
                </a:lnTo>
                <a:lnTo>
                  <a:pt x="544" y="453"/>
                </a:lnTo>
                <a:lnTo>
                  <a:pt x="544" y="459"/>
                </a:lnTo>
                <a:lnTo>
                  <a:pt x="539" y="459"/>
                </a:lnTo>
                <a:lnTo>
                  <a:pt x="533" y="459"/>
                </a:lnTo>
                <a:lnTo>
                  <a:pt x="527" y="459"/>
                </a:lnTo>
                <a:lnTo>
                  <a:pt x="522" y="459"/>
                </a:lnTo>
                <a:lnTo>
                  <a:pt x="516" y="459"/>
                </a:lnTo>
                <a:lnTo>
                  <a:pt x="510" y="459"/>
                </a:lnTo>
                <a:lnTo>
                  <a:pt x="499" y="465"/>
                </a:lnTo>
                <a:lnTo>
                  <a:pt x="499" y="470"/>
                </a:lnTo>
                <a:lnTo>
                  <a:pt x="493" y="470"/>
                </a:lnTo>
                <a:lnTo>
                  <a:pt x="488" y="470"/>
                </a:lnTo>
                <a:lnTo>
                  <a:pt x="488" y="476"/>
                </a:lnTo>
                <a:lnTo>
                  <a:pt x="488" y="482"/>
                </a:lnTo>
                <a:lnTo>
                  <a:pt x="482" y="482"/>
                </a:lnTo>
                <a:lnTo>
                  <a:pt x="482" y="487"/>
                </a:lnTo>
                <a:lnTo>
                  <a:pt x="476" y="487"/>
                </a:lnTo>
                <a:lnTo>
                  <a:pt x="465" y="499"/>
                </a:lnTo>
                <a:lnTo>
                  <a:pt x="459" y="504"/>
                </a:lnTo>
                <a:lnTo>
                  <a:pt x="459" y="510"/>
                </a:lnTo>
                <a:lnTo>
                  <a:pt x="454" y="510"/>
                </a:lnTo>
                <a:lnTo>
                  <a:pt x="454" y="516"/>
                </a:lnTo>
                <a:lnTo>
                  <a:pt x="454" y="521"/>
                </a:lnTo>
                <a:lnTo>
                  <a:pt x="454" y="527"/>
                </a:lnTo>
                <a:lnTo>
                  <a:pt x="442" y="527"/>
                </a:lnTo>
                <a:lnTo>
                  <a:pt x="442" y="533"/>
                </a:lnTo>
                <a:lnTo>
                  <a:pt x="437" y="538"/>
                </a:lnTo>
                <a:lnTo>
                  <a:pt x="431" y="538"/>
                </a:lnTo>
                <a:lnTo>
                  <a:pt x="425" y="538"/>
                </a:lnTo>
                <a:lnTo>
                  <a:pt x="420" y="538"/>
                </a:lnTo>
                <a:lnTo>
                  <a:pt x="414" y="538"/>
                </a:lnTo>
                <a:lnTo>
                  <a:pt x="414" y="544"/>
                </a:lnTo>
                <a:lnTo>
                  <a:pt x="408" y="544"/>
                </a:lnTo>
                <a:lnTo>
                  <a:pt x="408" y="550"/>
                </a:lnTo>
                <a:lnTo>
                  <a:pt x="403" y="550"/>
                </a:lnTo>
                <a:lnTo>
                  <a:pt x="403" y="555"/>
                </a:lnTo>
                <a:lnTo>
                  <a:pt x="403" y="561"/>
                </a:lnTo>
                <a:lnTo>
                  <a:pt x="403" y="567"/>
                </a:lnTo>
                <a:lnTo>
                  <a:pt x="403" y="578"/>
                </a:lnTo>
                <a:lnTo>
                  <a:pt x="403" y="584"/>
                </a:lnTo>
                <a:lnTo>
                  <a:pt x="397" y="595"/>
                </a:lnTo>
                <a:lnTo>
                  <a:pt x="397" y="612"/>
                </a:lnTo>
                <a:lnTo>
                  <a:pt x="397" y="618"/>
                </a:lnTo>
                <a:lnTo>
                  <a:pt x="403" y="623"/>
                </a:lnTo>
                <a:lnTo>
                  <a:pt x="403" y="629"/>
                </a:lnTo>
                <a:lnTo>
                  <a:pt x="403" y="635"/>
                </a:lnTo>
                <a:lnTo>
                  <a:pt x="408" y="640"/>
                </a:lnTo>
                <a:lnTo>
                  <a:pt x="414" y="646"/>
                </a:lnTo>
                <a:lnTo>
                  <a:pt x="414" y="652"/>
                </a:lnTo>
                <a:lnTo>
                  <a:pt x="420" y="652"/>
                </a:lnTo>
                <a:lnTo>
                  <a:pt x="425" y="657"/>
                </a:lnTo>
                <a:lnTo>
                  <a:pt x="425" y="663"/>
                </a:lnTo>
                <a:lnTo>
                  <a:pt x="425" y="674"/>
                </a:lnTo>
                <a:lnTo>
                  <a:pt x="425" y="680"/>
                </a:lnTo>
                <a:lnTo>
                  <a:pt x="425" y="686"/>
                </a:lnTo>
                <a:lnTo>
                  <a:pt x="425" y="691"/>
                </a:lnTo>
                <a:lnTo>
                  <a:pt x="425" y="697"/>
                </a:lnTo>
                <a:lnTo>
                  <a:pt x="420" y="703"/>
                </a:lnTo>
                <a:lnTo>
                  <a:pt x="414" y="703"/>
                </a:lnTo>
                <a:lnTo>
                  <a:pt x="414" y="708"/>
                </a:lnTo>
                <a:lnTo>
                  <a:pt x="408" y="714"/>
                </a:lnTo>
                <a:lnTo>
                  <a:pt x="403" y="720"/>
                </a:lnTo>
                <a:lnTo>
                  <a:pt x="403" y="725"/>
                </a:lnTo>
                <a:lnTo>
                  <a:pt x="403" y="731"/>
                </a:lnTo>
                <a:lnTo>
                  <a:pt x="397" y="731"/>
                </a:lnTo>
                <a:lnTo>
                  <a:pt x="397" y="737"/>
                </a:lnTo>
                <a:lnTo>
                  <a:pt x="391" y="731"/>
                </a:lnTo>
                <a:lnTo>
                  <a:pt x="386" y="731"/>
                </a:lnTo>
                <a:lnTo>
                  <a:pt x="386" y="737"/>
                </a:lnTo>
                <a:lnTo>
                  <a:pt x="380" y="737"/>
                </a:lnTo>
                <a:lnTo>
                  <a:pt x="374" y="737"/>
                </a:lnTo>
                <a:lnTo>
                  <a:pt x="369" y="731"/>
                </a:lnTo>
                <a:lnTo>
                  <a:pt x="363" y="731"/>
                </a:lnTo>
                <a:lnTo>
                  <a:pt x="357" y="725"/>
                </a:lnTo>
                <a:lnTo>
                  <a:pt x="357" y="720"/>
                </a:lnTo>
                <a:lnTo>
                  <a:pt x="352" y="714"/>
                </a:lnTo>
                <a:lnTo>
                  <a:pt x="352" y="708"/>
                </a:lnTo>
                <a:lnTo>
                  <a:pt x="346" y="708"/>
                </a:lnTo>
                <a:lnTo>
                  <a:pt x="346" y="703"/>
                </a:lnTo>
                <a:lnTo>
                  <a:pt x="340" y="703"/>
                </a:lnTo>
                <a:lnTo>
                  <a:pt x="329" y="703"/>
                </a:lnTo>
                <a:lnTo>
                  <a:pt x="323" y="697"/>
                </a:lnTo>
                <a:lnTo>
                  <a:pt x="318" y="697"/>
                </a:lnTo>
                <a:lnTo>
                  <a:pt x="312" y="697"/>
                </a:lnTo>
                <a:lnTo>
                  <a:pt x="312" y="691"/>
                </a:lnTo>
                <a:lnTo>
                  <a:pt x="312" y="686"/>
                </a:lnTo>
                <a:lnTo>
                  <a:pt x="318" y="680"/>
                </a:lnTo>
                <a:lnTo>
                  <a:pt x="323" y="680"/>
                </a:lnTo>
                <a:lnTo>
                  <a:pt x="329" y="680"/>
                </a:lnTo>
                <a:lnTo>
                  <a:pt x="335" y="680"/>
                </a:lnTo>
                <a:lnTo>
                  <a:pt x="335" y="674"/>
                </a:lnTo>
                <a:lnTo>
                  <a:pt x="335" y="669"/>
                </a:lnTo>
                <a:lnTo>
                  <a:pt x="335" y="663"/>
                </a:lnTo>
                <a:lnTo>
                  <a:pt x="329" y="652"/>
                </a:lnTo>
                <a:lnTo>
                  <a:pt x="329" y="635"/>
                </a:lnTo>
                <a:lnTo>
                  <a:pt x="329" y="623"/>
                </a:lnTo>
                <a:lnTo>
                  <a:pt x="329" y="618"/>
                </a:lnTo>
                <a:lnTo>
                  <a:pt x="329" y="612"/>
                </a:lnTo>
                <a:lnTo>
                  <a:pt x="329" y="606"/>
                </a:lnTo>
                <a:lnTo>
                  <a:pt x="329" y="584"/>
                </a:lnTo>
                <a:lnTo>
                  <a:pt x="335" y="584"/>
                </a:lnTo>
                <a:lnTo>
                  <a:pt x="335" y="578"/>
                </a:lnTo>
                <a:lnTo>
                  <a:pt x="335" y="572"/>
                </a:lnTo>
                <a:lnTo>
                  <a:pt x="335" y="567"/>
                </a:lnTo>
                <a:lnTo>
                  <a:pt x="335" y="561"/>
                </a:lnTo>
                <a:lnTo>
                  <a:pt x="329" y="561"/>
                </a:lnTo>
                <a:lnTo>
                  <a:pt x="329" y="555"/>
                </a:lnTo>
                <a:lnTo>
                  <a:pt x="329" y="550"/>
                </a:lnTo>
                <a:lnTo>
                  <a:pt x="323" y="550"/>
                </a:lnTo>
                <a:lnTo>
                  <a:pt x="323" y="544"/>
                </a:lnTo>
                <a:lnTo>
                  <a:pt x="318" y="544"/>
                </a:lnTo>
                <a:lnTo>
                  <a:pt x="318" y="538"/>
                </a:lnTo>
                <a:lnTo>
                  <a:pt x="312" y="533"/>
                </a:lnTo>
                <a:lnTo>
                  <a:pt x="312" y="527"/>
                </a:lnTo>
                <a:lnTo>
                  <a:pt x="306" y="527"/>
                </a:lnTo>
                <a:lnTo>
                  <a:pt x="301" y="521"/>
                </a:lnTo>
                <a:lnTo>
                  <a:pt x="295" y="516"/>
                </a:lnTo>
                <a:lnTo>
                  <a:pt x="289" y="516"/>
                </a:lnTo>
                <a:lnTo>
                  <a:pt x="289" y="510"/>
                </a:lnTo>
                <a:lnTo>
                  <a:pt x="284" y="510"/>
                </a:lnTo>
                <a:lnTo>
                  <a:pt x="278" y="510"/>
                </a:lnTo>
                <a:lnTo>
                  <a:pt x="267" y="504"/>
                </a:lnTo>
                <a:lnTo>
                  <a:pt x="261" y="499"/>
                </a:lnTo>
                <a:lnTo>
                  <a:pt x="255" y="499"/>
                </a:lnTo>
                <a:lnTo>
                  <a:pt x="250" y="499"/>
                </a:lnTo>
                <a:lnTo>
                  <a:pt x="244" y="499"/>
                </a:lnTo>
                <a:lnTo>
                  <a:pt x="238" y="499"/>
                </a:lnTo>
                <a:lnTo>
                  <a:pt x="233" y="499"/>
                </a:lnTo>
                <a:lnTo>
                  <a:pt x="233" y="493"/>
                </a:lnTo>
                <a:lnTo>
                  <a:pt x="227" y="487"/>
                </a:lnTo>
                <a:lnTo>
                  <a:pt x="221" y="482"/>
                </a:lnTo>
                <a:lnTo>
                  <a:pt x="221" y="470"/>
                </a:lnTo>
                <a:lnTo>
                  <a:pt x="216" y="470"/>
                </a:lnTo>
                <a:lnTo>
                  <a:pt x="216" y="465"/>
                </a:lnTo>
                <a:lnTo>
                  <a:pt x="210" y="465"/>
                </a:lnTo>
                <a:lnTo>
                  <a:pt x="204" y="459"/>
                </a:lnTo>
                <a:lnTo>
                  <a:pt x="199" y="459"/>
                </a:lnTo>
                <a:lnTo>
                  <a:pt x="193" y="453"/>
                </a:lnTo>
                <a:lnTo>
                  <a:pt x="187" y="453"/>
                </a:lnTo>
                <a:lnTo>
                  <a:pt x="182" y="453"/>
                </a:lnTo>
                <a:lnTo>
                  <a:pt x="176" y="453"/>
                </a:lnTo>
                <a:lnTo>
                  <a:pt x="176" y="448"/>
                </a:lnTo>
                <a:lnTo>
                  <a:pt x="176" y="442"/>
                </a:lnTo>
                <a:lnTo>
                  <a:pt x="176" y="436"/>
                </a:lnTo>
                <a:lnTo>
                  <a:pt x="170" y="436"/>
                </a:lnTo>
                <a:lnTo>
                  <a:pt x="170" y="431"/>
                </a:lnTo>
                <a:lnTo>
                  <a:pt x="176" y="431"/>
                </a:lnTo>
                <a:lnTo>
                  <a:pt x="176" y="425"/>
                </a:lnTo>
                <a:lnTo>
                  <a:pt x="176" y="414"/>
                </a:lnTo>
                <a:lnTo>
                  <a:pt x="176" y="408"/>
                </a:lnTo>
                <a:lnTo>
                  <a:pt x="170" y="397"/>
                </a:lnTo>
                <a:lnTo>
                  <a:pt x="165" y="391"/>
                </a:lnTo>
                <a:lnTo>
                  <a:pt x="159" y="397"/>
                </a:lnTo>
                <a:lnTo>
                  <a:pt x="153" y="397"/>
                </a:lnTo>
                <a:lnTo>
                  <a:pt x="148" y="397"/>
                </a:lnTo>
                <a:lnTo>
                  <a:pt x="142" y="402"/>
                </a:lnTo>
                <a:lnTo>
                  <a:pt x="136" y="402"/>
                </a:lnTo>
                <a:lnTo>
                  <a:pt x="131" y="402"/>
                </a:lnTo>
                <a:lnTo>
                  <a:pt x="125" y="402"/>
                </a:lnTo>
                <a:lnTo>
                  <a:pt x="119" y="408"/>
                </a:lnTo>
                <a:lnTo>
                  <a:pt x="114" y="414"/>
                </a:lnTo>
                <a:lnTo>
                  <a:pt x="102" y="414"/>
                </a:lnTo>
                <a:lnTo>
                  <a:pt x="91" y="425"/>
                </a:lnTo>
                <a:lnTo>
                  <a:pt x="85" y="431"/>
                </a:lnTo>
                <a:lnTo>
                  <a:pt x="80" y="436"/>
                </a:lnTo>
                <a:lnTo>
                  <a:pt x="74" y="442"/>
                </a:lnTo>
                <a:lnTo>
                  <a:pt x="68" y="442"/>
                </a:lnTo>
                <a:lnTo>
                  <a:pt x="63" y="448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1" name="Freeform 8"/>
          <p:cNvSpPr>
            <a:spLocks/>
          </p:cNvSpPr>
          <p:nvPr/>
        </p:nvSpPr>
        <p:spPr bwMode="gray">
          <a:xfrm>
            <a:off x="3359549" y="1059314"/>
            <a:ext cx="1258617" cy="1344388"/>
          </a:xfrm>
          <a:custGeom>
            <a:avLst/>
            <a:gdLst>
              <a:gd name="T0" fmla="*/ 2147483647 w 743"/>
              <a:gd name="T1" fmla="*/ 2147483647 h 794"/>
              <a:gd name="T2" fmla="*/ 0 w 743"/>
              <a:gd name="T3" fmla="*/ 2147483647 h 794"/>
              <a:gd name="T4" fmla="*/ 2147483647 w 743"/>
              <a:gd name="T5" fmla="*/ 2147483647 h 794"/>
              <a:gd name="T6" fmla="*/ 2147483647 w 743"/>
              <a:gd name="T7" fmla="*/ 2147483647 h 794"/>
              <a:gd name="T8" fmla="*/ 2147483647 w 743"/>
              <a:gd name="T9" fmla="*/ 2147483647 h 794"/>
              <a:gd name="T10" fmla="*/ 2147483647 w 743"/>
              <a:gd name="T11" fmla="*/ 2147483647 h 794"/>
              <a:gd name="T12" fmla="*/ 2147483647 w 743"/>
              <a:gd name="T13" fmla="*/ 2147483647 h 794"/>
              <a:gd name="T14" fmla="*/ 2147483647 w 743"/>
              <a:gd name="T15" fmla="*/ 2147483647 h 794"/>
              <a:gd name="T16" fmla="*/ 2147483647 w 743"/>
              <a:gd name="T17" fmla="*/ 2147483647 h 794"/>
              <a:gd name="T18" fmla="*/ 2147483647 w 743"/>
              <a:gd name="T19" fmla="*/ 2147483647 h 794"/>
              <a:gd name="T20" fmla="*/ 2147483647 w 743"/>
              <a:gd name="T21" fmla="*/ 2147483647 h 794"/>
              <a:gd name="T22" fmla="*/ 2147483647 w 743"/>
              <a:gd name="T23" fmla="*/ 2147483647 h 794"/>
              <a:gd name="T24" fmla="*/ 2147483647 w 743"/>
              <a:gd name="T25" fmla="*/ 2147483647 h 794"/>
              <a:gd name="T26" fmla="*/ 2147483647 w 743"/>
              <a:gd name="T27" fmla="*/ 2147483647 h 794"/>
              <a:gd name="T28" fmla="*/ 2147483647 w 743"/>
              <a:gd name="T29" fmla="*/ 2147483647 h 794"/>
              <a:gd name="T30" fmla="*/ 2147483647 w 743"/>
              <a:gd name="T31" fmla="*/ 2147483647 h 794"/>
              <a:gd name="T32" fmla="*/ 2147483647 w 743"/>
              <a:gd name="T33" fmla="*/ 2147483647 h 794"/>
              <a:gd name="T34" fmla="*/ 2147483647 w 743"/>
              <a:gd name="T35" fmla="*/ 2147483647 h 794"/>
              <a:gd name="T36" fmla="*/ 2147483647 w 743"/>
              <a:gd name="T37" fmla="*/ 2147483647 h 794"/>
              <a:gd name="T38" fmla="*/ 2147483647 w 743"/>
              <a:gd name="T39" fmla="*/ 2147483647 h 794"/>
              <a:gd name="T40" fmla="*/ 2147483647 w 743"/>
              <a:gd name="T41" fmla="*/ 0 h 794"/>
              <a:gd name="T42" fmla="*/ 2147483647 w 743"/>
              <a:gd name="T43" fmla="*/ 2147483647 h 794"/>
              <a:gd name="T44" fmla="*/ 2147483647 w 743"/>
              <a:gd name="T45" fmla="*/ 2147483647 h 794"/>
              <a:gd name="T46" fmla="*/ 2147483647 w 743"/>
              <a:gd name="T47" fmla="*/ 2147483647 h 794"/>
              <a:gd name="T48" fmla="*/ 2147483647 w 743"/>
              <a:gd name="T49" fmla="*/ 2147483647 h 794"/>
              <a:gd name="T50" fmla="*/ 2147483647 w 743"/>
              <a:gd name="T51" fmla="*/ 2147483647 h 794"/>
              <a:gd name="T52" fmla="*/ 2147483647 w 743"/>
              <a:gd name="T53" fmla="*/ 2147483647 h 794"/>
              <a:gd name="T54" fmla="*/ 2147483647 w 743"/>
              <a:gd name="T55" fmla="*/ 2147483647 h 794"/>
              <a:gd name="T56" fmla="*/ 2147483647 w 743"/>
              <a:gd name="T57" fmla="*/ 2147483647 h 794"/>
              <a:gd name="T58" fmla="*/ 2147483647 w 743"/>
              <a:gd name="T59" fmla="*/ 2147483647 h 794"/>
              <a:gd name="T60" fmla="*/ 2147483647 w 743"/>
              <a:gd name="T61" fmla="*/ 2147483647 h 794"/>
              <a:gd name="T62" fmla="*/ 2147483647 w 743"/>
              <a:gd name="T63" fmla="*/ 2147483647 h 794"/>
              <a:gd name="T64" fmla="*/ 2147483647 w 743"/>
              <a:gd name="T65" fmla="*/ 2147483647 h 794"/>
              <a:gd name="T66" fmla="*/ 2147483647 w 743"/>
              <a:gd name="T67" fmla="*/ 2147483647 h 794"/>
              <a:gd name="T68" fmla="*/ 2147483647 w 743"/>
              <a:gd name="T69" fmla="*/ 2147483647 h 794"/>
              <a:gd name="T70" fmla="*/ 2147483647 w 743"/>
              <a:gd name="T71" fmla="*/ 2147483647 h 794"/>
              <a:gd name="T72" fmla="*/ 2147483647 w 743"/>
              <a:gd name="T73" fmla="*/ 2147483647 h 794"/>
              <a:gd name="T74" fmla="*/ 2147483647 w 743"/>
              <a:gd name="T75" fmla="*/ 2147483647 h 794"/>
              <a:gd name="T76" fmla="*/ 2147483647 w 743"/>
              <a:gd name="T77" fmla="*/ 2147483647 h 794"/>
              <a:gd name="T78" fmla="*/ 2147483647 w 743"/>
              <a:gd name="T79" fmla="*/ 2147483647 h 794"/>
              <a:gd name="T80" fmla="*/ 2147483647 w 743"/>
              <a:gd name="T81" fmla="*/ 2147483647 h 794"/>
              <a:gd name="T82" fmla="*/ 2147483647 w 743"/>
              <a:gd name="T83" fmla="*/ 2147483647 h 794"/>
              <a:gd name="T84" fmla="*/ 2147483647 w 743"/>
              <a:gd name="T85" fmla="*/ 2147483647 h 794"/>
              <a:gd name="T86" fmla="*/ 2147483647 w 743"/>
              <a:gd name="T87" fmla="*/ 2147483647 h 794"/>
              <a:gd name="T88" fmla="*/ 2147483647 w 743"/>
              <a:gd name="T89" fmla="*/ 2147483647 h 794"/>
              <a:gd name="T90" fmla="*/ 2147483647 w 743"/>
              <a:gd name="T91" fmla="*/ 2147483647 h 794"/>
              <a:gd name="T92" fmla="*/ 2147483647 w 743"/>
              <a:gd name="T93" fmla="*/ 2147483647 h 794"/>
              <a:gd name="T94" fmla="*/ 2147483647 w 743"/>
              <a:gd name="T95" fmla="*/ 2147483647 h 794"/>
              <a:gd name="T96" fmla="*/ 2147483647 w 743"/>
              <a:gd name="T97" fmla="*/ 2147483647 h 794"/>
              <a:gd name="T98" fmla="*/ 2147483647 w 743"/>
              <a:gd name="T99" fmla="*/ 2147483647 h 794"/>
              <a:gd name="T100" fmla="*/ 2147483647 w 743"/>
              <a:gd name="T101" fmla="*/ 2147483647 h 794"/>
              <a:gd name="T102" fmla="*/ 2147483647 w 743"/>
              <a:gd name="T103" fmla="*/ 2147483647 h 794"/>
              <a:gd name="T104" fmla="*/ 2147483647 w 743"/>
              <a:gd name="T105" fmla="*/ 2147483647 h 794"/>
              <a:gd name="T106" fmla="*/ 2147483647 w 743"/>
              <a:gd name="T107" fmla="*/ 2147483647 h 794"/>
              <a:gd name="T108" fmla="*/ 2147483647 w 743"/>
              <a:gd name="T109" fmla="*/ 2147483647 h 794"/>
              <a:gd name="T110" fmla="*/ 2147483647 w 743"/>
              <a:gd name="T111" fmla="*/ 2147483647 h 794"/>
              <a:gd name="T112" fmla="*/ 2147483647 w 743"/>
              <a:gd name="T113" fmla="*/ 2147483647 h 794"/>
              <a:gd name="T114" fmla="*/ 2147483647 w 743"/>
              <a:gd name="T115" fmla="*/ 2147483647 h 794"/>
              <a:gd name="T116" fmla="*/ 2147483647 w 743"/>
              <a:gd name="T117" fmla="*/ 2147483647 h 794"/>
              <a:gd name="T118" fmla="*/ 2147483647 w 743"/>
              <a:gd name="T119" fmla="*/ 2147483647 h 794"/>
              <a:gd name="T120" fmla="*/ 2147483647 w 743"/>
              <a:gd name="T121" fmla="*/ 2147483647 h 79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43"/>
              <a:gd name="T184" fmla="*/ 0 h 794"/>
              <a:gd name="T185" fmla="*/ 743 w 743"/>
              <a:gd name="T186" fmla="*/ 794 h 79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43" h="794">
                <a:moveTo>
                  <a:pt x="6" y="703"/>
                </a:moveTo>
                <a:lnTo>
                  <a:pt x="6" y="698"/>
                </a:lnTo>
                <a:lnTo>
                  <a:pt x="6" y="692"/>
                </a:lnTo>
                <a:lnTo>
                  <a:pt x="12" y="686"/>
                </a:lnTo>
                <a:lnTo>
                  <a:pt x="12" y="681"/>
                </a:lnTo>
                <a:lnTo>
                  <a:pt x="12" y="675"/>
                </a:lnTo>
                <a:lnTo>
                  <a:pt x="12" y="669"/>
                </a:lnTo>
                <a:lnTo>
                  <a:pt x="17" y="669"/>
                </a:lnTo>
                <a:lnTo>
                  <a:pt x="17" y="664"/>
                </a:lnTo>
                <a:lnTo>
                  <a:pt x="17" y="658"/>
                </a:lnTo>
                <a:lnTo>
                  <a:pt x="12" y="652"/>
                </a:lnTo>
                <a:lnTo>
                  <a:pt x="12" y="647"/>
                </a:lnTo>
                <a:lnTo>
                  <a:pt x="6" y="641"/>
                </a:lnTo>
                <a:lnTo>
                  <a:pt x="0" y="635"/>
                </a:lnTo>
                <a:lnTo>
                  <a:pt x="0" y="630"/>
                </a:lnTo>
                <a:lnTo>
                  <a:pt x="0" y="624"/>
                </a:lnTo>
                <a:lnTo>
                  <a:pt x="0" y="618"/>
                </a:lnTo>
                <a:lnTo>
                  <a:pt x="0" y="613"/>
                </a:lnTo>
                <a:lnTo>
                  <a:pt x="0" y="607"/>
                </a:lnTo>
                <a:lnTo>
                  <a:pt x="0" y="601"/>
                </a:lnTo>
                <a:lnTo>
                  <a:pt x="6" y="601"/>
                </a:lnTo>
                <a:lnTo>
                  <a:pt x="6" y="596"/>
                </a:lnTo>
                <a:lnTo>
                  <a:pt x="6" y="590"/>
                </a:lnTo>
                <a:lnTo>
                  <a:pt x="6" y="584"/>
                </a:lnTo>
                <a:lnTo>
                  <a:pt x="12" y="584"/>
                </a:lnTo>
                <a:lnTo>
                  <a:pt x="12" y="573"/>
                </a:lnTo>
                <a:lnTo>
                  <a:pt x="12" y="567"/>
                </a:lnTo>
                <a:lnTo>
                  <a:pt x="17" y="567"/>
                </a:lnTo>
                <a:lnTo>
                  <a:pt x="17" y="562"/>
                </a:lnTo>
                <a:lnTo>
                  <a:pt x="23" y="562"/>
                </a:lnTo>
                <a:lnTo>
                  <a:pt x="23" y="556"/>
                </a:lnTo>
                <a:lnTo>
                  <a:pt x="34" y="556"/>
                </a:lnTo>
                <a:lnTo>
                  <a:pt x="40" y="556"/>
                </a:lnTo>
                <a:lnTo>
                  <a:pt x="46" y="556"/>
                </a:lnTo>
                <a:lnTo>
                  <a:pt x="51" y="556"/>
                </a:lnTo>
                <a:lnTo>
                  <a:pt x="57" y="562"/>
                </a:lnTo>
                <a:lnTo>
                  <a:pt x="63" y="562"/>
                </a:lnTo>
                <a:lnTo>
                  <a:pt x="68" y="562"/>
                </a:lnTo>
                <a:lnTo>
                  <a:pt x="68" y="556"/>
                </a:lnTo>
                <a:lnTo>
                  <a:pt x="74" y="556"/>
                </a:lnTo>
                <a:lnTo>
                  <a:pt x="80" y="556"/>
                </a:lnTo>
                <a:lnTo>
                  <a:pt x="85" y="545"/>
                </a:lnTo>
                <a:lnTo>
                  <a:pt x="91" y="545"/>
                </a:lnTo>
                <a:lnTo>
                  <a:pt x="97" y="539"/>
                </a:lnTo>
                <a:lnTo>
                  <a:pt x="97" y="533"/>
                </a:lnTo>
                <a:lnTo>
                  <a:pt x="97" y="528"/>
                </a:lnTo>
                <a:lnTo>
                  <a:pt x="102" y="522"/>
                </a:lnTo>
                <a:lnTo>
                  <a:pt x="108" y="522"/>
                </a:lnTo>
                <a:lnTo>
                  <a:pt x="114" y="522"/>
                </a:lnTo>
                <a:lnTo>
                  <a:pt x="119" y="528"/>
                </a:lnTo>
                <a:lnTo>
                  <a:pt x="119" y="522"/>
                </a:lnTo>
                <a:lnTo>
                  <a:pt x="125" y="522"/>
                </a:lnTo>
                <a:lnTo>
                  <a:pt x="125" y="516"/>
                </a:lnTo>
                <a:lnTo>
                  <a:pt x="131" y="516"/>
                </a:lnTo>
                <a:lnTo>
                  <a:pt x="131" y="511"/>
                </a:lnTo>
                <a:lnTo>
                  <a:pt x="125" y="505"/>
                </a:lnTo>
                <a:lnTo>
                  <a:pt x="125" y="499"/>
                </a:lnTo>
                <a:lnTo>
                  <a:pt x="119" y="499"/>
                </a:lnTo>
                <a:lnTo>
                  <a:pt x="114" y="488"/>
                </a:lnTo>
                <a:lnTo>
                  <a:pt x="108" y="488"/>
                </a:lnTo>
                <a:lnTo>
                  <a:pt x="108" y="482"/>
                </a:lnTo>
                <a:lnTo>
                  <a:pt x="102" y="482"/>
                </a:lnTo>
                <a:lnTo>
                  <a:pt x="97" y="482"/>
                </a:lnTo>
                <a:lnTo>
                  <a:pt x="91" y="482"/>
                </a:lnTo>
                <a:lnTo>
                  <a:pt x="91" y="477"/>
                </a:lnTo>
                <a:lnTo>
                  <a:pt x="85" y="477"/>
                </a:lnTo>
                <a:lnTo>
                  <a:pt x="85" y="471"/>
                </a:lnTo>
                <a:lnTo>
                  <a:pt x="85" y="465"/>
                </a:lnTo>
                <a:lnTo>
                  <a:pt x="85" y="460"/>
                </a:lnTo>
                <a:lnTo>
                  <a:pt x="91" y="460"/>
                </a:lnTo>
                <a:lnTo>
                  <a:pt x="91" y="454"/>
                </a:lnTo>
                <a:lnTo>
                  <a:pt x="97" y="454"/>
                </a:lnTo>
                <a:lnTo>
                  <a:pt x="97" y="448"/>
                </a:lnTo>
                <a:lnTo>
                  <a:pt x="97" y="443"/>
                </a:lnTo>
                <a:lnTo>
                  <a:pt x="102" y="443"/>
                </a:lnTo>
                <a:lnTo>
                  <a:pt x="102" y="437"/>
                </a:lnTo>
                <a:lnTo>
                  <a:pt x="102" y="431"/>
                </a:lnTo>
                <a:lnTo>
                  <a:pt x="102" y="426"/>
                </a:lnTo>
                <a:lnTo>
                  <a:pt x="102" y="420"/>
                </a:lnTo>
                <a:lnTo>
                  <a:pt x="97" y="414"/>
                </a:lnTo>
                <a:lnTo>
                  <a:pt x="97" y="409"/>
                </a:lnTo>
                <a:lnTo>
                  <a:pt x="97" y="403"/>
                </a:lnTo>
                <a:lnTo>
                  <a:pt x="97" y="397"/>
                </a:lnTo>
                <a:lnTo>
                  <a:pt x="91" y="392"/>
                </a:lnTo>
                <a:lnTo>
                  <a:pt x="85" y="386"/>
                </a:lnTo>
                <a:lnTo>
                  <a:pt x="85" y="380"/>
                </a:lnTo>
                <a:lnTo>
                  <a:pt x="85" y="369"/>
                </a:lnTo>
                <a:lnTo>
                  <a:pt x="85" y="363"/>
                </a:lnTo>
                <a:lnTo>
                  <a:pt x="80" y="363"/>
                </a:lnTo>
                <a:lnTo>
                  <a:pt x="80" y="358"/>
                </a:lnTo>
                <a:lnTo>
                  <a:pt x="80" y="352"/>
                </a:lnTo>
                <a:lnTo>
                  <a:pt x="80" y="346"/>
                </a:lnTo>
                <a:lnTo>
                  <a:pt x="80" y="341"/>
                </a:lnTo>
                <a:lnTo>
                  <a:pt x="74" y="341"/>
                </a:lnTo>
                <a:lnTo>
                  <a:pt x="74" y="335"/>
                </a:lnTo>
                <a:lnTo>
                  <a:pt x="68" y="335"/>
                </a:lnTo>
                <a:lnTo>
                  <a:pt x="68" y="329"/>
                </a:lnTo>
                <a:lnTo>
                  <a:pt x="68" y="312"/>
                </a:lnTo>
                <a:lnTo>
                  <a:pt x="68" y="307"/>
                </a:lnTo>
                <a:lnTo>
                  <a:pt x="68" y="301"/>
                </a:lnTo>
                <a:lnTo>
                  <a:pt x="68" y="295"/>
                </a:lnTo>
                <a:lnTo>
                  <a:pt x="68" y="290"/>
                </a:lnTo>
                <a:lnTo>
                  <a:pt x="68" y="267"/>
                </a:lnTo>
                <a:lnTo>
                  <a:pt x="63" y="261"/>
                </a:lnTo>
                <a:lnTo>
                  <a:pt x="63" y="256"/>
                </a:lnTo>
                <a:lnTo>
                  <a:pt x="63" y="250"/>
                </a:lnTo>
                <a:lnTo>
                  <a:pt x="63" y="244"/>
                </a:lnTo>
                <a:lnTo>
                  <a:pt x="57" y="239"/>
                </a:lnTo>
                <a:lnTo>
                  <a:pt x="57" y="233"/>
                </a:lnTo>
                <a:lnTo>
                  <a:pt x="57" y="205"/>
                </a:lnTo>
                <a:lnTo>
                  <a:pt x="57" y="193"/>
                </a:lnTo>
                <a:lnTo>
                  <a:pt x="63" y="182"/>
                </a:lnTo>
                <a:lnTo>
                  <a:pt x="63" y="176"/>
                </a:lnTo>
                <a:lnTo>
                  <a:pt x="63" y="165"/>
                </a:lnTo>
                <a:lnTo>
                  <a:pt x="63" y="154"/>
                </a:lnTo>
                <a:lnTo>
                  <a:pt x="63" y="137"/>
                </a:lnTo>
                <a:lnTo>
                  <a:pt x="63" y="119"/>
                </a:lnTo>
                <a:lnTo>
                  <a:pt x="74" y="119"/>
                </a:lnTo>
                <a:lnTo>
                  <a:pt x="80" y="114"/>
                </a:lnTo>
                <a:lnTo>
                  <a:pt x="85" y="114"/>
                </a:lnTo>
                <a:lnTo>
                  <a:pt x="91" y="114"/>
                </a:lnTo>
                <a:lnTo>
                  <a:pt x="91" y="108"/>
                </a:lnTo>
                <a:lnTo>
                  <a:pt x="97" y="108"/>
                </a:lnTo>
                <a:lnTo>
                  <a:pt x="102" y="97"/>
                </a:lnTo>
                <a:lnTo>
                  <a:pt x="108" y="97"/>
                </a:lnTo>
                <a:lnTo>
                  <a:pt x="108" y="91"/>
                </a:lnTo>
                <a:lnTo>
                  <a:pt x="114" y="91"/>
                </a:lnTo>
                <a:lnTo>
                  <a:pt x="114" y="85"/>
                </a:lnTo>
                <a:lnTo>
                  <a:pt x="119" y="85"/>
                </a:lnTo>
                <a:lnTo>
                  <a:pt x="125" y="80"/>
                </a:lnTo>
                <a:lnTo>
                  <a:pt x="131" y="80"/>
                </a:lnTo>
                <a:lnTo>
                  <a:pt x="136" y="80"/>
                </a:lnTo>
                <a:lnTo>
                  <a:pt x="153" y="85"/>
                </a:lnTo>
                <a:lnTo>
                  <a:pt x="159" y="85"/>
                </a:lnTo>
                <a:lnTo>
                  <a:pt x="170" y="85"/>
                </a:lnTo>
                <a:lnTo>
                  <a:pt x="176" y="85"/>
                </a:lnTo>
                <a:lnTo>
                  <a:pt x="182" y="85"/>
                </a:lnTo>
                <a:lnTo>
                  <a:pt x="193" y="80"/>
                </a:lnTo>
                <a:lnTo>
                  <a:pt x="199" y="74"/>
                </a:lnTo>
                <a:lnTo>
                  <a:pt x="205" y="74"/>
                </a:lnTo>
                <a:lnTo>
                  <a:pt x="210" y="68"/>
                </a:lnTo>
                <a:lnTo>
                  <a:pt x="216" y="68"/>
                </a:lnTo>
                <a:lnTo>
                  <a:pt x="222" y="68"/>
                </a:lnTo>
                <a:lnTo>
                  <a:pt x="222" y="63"/>
                </a:lnTo>
                <a:lnTo>
                  <a:pt x="227" y="63"/>
                </a:lnTo>
                <a:lnTo>
                  <a:pt x="233" y="57"/>
                </a:lnTo>
                <a:lnTo>
                  <a:pt x="239" y="51"/>
                </a:lnTo>
                <a:lnTo>
                  <a:pt x="244" y="51"/>
                </a:lnTo>
                <a:lnTo>
                  <a:pt x="250" y="51"/>
                </a:lnTo>
                <a:lnTo>
                  <a:pt x="250" y="46"/>
                </a:lnTo>
                <a:lnTo>
                  <a:pt x="256" y="46"/>
                </a:lnTo>
                <a:lnTo>
                  <a:pt x="261" y="40"/>
                </a:lnTo>
                <a:lnTo>
                  <a:pt x="267" y="40"/>
                </a:lnTo>
                <a:lnTo>
                  <a:pt x="267" y="34"/>
                </a:lnTo>
                <a:lnTo>
                  <a:pt x="273" y="34"/>
                </a:lnTo>
                <a:lnTo>
                  <a:pt x="278" y="34"/>
                </a:lnTo>
                <a:lnTo>
                  <a:pt x="295" y="23"/>
                </a:lnTo>
                <a:lnTo>
                  <a:pt x="295" y="17"/>
                </a:lnTo>
                <a:lnTo>
                  <a:pt x="307" y="12"/>
                </a:lnTo>
                <a:lnTo>
                  <a:pt x="312" y="12"/>
                </a:lnTo>
                <a:lnTo>
                  <a:pt x="312" y="6"/>
                </a:lnTo>
                <a:lnTo>
                  <a:pt x="318" y="6"/>
                </a:lnTo>
                <a:lnTo>
                  <a:pt x="329" y="0"/>
                </a:lnTo>
                <a:lnTo>
                  <a:pt x="335" y="0"/>
                </a:lnTo>
                <a:lnTo>
                  <a:pt x="341" y="0"/>
                </a:lnTo>
                <a:lnTo>
                  <a:pt x="346" y="0"/>
                </a:lnTo>
                <a:lnTo>
                  <a:pt x="352" y="0"/>
                </a:lnTo>
                <a:lnTo>
                  <a:pt x="358" y="0"/>
                </a:lnTo>
                <a:lnTo>
                  <a:pt x="363" y="6"/>
                </a:lnTo>
                <a:lnTo>
                  <a:pt x="369" y="6"/>
                </a:lnTo>
                <a:lnTo>
                  <a:pt x="375" y="6"/>
                </a:lnTo>
                <a:lnTo>
                  <a:pt x="392" y="6"/>
                </a:lnTo>
                <a:lnTo>
                  <a:pt x="397" y="6"/>
                </a:lnTo>
                <a:lnTo>
                  <a:pt x="403" y="12"/>
                </a:lnTo>
                <a:lnTo>
                  <a:pt x="409" y="12"/>
                </a:lnTo>
                <a:lnTo>
                  <a:pt x="414" y="12"/>
                </a:lnTo>
                <a:lnTo>
                  <a:pt x="420" y="12"/>
                </a:lnTo>
                <a:lnTo>
                  <a:pt x="426" y="12"/>
                </a:lnTo>
                <a:lnTo>
                  <a:pt x="426" y="17"/>
                </a:lnTo>
                <a:lnTo>
                  <a:pt x="431" y="17"/>
                </a:lnTo>
                <a:lnTo>
                  <a:pt x="443" y="23"/>
                </a:lnTo>
                <a:lnTo>
                  <a:pt x="448" y="23"/>
                </a:lnTo>
                <a:lnTo>
                  <a:pt x="454" y="29"/>
                </a:lnTo>
                <a:lnTo>
                  <a:pt x="460" y="34"/>
                </a:lnTo>
                <a:lnTo>
                  <a:pt x="465" y="40"/>
                </a:lnTo>
                <a:lnTo>
                  <a:pt x="471" y="40"/>
                </a:lnTo>
                <a:lnTo>
                  <a:pt x="488" y="46"/>
                </a:lnTo>
                <a:lnTo>
                  <a:pt x="488" y="51"/>
                </a:lnTo>
                <a:lnTo>
                  <a:pt x="494" y="51"/>
                </a:lnTo>
                <a:lnTo>
                  <a:pt x="499" y="57"/>
                </a:lnTo>
                <a:lnTo>
                  <a:pt x="499" y="63"/>
                </a:lnTo>
                <a:lnTo>
                  <a:pt x="505" y="63"/>
                </a:lnTo>
                <a:lnTo>
                  <a:pt x="505" y="68"/>
                </a:lnTo>
                <a:lnTo>
                  <a:pt x="511" y="74"/>
                </a:lnTo>
                <a:lnTo>
                  <a:pt x="516" y="80"/>
                </a:lnTo>
                <a:lnTo>
                  <a:pt x="522" y="80"/>
                </a:lnTo>
                <a:lnTo>
                  <a:pt x="528" y="85"/>
                </a:lnTo>
                <a:lnTo>
                  <a:pt x="528" y="91"/>
                </a:lnTo>
                <a:lnTo>
                  <a:pt x="533" y="91"/>
                </a:lnTo>
                <a:lnTo>
                  <a:pt x="539" y="97"/>
                </a:lnTo>
                <a:lnTo>
                  <a:pt x="545" y="102"/>
                </a:lnTo>
                <a:lnTo>
                  <a:pt x="550" y="97"/>
                </a:lnTo>
                <a:lnTo>
                  <a:pt x="562" y="97"/>
                </a:lnTo>
                <a:lnTo>
                  <a:pt x="567" y="97"/>
                </a:lnTo>
                <a:lnTo>
                  <a:pt x="573" y="97"/>
                </a:lnTo>
                <a:lnTo>
                  <a:pt x="579" y="97"/>
                </a:lnTo>
                <a:lnTo>
                  <a:pt x="584" y="102"/>
                </a:lnTo>
                <a:lnTo>
                  <a:pt x="590" y="102"/>
                </a:lnTo>
                <a:lnTo>
                  <a:pt x="596" y="108"/>
                </a:lnTo>
                <a:lnTo>
                  <a:pt x="601" y="114"/>
                </a:lnTo>
                <a:lnTo>
                  <a:pt x="607" y="114"/>
                </a:lnTo>
                <a:lnTo>
                  <a:pt x="618" y="125"/>
                </a:lnTo>
                <a:lnTo>
                  <a:pt x="618" y="131"/>
                </a:lnTo>
                <a:lnTo>
                  <a:pt x="624" y="137"/>
                </a:lnTo>
                <a:lnTo>
                  <a:pt x="624" y="142"/>
                </a:lnTo>
                <a:lnTo>
                  <a:pt x="630" y="142"/>
                </a:lnTo>
                <a:lnTo>
                  <a:pt x="635" y="148"/>
                </a:lnTo>
                <a:lnTo>
                  <a:pt x="641" y="148"/>
                </a:lnTo>
                <a:lnTo>
                  <a:pt x="647" y="148"/>
                </a:lnTo>
                <a:lnTo>
                  <a:pt x="647" y="154"/>
                </a:lnTo>
                <a:lnTo>
                  <a:pt x="647" y="148"/>
                </a:lnTo>
                <a:lnTo>
                  <a:pt x="652" y="154"/>
                </a:lnTo>
                <a:lnTo>
                  <a:pt x="664" y="154"/>
                </a:lnTo>
                <a:lnTo>
                  <a:pt x="669" y="159"/>
                </a:lnTo>
                <a:lnTo>
                  <a:pt x="675" y="159"/>
                </a:lnTo>
                <a:lnTo>
                  <a:pt x="681" y="159"/>
                </a:lnTo>
                <a:lnTo>
                  <a:pt x="686" y="165"/>
                </a:lnTo>
                <a:lnTo>
                  <a:pt x="692" y="165"/>
                </a:lnTo>
                <a:lnTo>
                  <a:pt x="698" y="165"/>
                </a:lnTo>
                <a:lnTo>
                  <a:pt x="703" y="165"/>
                </a:lnTo>
                <a:lnTo>
                  <a:pt x="709" y="171"/>
                </a:lnTo>
                <a:lnTo>
                  <a:pt x="720" y="176"/>
                </a:lnTo>
                <a:lnTo>
                  <a:pt x="726" y="176"/>
                </a:lnTo>
                <a:lnTo>
                  <a:pt x="732" y="176"/>
                </a:lnTo>
                <a:lnTo>
                  <a:pt x="743" y="199"/>
                </a:lnTo>
                <a:lnTo>
                  <a:pt x="737" y="205"/>
                </a:lnTo>
                <a:lnTo>
                  <a:pt x="737" y="210"/>
                </a:lnTo>
                <a:lnTo>
                  <a:pt x="732" y="210"/>
                </a:lnTo>
                <a:lnTo>
                  <a:pt x="732" y="216"/>
                </a:lnTo>
                <a:lnTo>
                  <a:pt x="726" y="216"/>
                </a:lnTo>
                <a:lnTo>
                  <a:pt x="726" y="222"/>
                </a:lnTo>
                <a:lnTo>
                  <a:pt x="726" y="227"/>
                </a:lnTo>
                <a:lnTo>
                  <a:pt x="720" y="227"/>
                </a:lnTo>
                <a:lnTo>
                  <a:pt x="720" y="233"/>
                </a:lnTo>
                <a:lnTo>
                  <a:pt x="715" y="233"/>
                </a:lnTo>
                <a:lnTo>
                  <a:pt x="709" y="239"/>
                </a:lnTo>
                <a:lnTo>
                  <a:pt x="703" y="239"/>
                </a:lnTo>
                <a:lnTo>
                  <a:pt x="698" y="244"/>
                </a:lnTo>
                <a:lnTo>
                  <a:pt x="692" y="244"/>
                </a:lnTo>
                <a:lnTo>
                  <a:pt x="686" y="244"/>
                </a:lnTo>
                <a:lnTo>
                  <a:pt x="669" y="244"/>
                </a:lnTo>
                <a:lnTo>
                  <a:pt x="669" y="250"/>
                </a:lnTo>
                <a:lnTo>
                  <a:pt x="664" y="244"/>
                </a:lnTo>
                <a:lnTo>
                  <a:pt x="652" y="244"/>
                </a:lnTo>
                <a:lnTo>
                  <a:pt x="641" y="239"/>
                </a:lnTo>
                <a:lnTo>
                  <a:pt x="635" y="239"/>
                </a:lnTo>
                <a:lnTo>
                  <a:pt x="630" y="233"/>
                </a:lnTo>
                <a:lnTo>
                  <a:pt x="624" y="233"/>
                </a:lnTo>
                <a:lnTo>
                  <a:pt x="624" y="227"/>
                </a:lnTo>
                <a:lnTo>
                  <a:pt x="618" y="227"/>
                </a:lnTo>
                <a:lnTo>
                  <a:pt x="613" y="222"/>
                </a:lnTo>
                <a:lnTo>
                  <a:pt x="613" y="216"/>
                </a:lnTo>
                <a:lnTo>
                  <a:pt x="607" y="210"/>
                </a:lnTo>
                <a:lnTo>
                  <a:pt x="601" y="205"/>
                </a:lnTo>
                <a:lnTo>
                  <a:pt x="596" y="205"/>
                </a:lnTo>
                <a:lnTo>
                  <a:pt x="596" y="193"/>
                </a:lnTo>
                <a:lnTo>
                  <a:pt x="584" y="188"/>
                </a:lnTo>
                <a:lnTo>
                  <a:pt x="584" y="182"/>
                </a:lnTo>
                <a:lnTo>
                  <a:pt x="579" y="182"/>
                </a:lnTo>
                <a:lnTo>
                  <a:pt x="567" y="182"/>
                </a:lnTo>
                <a:lnTo>
                  <a:pt x="556" y="182"/>
                </a:lnTo>
                <a:lnTo>
                  <a:pt x="550" y="188"/>
                </a:lnTo>
                <a:lnTo>
                  <a:pt x="545" y="188"/>
                </a:lnTo>
                <a:lnTo>
                  <a:pt x="539" y="188"/>
                </a:lnTo>
                <a:lnTo>
                  <a:pt x="533" y="188"/>
                </a:lnTo>
                <a:lnTo>
                  <a:pt x="528" y="193"/>
                </a:lnTo>
                <a:lnTo>
                  <a:pt x="522" y="193"/>
                </a:lnTo>
                <a:lnTo>
                  <a:pt x="516" y="188"/>
                </a:lnTo>
                <a:lnTo>
                  <a:pt x="511" y="188"/>
                </a:lnTo>
                <a:lnTo>
                  <a:pt x="505" y="188"/>
                </a:lnTo>
                <a:lnTo>
                  <a:pt x="499" y="182"/>
                </a:lnTo>
                <a:lnTo>
                  <a:pt x="494" y="182"/>
                </a:lnTo>
                <a:lnTo>
                  <a:pt x="488" y="182"/>
                </a:lnTo>
                <a:lnTo>
                  <a:pt x="482" y="182"/>
                </a:lnTo>
                <a:lnTo>
                  <a:pt x="477" y="182"/>
                </a:lnTo>
                <a:lnTo>
                  <a:pt x="465" y="182"/>
                </a:lnTo>
                <a:lnTo>
                  <a:pt x="460" y="188"/>
                </a:lnTo>
                <a:lnTo>
                  <a:pt x="454" y="193"/>
                </a:lnTo>
                <a:lnTo>
                  <a:pt x="454" y="199"/>
                </a:lnTo>
                <a:lnTo>
                  <a:pt x="454" y="205"/>
                </a:lnTo>
                <a:lnTo>
                  <a:pt x="454" y="222"/>
                </a:lnTo>
                <a:lnTo>
                  <a:pt x="454" y="233"/>
                </a:lnTo>
                <a:lnTo>
                  <a:pt x="454" y="239"/>
                </a:lnTo>
                <a:lnTo>
                  <a:pt x="454" y="244"/>
                </a:lnTo>
                <a:lnTo>
                  <a:pt x="454" y="250"/>
                </a:lnTo>
                <a:lnTo>
                  <a:pt x="454" y="256"/>
                </a:lnTo>
                <a:lnTo>
                  <a:pt x="465" y="261"/>
                </a:lnTo>
                <a:lnTo>
                  <a:pt x="465" y="267"/>
                </a:lnTo>
                <a:lnTo>
                  <a:pt x="471" y="267"/>
                </a:lnTo>
                <a:lnTo>
                  <a:pt x="482" y="267"/>
                </a:lnTo>
                <a:lnTo>
                  <a:pt x="482" y="273"/>
                </a:lnTo>
                <a:lnTo>
                  <a:pt x="488" y="273"/>
                </a:lnTo>
                <a:lnTo>
                  <a:pt x="494" y="273"/>
                </a:lnTo>
                <a:lnTo>
                  <a:pt x="482" y="278"/>
                </a:lnTo>
                <a:lnTo>
                  <a:pt x="482" y="284"/>
                </a:lnTo>
                <a:lnTo>
                  <a:pt x="477" y="290"/>
                </a:lnTo>
                <a:lnTo>
                  <a:pt x="471" y="290"/>
                </a:lnTo>
                <a:lnTo>
                  <a:pt x="465" y="295"/>
                </a:lnTo>
                <a:lnTo>
                  <a:pt x="465" y="301"/>
                </a:lnTo>
                <a:lnTo>
                  <a:pt x="465" y="307"/>
                </a:lnTo>
                <a:lnTo>
                  <a:pt x="460" y="307"/>
                </a:lnTo>
                <a:lnTo>
                  <a:pt x="454" y="312"/>
                </a:lnTo>
                <a:lnTo>
                  <a:pt x="454" y="324"/>
                </a:lnTo>
                <a:lnTo>
                  <a:pt x="454" y="329"/>
                </a:lnTo>
                <a:lnTo>
                  <a:pt x="448" y="329"/>
                </a:lnTo>
                <a:lnTo>
                  <a:pt x="448" y="335"/>
                </a:lnTo>
                <a:lnTo>
                  <a:pt x="443" y="341"/>
                </a:lnTo>
                <a:lnTo>
                  <a:pt x="437" y="346"/>
                </a:lnTo>
                <a:lnTo>
                  <a:pt x="431" y="346"/>
                </a:lnTo>
                <a:lnTo>
                  <a:pt x="426" y="352"/>
                </a:lnTo>
                <a:lnTo>
                  <a:pt x="420" y="352"/>
                </a:lnTo>
                <a:lnTo>
                  <a:pt x="420" y="358"/>
                </a:lnTo>
                <a:lnTo>
                  <a:pt x="409" y="358"/>
                </a:lnTo>
                <a:lnTo>
                  <a:pt x="403" y="358"/>
                </a:lnTo>
                <a:lnTo>
                  <a:pt x="397" y="358"/>
                </a:lnTo>
                <a:lnTo>
                  <a:pt x="392" y="363"/>
                </a:lnTo>
                <a:lnTo>
                  <a:pt x="386" y="363"/>
                </a:lnTo>
                <a:lnTo>
                  <a:pt x="380" y="363"/>
                </a:lnTo>
                <a:lnTo>
                  <a:pt x="375" y="363"/>
                </a:lnTo>
                <a:lnTo>
                  <a:pt x="369" y="363"/>
                </a:lnTo>
                <a:lnTo>
                  <a:pt x="369" y="369"/>
                </a:lnTo>
                <a:lnTo>
                  <a:pt x="358" y="375"/>
                </a:lnTo>
                <a:lnTo>
                  <a:pt x="352" y="375"/>
                </a:lnTo>
                <a:lnTo>
                  <a:pt x="352" y="380"/>
                </a:lnTo>
                <a:lnTo>
                  <a:pt x="346" y="380"/>
                </a:lnTo>
                <a:lnTo>
                  <a:pt x="341" y="386"/>
                </a:lnTo>
                <a:lnTo>
                  <a:pt x="335" y="392"/>
                </a:lnTo>
                <a:lnTo>
                  <a:pt x="329" y="403"/>
                </a:lnTo>
                <a:lnTo>
                  <a:pt x="329" y="409"/>
                </a:lnTo>
                <a:lnTo>
                  <a:pt x="329" y="414"/>
                </a:lnTo>
                <a:lnTo>
                  <a:pt x="329" y="420"/>
                </a:lnTo>
                <a:lnTo>
                  <a:pt x="329" y="426"/>
                </a:lnTo>
                <a:lnTo>
                  <a:pt x="335" y="431"/>
                </a:lnTo>
                <a:lnTo>
                  <a:pt x="335" y="443"/>
                </a:lnTo>
                <a:lnTo>
                  <a:pt x="335" y="448"/>
                </a:lnTo>
                <a:lnTo>
                  <a:pt x="335" y="454"/>
                </a:lnTo>
                <a:lnTo>
                  <a:pt x="341" y="465"/>
                </a:lnTo>
                <a:lnTo>
                  <a:pt x="341" y="471"/>
                </a:lnTo>
                <a:lnTo>
                  <a:pt x="341" y="477"/>
                </a:lnTo>
                <a:lnTo>
                  <a:pt x="335" y="488"/>
                </a:lnTo>
                <a:lnTo>
                  <a:pt x="335" y="494"/>
                </a:lnTo>
                <a:lnTo>
                  <a:pt x="335" y="505"/>
                </a:lnTo>
                <a:lnTo>
                  <a:pt x="335" y="511"/>
                </a:lnTo>
                <a:lnTo>
                  <a:pt x="335" y="516"/>
                </a:lnTo>
                <a:lnTo>
                  <a:pt x="335" y="522"/>
                </a:lnTo>
                <a:lnTo>
                  <a:pt x="341" y="522"/>
                </a:lnTo>
                <a:lnTo>
                  <a:pt x="341" y="528"/>
                </a:lnTo>
                <a:lnTo>
                  <a:pt x="341" y="533"/>
                </a:lnTo>
                <a:lnTo>
                  <a:pt x="346" y="533"/>
                </a:lnTo>
                <a:lnTo>
                  <a:pt x="346" y="539"/>
                </a:lnTo>
                <a:lnTo>
                  <a:pt x="352" y="545"/>
                </a:lnTo>
                <a:lnTo>
                  <a:pt x="352" y="550"/>
                </a:lnTo>
                <a:lnTo>
                  <a:pt x="352" y="556"/>
                </a:lnTo>
                <a:lnTo>
                  <a:pt x="352" y="562"/>
                </a:lnTo>
                <a:lnTo>
                  <a:pt x="352" y="567"/>
                </a:lnTo>
                <a:lnTo>
                  <a:pt x="352" y="579"/>
                </a:lnTo>
                <a:lnTo>
                  <a:pt x="352" y="584"/>
                </a:lnTo>
                <a:lnTo>
                  <a:pt x="358" y="590"/>
                </a:lnTo>
                <a:lnTo>
                  <a:pt x="363" y="596"/>
                </a:lnTo>
                <a:lnTo>
                  <a:pt x="363" y="601"/>
                </a:lnTo>
                <a:lnTo>
                  <a:pt x="363" y="607"/>
                </a:lnTo>
                <a:lnTo>
                  <a:pt x="363" y="613"/>
                </a:lnTo>
                <a:lnTo>
                  <a:pt x="363" y="618"/>
                </a:lnTo>
                <a:lnTo>
                  <a:pt x="352" y="624"/>
                </a:lnTo>
                <a:lnTo>
                  <a:pt x="346" y="624"/>
                </a:lnTo>
                <a:lnTo>
                  <a:pt x="335" y="624"/>
                </a:lnTo>
                <a:lnTo>
                  <a:pt x="329" y="624"/>
                </a:lnTo>
                <a:lnTo>
                  <a:pt x="324" y="624"/>
                </a:lnTo>
                <a:lnTo>
                  <a:pt x="318" y="630"/>
                </a:lnTo>
                <a:lnTo>
                  <a:pt x="312" y="630"/>
                </a:lnTo>
                <a:lnTo>
                  <a:pt x="312" y="635"/>
                </a:lnTo>
                <a:lnTo>
                  <a:pt x="307" y="635"/>
                </a:lnTo>
                <a:lnTo>
                  <a:pt x="301" y="641"/>
                </a:lnTo>
                <a:lnTo>
                  <a:pt x="295" y="641"/>
                </a:lnTo>
                <a:lnTo>
                  <a:pt x="295" y="652"/>
                </a:lnTo>
                <a:lnTo>
                  <a:pt x="290" y="652"/>
                </a:lnTo>
                <a:lnTo>
                  <a:pt x="290" y="658"/>
                </a:lnTo>
                <a:lnTo>
                  <a:pt x="284" y="658"/>
                </a:lnTo>
                <a:lnTo>
                  <a:pt x="284" y="664"/>
                </a:lnTo>
                <a:lnTo>
                  <a:pt x="278" y="664"/>
                </a:lnTo>
                <a:lnTo>
                  <a:pt x="278" y="669"/>
                </a:lnTo>
                <a:lnTo>
                  <a:pt x="284" y="669"/>
                </a:lnTo>
                <a:lnTo>
                  <a:pt x="284" y="675"/>
                </a:lnTo>
                <a:lnTo>
                  <a:pt x="284" y="681"/>
                </a:lnTo>
                <a:lnTo>
                  <a:pt x="290" y="681"/>
                </a:lnTo>
                <a:lnTo>
                  <a:pt x="290" y="686"/>
                </a:lnTo>
                <a:lnTo>
                  <a:pt x="295" y="686"/>
                </a:lnTo>
                <a:lnTo>
                  <a:pt x="295" y="692"/>
                </a:lnTo>
                <a:lnTo>
                  <a:pt x="295" y="698"/>
                </a:lnTo>
                <a:lnTo>
                  <a:pt x="307" y="698"/>
                </a:lnTo>
                <a:lnTo>
                  <a:pt x="307" y="703"/>
                </a:lnTo>
                <a:lnTo>
                  <a:pt x="307" y="709"/>
                </a:lnTo>
                <a:lnTo>
                  <a:pt x="312" y="715"/>
                </a:lnTo>
                <a:lnTo>
                  <a:pt x="318" y="715"/>
                </a:lnTo>
                <a:lnTo>
                  <a:pt x="324" y="715"/>
                </a:lnTo>
                <a:lnTo>
                  <a:pt x="329" y="715"/>
                </a:lnTo>
                <a:lnTo>
                  <a:pt x="335" y="715"/>
                </a:lnTo>
                <a:lnTo>
                  <a:pt x="341" y="715"/>
                </a:lnTo>
                <a:lnTo>
                  <a:pt x="341" y="720"/>
                </a:lnTo>
                <a:lnTo>
                  <a:pt x="329" y="726"/>
                </a:lnTo>
                <a:lnTo>
                  <a:pt x="324" y="726"/>
                </a:lnTo>
                <a:lnTo>
                  <a:pt x="318" y="732"/>
                </a:lnTo>
                <a:lnTo>
                  <a:pt x="312" y="732"/>
                </a:lnTo>
                <a:lnTo>
                  <a:pt x="312" y="737"/>
                </a:lnTo>
                <a:lnTo>
                  <a:pt x="307" y="737"/>
                </a:lnTo>
                <a:lnTo>
                  <a:pt x="307" y="743"/>
                </a:lnTo>
                <a:lnTo>
                  <a:pt x="301" y="743"/>
                </a:lnTo>
                <a:lnTo>
                  <a:pt x="301" y="749"/>
                </a:lnTo>
                <a:lnTo>
                  <a:pt x="295" y="749"/>
                </a:lnTo>
                <a:lnTo>
                  <a:pt x="284" y="754"/>
                </a:lnTo>
                <a:lnTo>
                  <a:pt x="284" y="760"/>
                </a:lnTo>
                <a:lnTo>
                  <a:pt x="278" y="766"/>
                </a:lnTo>
                <a:lnTo>
                  <a:pt x="273" y="766"/>
                </a:lnTo>
                <a:lnTo>
                  <a:pt x="267" y="766"/>
                </a:lnTo>
                <a:lnTo>
                  <a:pt x="261" y="766"/>
                </a:lnTo>
                <a:lnTo>
                  <a:pt x="256" y="766"/>
                </a:lnTo>
                <a:lnTo>
                  <a:pt x="256" y="760"/>
                </a:lnTo>
                <a:lnTo>
                  <a:pt x="256" y="749"/>
                </a:lnTo>
                <a:lnTo>
                  <a:pt x="256" y="743"/>
                </a:lnTo>
                <a:lnTo>
                  <a:pt x="256" y="737"/>
                </a:lnTo>
                <a:lnTo>
                  <a:pt x="250" y="726"/>
                </a:lnTo>
                <a:lnTo>
                  <a:pt x="244" y="726"/>
                </a:lnTo>
                <a:lnTo>
                  <a:pt x="239" y="720"/>
                </a:lnTo>
                <a:lnTo>
                  <a:pt x="233" y="720"/>
                </a:lnTo>
                <a:lnTo>
                  <a:pt x="227" y="715"/>
                </a:lnTo>
                <a:lnTo>
                  <a:pt x="227" y="709"/>
                </a:lnTo>
                <a:lnTo>
                  <a:pt x="222" y="709"/>
                </a:lnTo>
                <a:lnTo>
                  <a:pt x="216" y="703"/>
                </a:lnTo>
                <a:lnTo>
                  <a:pt x="210" y="703"/>
                </a:lnTo>
                <a:lnTo>
                  <a:pt x="199" y="703"/>
                </a:lnTo>
                <a:lnTo>
                  <a:pt x="193" y="703"/>
                </a:lnTo>
                <a:lnTo>
                  <a:pt x="188" y="709"/>
                </a:lnTo>
                <a:lnTo>
                  <a:pt x="182" y="709"/>
                </a:lnTo>
                <a:lnTo>
                  <a:pt x="176" y="709"/>
                </a:lnTo>
                <a:lnTo>
                  <a:pt x="176" y="715"/>
                </a:lnTo>
                <a:lnTo>
                  <a:pt x="170" y="720"/>
                </a:lnTo>
                <a:lnTo>
                  <a:pt x="170" y="737"/>
                </a:lnTo>
                <a:lnTo>
                  <a:pt x="165" y="737"/>
                </a:lnTo>
                <a:lnTo>
                  <a:pt x="165" y="743"/>
                </a:lnTo>
                <a:lnTo>
                  <a:pt x="159" y="743"/>
                </a:lnTo>
                <a:lnTo>
                  <a:pt x="153" y="743"/>
                </a:lnTo>
                <a:lnTo>
                  <a:pt x="148" y="743"/>
                </a:lnTo>
                <a:lnTo>
                  <a:pt x="142" y="737"/>
                </a:lnTo>
                <a:lnTo>
                  <a:pt x="136" y="737"/>
                </a:lnTo>
                <a:lnTo>
                  <a:pt x="125" y="737"/>
                </a:lnTo>
                <a:lnTo>
                  <a:pt x="114" y="743"/>
                </a:lnTo>
                <a:lnTo>
                  <a:pt x="114" y="749"/>
                </a:lnTo>
                <a:lnTo>
                  <a:pt x="114" y="754"/>
                </a:lnTo>
                <a:lnTo>
                  <a:pt x="114" y="766"/>
                </a:lnTo>
                <a:lnTo>
                  <a:pt x="114" y="771"/>
                </a:lnTo>
                <a:lnTo>
                  <a:pt x="114" y="777"/>
                </a:lnTo>
                <a:lnTo>
                  <a:pt x="114" y="783"/>
                </a:lnTo>
                <a:lnTo>
                  <a:pt x="114" y="788"/>
                </a:lnTo>
                <a:lnTo>
                  <a:pt x="108" y="788"/>
                </a:lnTo>
                <a:lnTo>
                  <a:pt x="102" y="794"/>
                </a:lnTo>
                <a:lnTo>
                  <a:pt x="97" y="794"/>
                </a:lnTo>
                <a:lnTo>
                  <a:pt x="85" y="788"/>
                </a:lnTo>
                <a:lnTo>
                  <a:pt x="85" y="783"/>
                </a:lnTo>
                <a:lnTo>
                  <a:pt x="80" y="777"/>
                </a:lnTo>
                <a:lnTo>
                  <a:pt x="74" y="777"/>
                </a:lnTo>
                <a:lnTo>
                  <a:pt x="74" y="771"/>
                </a:lnTo>
                <a:lnTo>
                  <a:pt x="68" y="771"/>
                </a:lnTo>
                <a:lnTo>
                  <a:pt x="68" y="766"/>
                </a:lnTo>
                <a:lnTo>
                  <a:pt x="63" y="766"/>
                </a:lnTo>
                <a:lnTo>
                  <a:pt x="57" y="766"/>
                </a:lnTo>
                <a:lnTo>
                  <a:pt x="51" y="760"/>
                </a:lnTo>
                <a:lnTo>
                  <a:pt x="46" y="760"/>
                </a:lnTo>
                <a:lnTo>
                  <a:pt x="46" y="754"/>
                </a:lnTo>
                <a:lnTo>
                  <a:pt x="40" y="754"/>
                </a:lnTo>
                <a:lnTo>
                  <a:pt x="40" y="749"/>
                </a:lnTo>
                <a:lnTo>
                  <a:pt x="40" y="743"/>
                </a:lnTo>
                <a:lnTo>
                  <a:pt x="40" y="737"/>
                </a:lnTo>
                <a:lnTo>
                  <a:pt x="46" y="737"/>
                </a:lnTo>
                <a:lnTo>
                  <a:pt x="46" y="726"/>
                </a:lnTo>
                <a:lnTo>
                  <a:pt x="46" y="720"/>
                </a:lnTo>
                <a:lnTo>
                  <a:pt x="46" y="715"/>
                </a:lnTo>
                <a:lnTo>
                  <a:pt x="40" y="715"/>
                </a:lnTo>
                <a:lnTo>
                  <a:pt x="34" y="709"/>
                </a:lnTo>
                <a:lnTo>
                  <a:pt x="23" y="709"/>
                </a:lnTo>
                <a:lnTo>
                  <a:pt x="17" y="709"/>
                </a:lnTo>
                <a:lnTo>
                  <a:pt x="12" y="709"/>
                </a:lnTo>
                <a:lnTo>
                  <a:pt x="6" y="70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2" name="Freeform 9"/>
          <p:cNvSpPr>
            <a:spLocks/>
          </p:cNvSpPr>
          <p:nvPr/>
        </p:nvSpPr>
        <p:spPr bwMode="gray">
          <a:xfrm>
            <a:off x="1325029" y="1107906"/>
            <a:ext cx="1535609" cy="1882144"/>
          </a:xfrm>
          <a:custGeom>
            <a:avLst/>
            <a:gdLst>
              <a:gd name="T0" fmla="*/ 2147483647 w 907"/>
              <a:gd name="T1" fmla="*/ 2147483647 h 1111"/>
              <a:gd name="T2" fmla="*/ 2147483647 w 907"/>
              <a:gd name="T3" fmla="*/ 2147483647 h 1111"/>
              <a:gd name="T4" fmla="*/ 2147483647 w 907"/>
              <a:gd name="T5" fmla="*/ 2147483647 h 1111"/>
              <a:gd name="T6" fmla="*/ 2147483647 w 907"/>
              <a:gd name="T7" fmla="*/ 2147483647 h 1111"/>
              <a:gd name="T8" fmla="*/ 2147483647 w 907"/>
              <a:gd name="T9" fmla="*/ 2147483647 h 1111"/>
              <a:gd name="T10" fmla="*/ 2147483647 w 907"/>
              <a:gd name="T11" fmla="*/ 2147483647 h 1111"/>
              <a:gd name="T12" fmla="*/ 2147483647 w 907"/>
              <a:gd name="T13" fmla="*/ 2147483647 h 1111"/>
              <a:gd name="T14" fmla="*/ 2147483647 w 907"/>
              <a:gd name="T15" fmla="*/ 2147483647 h 1111"/>
              <a:gd name="T16" fmla="*/ 2147483647 w 907"/>
              <a:gd name="T17" fmla="*/ 2147483647 h 1111"/>
              <a:gd name="T18" fmla="*/ 2147483647 w 907"/>
              <a:gd name="T19" fmla="*/ 2147483647 h 1111"/>
              <a:gd name="T20" fmla="*/ 2147483647 w 907"/>
              <a:gd name="T21" fmla="*/ 2147483647 h 1111"/>
              <a:gd name="T22" fmla="*/ 2147483647 w 907"/>
              <a:gd name="T23" fmla="*/ 2147483647 h 1111"/>
              <a:gd name="T24" fmla="*/ 2147483647 w 907"/>
              <a:gd name="T25" fmla="*/ 2147483647 h 1111"/>
              <a:gd name="T26" fmla="*/ 2147483647 w 907"/>
              <a:gd name="T27" fmla="*/ 2147483647 h 1111"/>
              <a:gd name="T28" fmla="*/ 2147483647 w 907"/>
              <a:gd name="T29" fmla="*/ 2147483647 h 1111"/>
              <a:gd name="T30" fmla="*/ 2147483647 w 907"/>
              <a:gd name="T31" fmla="*/ 2147483647 h 1111"/>
              <a:gd name="T32" fmla="*/ 2147483647 w 907"/>
              <a:gd name="T33" fmla="*/ 2147483647 h 1111"/>
              <a:gd name="T34" fmla="*/ 2147483647 w 907"/>
              <a:gd name="T35" fmla="*/ 2147483647 h 1111"/>
              <a:gd name="T36" fmla="*/ 2147483647 w 907"/>
              <a:gd name="T37" fmla="*/ 2147483647 h 1111"/>
              <a:gd name="T38" fmla="*/ 2147483647 w 907"/>
              <a:gd name="T39" fmla="*/ 2147483647 h 1111"/>
              <a:gd name="T40" fmla="*/ 2147483647 w 907"/>
              <a:gd name="T41" fmla="*/ 2147483647 h 1111"/>
              <a:gd name="T42" fmla="*/ 2147483647 w 907"/>
              <a:gd name="T43" fmla="*/ 2147483647 h 1111"/>
              <a:gd name="T44" fmla="*/ 2147483647 w 907"/>
              <a:gd name="T45" fmla="*/ 2147483647 h 1111"/>
              <a:gd name="T46" fmla="*/ 2147483647 w 907"/>
              <a:gd name="T47" fmla="*/ 2147483647 h 1111"/>
              <a:gd name="T48" fmla="*/ 2147483647 w 907"/>
              <a:gd name="T49" fmla="*/ 2147483647 h 1111"/>
              <a:gd name="T50" fmla="*/ 2147483647 w 907"/>
              <a:gd name="T51" fmla="*/ 2147483647 h 1111"/>
              <a:gd name="T52" fmla="*/ 2147483647 w 907"/>
              <a:gd name="T53" fmla="*/ 2147483647 h 1111"/>
              <a:gd name="T54" fmla="*/ 2147483647 w 907"/>
              <a:gd name="T55" fmla="*/ 2147483647 h 1111"/>
              <a:gd name="T56" fmla="*/ 2147483647 w 907"/>
              <a:gd name="T57" fmla="*/ 2147483647 h 1111"/>
              <a:gd name="T58" fmla="*/ 2147483647 w 907"/>
              <a:gd name="T59" fmla="*/ 2147483647 h 1111"/>
              <a:gd name="T60" fmla="*/ 2147483647 w 907"/>
              <a:gd name="T61" fmla="*/ 2147483647 h 1111"/>
              <a:gd name="T62" fmla="*/ 2147483647 w 907"/>
              <a:gd name="T63" fmla="*/ 2147483647 h 1111"/>
              <a:gd name="T64" fmla="*/ 2147483647 w 907"/>
              <a:gd name="T65" fmla="*/ 2147483647 h 1111"/>
              <a:gd name="T66" fmla="*/ 2147483647 w 907"/>
              <a:gd name="T67" fmla="*/ 2147483647 h 1111"/>
              <a:gd name="T68" fmla="*/ 2147483647 w 907"/>
              <a:gd name="T69" fmla="*/ 2147483647 h 1111"/>
              <a:gd name="T70" fmla="*/ 2147483647 w 907"/>
              <a:gd name="T71" fmla="*/ 2147483647 h 1111"/>
              <a:gd name="T72" fmla="*/ 2147483647 w 907"/>
              <a:gd name="T73" fmla="*/ 2147483647 h 1111"/>
              <a:gd name="T74" fmla="*/ 2147483647 w 907"/>
              <a:gd name="T75" fmla="*/ 2147483647 h 1111"/>
              <a:gd name="T76" fmla="*/ 2147483647 w 907"/>
              <a:gd name="T77" fmla="*/ 2147483647 h 1111"/>
              <a:gd name="T78" fmla="*/ 2147483647 w 907"/>
              <a:gd name="T79" fmla="*/ 2147483647 h 1111"/>
              <a:gd name="T80" fmla="*/ 2147483647 w 907"/>
              <a:gd name="T81" fmla="*/ 2147483647 h 1111"/>
              <a:gd name="T82" fmla="*/ 2147483647 w 907"/>
              <a:gd name="T83" fmla="*/ 2147483647 h 1111"/>
              <a:gd name="T84" fmla="*/ 2147483647 w 907"/>
              <a:gd name="T85" fmla="*/ 2147483647 h 1111"/>
              <a:gd name="T86" fmla="*/ 2147483647 w 907"/>
              <a:gd name="T87" fmla="*/ 2147483647 h 1111"/>
              <a:gd name="T88" fmla="*/ 2147483647 w 907"/>
              <a:gd name="T89" fmla="*/ 2147483647 h 1111"/>
              <a:gd name="T90" fmla="*/ 2147483647 w 907"/>
              <a:gd name="T91" fmla="*/ 2147483647 h 1111"/>
              <a:gd name="T92" fmla="*/ 2147483647 w 907"/>
              <a:gd name="T93" fmla="*/ 2147483647 h 1111"/>
              <a:gd name="T94" fmla="*/ 2147483647 w 907"/>
              <a:gd name="T95" fmla="*/ 2147483647 h 1111"/>
              <a:gd name="T96" fmla="*/ 2147483647 w 907"/>
              <a:gd name="T97" fmla="*/ 2147483647 h 1111"/>
              <a:gd name="T98" fmla="*/ 2147483647 w 907"/>
              <a:gd name="T99" fmla="*/ 2147483647 h 1111"/>
              <a:gd name="T100" fmla="*/ 2147483647 w 907"/>
              <a:gd name="T101" fmla="*/ 2147483647 h 1111"/>
              <a:gd name="T102" fmla="*/ 2147483647 w 907"/>
              <a:gd name="T103" fmla="*/ 2147483647 h 1111"/>
              <a:gd name="T104" fmla="*/ 2147483647 w 907"/>
              <a:gd name="T105" fmla="*/ 2147483647 h 1111"/>
              <a:gd name="T106" fmla="*/ 2147483647 w 907"/>
              <a:gd name="T107" fmla="*/ 2147483647 h 1111"/>
              <a:gd name="T108" fmla="*/ 2147483647 w 907"/>
              <a:gd name="T109" fmla="*/ 2147483647 h 1111"/>
              <a:gd name="T110" fmla="*/ 2147483647 w 907"/>
              <a:gd name="T111" fmla="*/ 2147483647 h 1111"/>
              <a:gd name="T112" fmla="*/ 2147483647 w 907"/>
              <a:gd name="T113" fmla="*/ 2147483647 h 1111"/>
              <a:gd name="T114" fmla="*/ 2147483647 w 907"/>
              <a:gd name="T115" fmla="*/ 2147483647 h 1111"/>
              <a:gd name="T116" fmla="*/ 2147483647 w 907"/>
              <a:gd name="T117" fmla="*/ 2147483647 h 111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07"/>
              <a:gd name="T178" fmla="*/ 0 h 1111"/>
              <a:gd name="T179" fmla="*/ 907 w 907"/>
              <a:gd name="T180" fmla="*/ 1111 h 111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07" h="1111">
                <a:moveTo>
                  <a:pt x="79" y="771"/>
                </a:moveTo>
                <a:lnTo>
                  <a:pt x="79" y="765"/>
                </a:lnTo>
                <a:lnTo>
                  <a:pt x="85" y="759"/>
                </a:lnTo>
                <a:lnTo>
                  <a:pt x="79" y="759"/>
                </a:lnTo>
                <a:lnTo>
                  <a:pt x="73" y="759"/>
                </a:lnTo>
                <a:lnTo>
                  <a:pt x="68" y="759"/>
                </a:lnTo>
                <a:lnTo>
                  <a:pt x="62" y="748"/>
                </a:lnTo>
                <a:lnTo>
                  <a:pt x="45" y="737"/>
                </a:lnTo>
                <a:lnTo>
                  <a:pt x="28" y="725"/>
                </a:lnTo>
                <a:lnTo>
                  <a:pt x="28" y="720"/>
                </a:lnTo>
                <a:lnTo>
                  <a:pt x="22" y="714"/>
                </a:lnTo>
                <a:lnTo>
                  <a:pt x="17" y="714"/>
                </a:lnTo>
                <a:lnTo>
                  <a:pt x="0" y="697"/>
                </a:lnTo>
                <a:lnTo>
                  <a:pt x="0" y="686"/>
                </a:lnTo>
                <a:lnTo>
                  <a:pt x="5" y="669"/>
                </a:lnTo>
                <a:lnTo>
                  <a:pt x="11" y="657"/>
                </a:lnTo>
                <a:lnTo>
                  <a:pt x="17" y="635"/>
                </a:lnTo>
                <a:lnTo>
                  <a:pt x="17" y="606"/>
                </a:lnTo>
                <a:lnTo>
                  <a:pt x="22" y="589"/>
                </a:lnTo>
                <a:lnTo>
                  <a:pt x="28" y="584"/>
                </a:lnTo>
                <a:lnTo>
                  <a:pt x="28" y="572"/>
                </a:lnTo>
                <a:lnTo>
                  <a:pt x="34" y="567"/>
                </a:lnTo>
                <a:lnTo>
                  <a:pt x="34" y="561"/>
                </a:lnTo>
                <a:lnTo>
                  <a:pt x="39" y="555"/>
                </a:lnTo>
                <a:lnTo>
                  <a:pt x="51" y="550"/>
                </a:lnTo>
                <a:lnTo>
                  <a:pt x="56" y="538"/>
                </a:lnTo>
                <a:lnTo>
                  <a:pt x="62" y="538"/>
                </a:lnTo>
                <a:lnTo>
                  <a:pt x="68" y="533"/>
                </a:lnTo>
                <a:lnTo>
                  <a:pt x="62" y="521"/>
                </a:lnTo>
                <a:lnTo>
                  <a:pt x="62" y="516"/>
                </a:lnTo>
                <a:lnTo>
                  <a:pt x="56" y="510"/>
                </a:lnTo>
                <a:lnTo>
                  <a:pt x="51" y="504"/>
                </a:lnTo>
                <a:lnTo>
                  <a:pt x="45" y="504"/>
                </a:lnTo>
                <a:lnTo>
                  <a:pt x="45" y="499"/>
                </a:lnTo>
                <a:lnTo>
                  <a:pt x="45" y="493"/>
                </a:lnTo>
                <a:lnTo>
                  <a:pt x="45" y="482"/>
                </a:lnTo>
                <a:lnTo>
                  <a:pt x="45" y="476"/>
                </a:lnTo>
                <a:lnTo>
                  <a:pt x="45" y="470"/>
                </a:lnTo>
                <a:lnTo>
                  <a:pt x="56" y="465"/>
                </a:lnTo>
                <a:lnTo>
                  <a:pt x="62" y="459"/>
                </a:lnTo>
                <a:lnTo>
                  <a:pt x="62" y="453"/>
                </a:lnTo>
                <a:lnTo>
                  <a:pt x="62" y="448"/>
                </a:lnTo>
                <a:lnTo>
                  <a:pt x="56" y="436"/>
                </a:lnTo>
                <a:lnTo>
                  <a:pt x="56" y="425"/>
                </a:lnTo>
                <a:lnTo>
                  <a:pt x="51" y="419"/>
                </a:lnTo>
                <a:lnTo>
                  <a:pt x="51" y="408"/>
                </a:lnTo>
                <a:lnTo>
                  <a:pt x="51" y="397"/>
                </a:lnTo>
                <a:lnTo>
                  <a:pt x="51" y="391"/>
                </a:lnTo>
                <a:lnTo>
                  <a:pt x="51" y="380"/>
                </a:lnTo>
                <a:lnTo>
                  <a:pt x="51" y="374"/>
                </a:lnTo>
                <a:lnTo>
                  <a:pt x="56" y="363"/>
                </a:lnTo>
                <a:lnTo>
                  <a:pt x="56" y="351"/>
                </a:lnTo>
                <a:lnTo>
                  <a:pt x="56" y="346"/>
                </a:lnTo>
                <a:lnTo>
                  <a:pt x="56" y="329"/>
                </a:lnTo>
                <a:lnTo>
                  <a:pt x="56" y="317"/>
                </a:lnTo>
                <a:lnTo>
                  <a:pt x="56" y="306"/>
                </a:lnTo>
                <a:lnTo>
                  <a:pt x="56" y="295"/>
                </a:lnTo>
                <a:lnTo>
                  <a:pt x="56" y="289"/>
                </a:lnTo>
                <a:lnTo>
                  <a:pt x="56" y="283"/>
                </a:lnTo>
                <a:lnTo>
                  <a:pt x="56" y="272"/>
                </a:lnTo>
                <a:lnTo>
                  <a:pt x="51" y="266"/>
                </a:lnTo>
                <a:lnTo>
                  <a:pt x="51" y="261"/>
                </a:lnTo>
                <a:lnTo>
                  <a:pt x="62" y="255"/>
                </a:lnTo>
                <a:lnTo>
                  <a:pt x="68" y="249"/>
                </a:lnTo>
                <a:lnTo>
                  <a:pt x="73" y="244"/>
                </a:lnTo>
                <a:lnTo>
                  <a:pt x="79" y="238"/>
                </a:lnTo>
                <a:lnTo>
                  <a:pt x="85" y="232"/>
                </a:lnTo>
                <a:lnTo>
                  <a:pt x="90" y="232"/>
                </a:lnTo>
                <a:lnTo>
                  <a:pt x="102" y="221"/>
                </a:lnTo>
                <a:lnTo>
                  <a:pt x="113" y="210"/>
                </a:lnTo>
                <a:lnTo>
                  <a:pt x="119" y="210"/>
                </a:lnTo>
                <a:lnTo>
                  <a:pt x="119" y="204"/>
                </a:lnTo>
                <a:lnTo>
                  <a:pt x="130" y="198"/>
                </a:lnTo>
                <a:lnTo>
                  <a:pt x="136" y="198"/>
                </a:lnTo>
                <a:lnTo>
                  <a:pt x="136" y="193"/>
                </a:lnTo>
                <a:lnTo>
                  <a:pt x="153" y="181"/>
                </a:lnTo>
                <a:lnTo>
                  <a:pt x="158" y="176"/>
                </a:lnTo>
                <a:lnTo>
                  <a:pt x="170" y="164"/>
                </a:lnTo>
                <a:lnTo>
                  <a:pt x="170" y="159"/>
                </a:lnTo>
                <a:lnTo>
                  <a:pt x="181" y="142"/>
                </a:lnTo>
                <a:lnTo>
                  <a:pt x="181" y="136"/>
                </a:lnTo>
                <a:lnTo>
                  <a:pt x="187" y="130"/>
                </a:lnTo>
                <a:lnTo>
                  <a:pt x="192" y="125"/>
                </a:lnTo>
                <a:lnTo>
                  <a:pt x="198" y="119"/>
                </a:lnTo>
                <a:lnTo>
                  <a:pt x="198" y="113"/>
                </a:lnTo>
                <a:lnTo>
                  <a:pt x="204" y="108"/>
                </a:lnTo>
                <a:lnTo>
                  <a:pt x="215" y="90"/>
                </a:lnTo>
                <a:lnTo>
                  <a:pt x="215" y="85"/>
                </a:lnTo>
                <a:lnTo>
                  <a:pt x="221" y="68"/>
                </a:lnTo>
                <a:lnTo>
                  <a:pt x="221" y="62"/>
                </a:lnTo>
                <a:lnTo>
                  <a:pt x="226" y="51"/>
                </a:lnTo>
                <a:lnTo>
                  <a:pt x="226" y="39"/>
                </a:lnTo>
                <a:lnTo>
                  <a:pt x="226" y="22"/>
                </a:lnTo>
                <a:lnTo>
                  <a:pt x="226" y="17"/>
                </a:lnTo>
                <a:lnTo>
                  <a:pt x="226" y="5"/>
                </a:lnTo>
                <a:lnTo>
                  <a:pt x="249" y="5"/>
                </a:lnTo>
                <a:lnTo>
                  <a:pt x="255" y="5"/>
                </a:lnTo>
                <a:lnTo>
                  <a:pt x="260" y="5"/>
                </a:lnTo>
                <a:lnTo>
                  <a:pt x="272" y="5"/>
                </a:lnTo>
                <a:lnTo>
                  <a:pt x="277" y="5"/>
                </a:lnTo>
                <a:lnTo>
                  <a:pt x="283" y="5"/>
                </a:lnTo>
                <a:lnTo>
                  <a:pt x="283" y="0"/>
                </a:lnTo>
                <a:lnTo>
                  <a:pt x="289" y="0"/>
                </a:lnTo>
                <a:lnTo>
                  <a:pt x="294" y="0"/>
                </a:lnTo>
                <a:lnTo>
                  <a:pt x="300" y="0"/>
                </a:lnTo>
                <a:lnTo>
                  <a:pt x="300" y="5"/>
                </a:lnTo>
                <a:lnTo>
                  <a:pt x="300" y="11"/>
                </a:lnTo>
                <a:lnTo>
                  <a:pt x="306" y="11"/>
                </a:lnTo>
                <a:lnTo>
                  <a:pt x="306" y="17"/>
                </a:lnTo>
                <a:lnTo>
                  <a:pt x="311" y="17"/>
                </a:lnTo>
                <a:lnTo>
                  <a:pt x="317" y="17"/>
                </a:lnTo>
                <a:lnTo>
                  <a:pt x="317" y="22"/>
                </a:lnTo>
                <a:lnTo>
                  <a:pt x="323" y="22"/>
                </a:lnTo>
                <a:lnTo>
                  <a:pt x="328" y="22"/>
                </a:lnTo>
                <a:lnTo>
                  <a:pt x="328" y="28"/>
                </a:lnTo>
                <a:lnTo>
                  <a:pt x="334" y="28"/>
                </a:lnTo>
                <a:lnTo>
                  <a:pt x="334" y="34"/>
                </a:lnTo>
                <a:lnTo>
                  <a:pt x="334" y="39"/>
                </a:lnTo>
                <a:lnTo>
                  <a:pt x="340" y="39"/>
                </a:lnTo>
                <a:lnTo>
                  <a:pt x="345" y="39"/>
                </a:lnTo>
                <a:lnTo>
                  <a:pt x="351" y="45"/>
                </a:lnTo>
                <a:lnTo>
                  <a:pt x="362" y="45"/>
                </a:lnTo>
                <a:lnTo>
                  <a:pt x="368" y="51"/>
                </a:lnTo>
                <a:lnTo>
                  <a:pt x="374" y="51"/>
                </a:lnTo>
                <a:lnTo>
                  <a:pt x="379" y="51"/>
                </a:lnTo>
                <a:lnTo>
                  <a:pt x="385" y="51"/>
                </a:lnTo>
                <a:lnTo>
                  <a:pt x="391" y="56"/>
                </a:lnTo>
                <a:lnTo>
                  <a:pt x="396" y="56"/>
                </a:lnTo>
                <a:lnTo>
                  <a:pt x="402" y="62"/>
                </a:lnTo>
                <a:lnTo>
                  <a:pt x="402" y="68"/>
                </a:lnTo>
                <a:lnTo>
                  <a:pt x="408" y="68"/>
                </a:lnTo>
                <a:lnTo>
                  <a:pt x="413" y="68"/>
                </a:lnTo>
                <a:lnTo>
                  <a:pt x="419" y="68"/>
                </a:lnTo>
                <a:lnTo>
                  <a:pt x="425" y="62"/>
                </a:lnTo>
                <a:lnTo>
                  <a:pt x="430" y="62"/>
                </a:lnTo>
                <a:lnTo>
                  <a:pt x="430" y="56"/>
                </a:lnTo>
                <a:lnTo>
                  <a:pt x="430" y="51"/>
                </a:lnTo>
                <a:lnTo>
                  <a:pt x="436" y="51"/>
                </a:lnTo>
                <a:lnTo>
                  <a:pt x="442" y="45"/>
                </a:lnTo>
                <a:lnTo>
                  <a:pt x="447" y="39"/>
                </a:lnTo>
                <a:lnTo>
                  <a:pt x="453" y="39"/>
                </a:lnTo>
                <a:lnTo>
                  <a:pt x="459" y="39"/>
                </a:lnTo>
                <a:lnTo>
                  <a:pt x="459" y="45"/>
                </a:lnTo>
                <a:lnTo>
                  <a:pt x="459" y="51"/>
                </a:lnTo>
                <a:lnTo>
                  <a:pt x="459" y="56"/>
                </a:lnTo>
                <a:lnTo>
                  <a:pt x="459" y="62"/>
                </a:lnTo>
                <a:lnTo>
                  <a:pt x="447" y="68"/>
                </a:lnTo>
                <a:lnTo>
                  <a:pt x="447" y="73"/>
                </a:lnTo>
                <a:lnTo>
                  <a:pt x="447" y="79"/>
                </a:lnTo>
                <a:lnTo>
                  <a:pt x="447" y="85"/>
                </a:lnTo>
                <a:lnTo>
                  <a:pt x="447" y="90"/>
                </a:lnTo>
                <a:lnTo>
                  <a:pt x="447" y="96"/>
                </a:lnTo>
                <a:lnTo>
                  <a:pt x="442" y="102"/>
                </a:lnTo>
                <a:lnTo>
                  <a:pt x="442" y="108"/>
                </a:lnTo>
                <a:lnTo>
                  <a:pt x="436" y="108"/>
                </a:lnTo>
                <a:lnTo>
                  <a:pt x="436" y="113"/>
                </a:lnTo>
                <a:lnTo>
                  <a:pt x="436" y="119"/>
                </a:lnTo>
                <a:lnTo>
                  <a:pt x="436" y="125"/>
                </a:lnTo>
                <a:lnTo>
                  <a:pt x="442" y="125"/>
                </a:lnTo>
                <a:lnTo>
                  <a:pt x="447" y="130"/>
                </a:lnTo>
                <a:lnTo>
                  <a:pt x="447" y="136"/>
                </a:lnTo>
                <a:lnTo>
                  <a:pt x="459" y="147"/>
                </a:lnTo>
                <a:lnTo>
                  <a:pt x="459" y="159"/>
                </a:lnTo>
                <a:lnTo>
                  <a:pt x="459" y="170"/>
                </a:lnTo>
                <a:lnTo>
                  <a:pt x="459" y="181"/>
                </a:lnTo>
                <a:lnTo>
                  <a:pt x="459" y="193"/>
                </a:lnTo>
                <a:lnTo>
                  <a:pt x="453" y="198"/>
                </a:lnTo>
                <a:lnTo>
                  <a:pt x="447" y="204"/>
                </a:lnTo>
                <a:lnTo>
                  <a:pt x="447" y="210"/>
                </a:lnTo>
                <a:lnTo>
                  <a:pt x="447" y="221"/>
                </a:lnTo>
                <a:lnTo>
                  <a:pt x="459" y="232"/>
                </a:lnTo>
                <a:lnTo>
                  <a:pt x="459" y="249"/>
                </a:lnTo>
                <a:lnTo>
                  <a:pt x="459" y="261"/>
                </a:lnTo>
                <a:lnTo>
                  <a:pt x="459" y="278"/>
                </a:lnTo>
                <a:lnTo>
                  <a:pt x="459" y="289"/>
                </a:lnTo>
                <a:lnTo>
                  <a:pt x="459" y="300"/>
                </a:lnTo>
                <a:lnTo>
                  <a:pt x="453" y="306"/>
                </a:lnTo>
                <a:lnTo>
                  <a:pt x="447" y="306"/>
                </a:lnTo>
                <a:lnTo>
                  <a:pt x="447" y="300"/>
                </a:lnTo>
                <a:lnTo>
                  <a:pt x="436" y="295"/>
                </a:lnTo>
                <a:lnTo>
                  <a:pt x="430" y="289"/>
                </a:lnTo>
                <a:lnTo>
                  <a:pt x="419" y="295"/>
                </a:lnTo>
                <a:lnTo>
                  <a:pt x="408" y="300"/>
                </a:lnTo>
                <a:lnTo>
                  <a:pt x="402" y="300"/>
                </a:lnTo>
                <a:lnTo>
                  <a:pt x="391" y="306"/>
                </a:lnTo>
                <a:lnTo>
                  <a:pt x="385" y="317"/>
                </a:lnTo>
                <a:lnTo>
                  <a:pt x="379" y="317"/>
                </a:lnTo>
                <a:lnTo>
                  <a:pt x="379" y="329"/>
                </a:lnTo>
                <a:lnTo>
                  <a:pt x="379" y="346"/>
                </a:lnTo>
                <a:lnTo>
                  <a:pt x="379" y="357"/>
                </a:lnTo>
                <a:lnTo>
                  <a:pt x="379" y="374"/>
                </a:lnTo>
                <a:lnTo>
                  <a:pt x="379" y="391"/>
                </a:lnTo>
                <a:lnTo>
                  <a:pt x="379" y="408"/>
                </a:lnTo>
                <a:lnTo>
                  <a:pt x="379" y="419"/>
                </a:lnTo>
                <a:lnTo>
                  <a:pt x="379" y="442"/>
                </a:lnTo>
                <a:lnTo>
                  <a:pt x="379" y="459"/>
                </a:lnTo>
                <a:lnTo>
                  <a:pt x="374" y="482"/>
                </a:lnTo>
                <a:lnTo>
                  <a:pt x="368" y="493"/>
                </a:lnTo>
                <a:lnTo>
                  <a:pt x="362" y="516"/>
                </a:lnTo>
                <a:lnTo>
                  <a:pt x="362" y="538"/>
                </a:lnTo>
                <a:lnTo>
                  <a:pt x="357" y="550"/>
                </a:lnTo>
                <a:lnTo>
                  <a:pt x="351" y="561"/>
                </a:lnTo>
                <a:lnTo>
                  <a:pt x="351" y="567"/>
                </a:lnTo>
                <a:lnTo>
                  <a:pt x="345" y="572"/>
                </a:lnTo>
                <a:lnTo>
                  <a:pt x="351" y="589"/>
                </a:lnTo>
                <a:lnTo>
                  <a:pt x="351" y="595"/>
                </a:lnTo>
                <a:lnTo>
                  <a:pt x="362" y="601"/>
                </a:lnTo>
                <a:lnTo>
                  <a:pt x="368" y="606"/>
                </a:lnTo>
                <a:lnTo>
                  <a:pt x="374" y="606"/>
                </a:lnTo>
                <a:lnTo>
                  <a:pt x="379" y="606"/>
                </a:lnTo>
                <a:lnTo>
                  <a:pt x="385" y="606"/>
                </a:lnTo>
                <a:lnTo>
                  <a:pt x="385" y="601"/>
                </a:lnTo>
                <a:lnTo>
                  <a:pt x="391" y="601"/>
                </a:lnTo>
                <a:lnTo>
                  <a:pt x="391" y="595"/>
                </a:lnTo>
                <a:lnTo>
                  <a:pt x="391" y="589"/>
                </a:lnTo>
                <a:lnTo>
                  <a:pt x="396" y="584"/>
                </a:lnTo>
                <a:lnTo>
                  <a:pt x="402" y="578"/>
                </a:lnTo>
                <a:lnTo>
                  <a:pt x="408" y="572"/>
                </a:lnTo>
                <a:lnTo>
                  <a:pt x="419" y="572"/>
                </a:lnTo>
                <a:lnTo>
                  <a:pt x="425" y="567"/>
                </a:lnTo>
                <a:lnTo>
                  <a:pt x="430" y="567"/>
                </a:lnTo>
                <a:lnTo>
                  <a:pt x="436" y="567"/>
                </a:lnTo>
                <a:lnTo>
                  <a:pt x="447" y="567"/>
                </a:lnTo>
                <a:lnTo>
                  <a:pt x="447" y="561"/>
                </a:lnTo>
                <a:lnTo>
                  <a:pt x="453" y="561"/>
                </a:lnTo>
                <a:lnTo>
                  <a:pt x="453" y="555"/>
                </a:lnTo>
                <a:lnTo>
                  <a:pt x="459" y="555"/>
                </a:lnTo>
                <a:lnTo>
                  <a:pt x="464" y="555"/>
                </a:lnTo>
                <a:lnTo>
                  <a:pt x="464" y="550"/>
                </a:lnTo>
                <a:lnTo>
                  <a:pt x="470" y="550"/>
                </a:lnTo>
                <a:lnTo>
                  <a:pt x="476" y="544"/>
                </a:lnTo>
                <a:lnTo>
                  <a:pt x="481" y="544"/>
                </a:lnTo>
                <a:lnTo>
                  <a:pt x="487" y="544"/>
                </a:lnTo>
                <a:lnTo>
                  <a:pt x="493" y="550"/>
                </a:lnTo>
                <a:lnTo>
                  <a:pt x="504" y="550"/>
                </a:lnTo>
                <a:lnTo>
                  <a:pt x="504" y="544"/>
                </a:lnTo>
                <a:lnTo>
                  <a:pt x="510" y="544"/>
                </a:lnTo>
                <a:lnTo>
                  <a:pt x="510" y="550"/>
                </a:lnTo>
                <a:lnTo>
                  <a:pt x="510" y="555"/>
                </a:lnTo>
                <a:lnTo>
                  <a:pt x="516" y="555"/>
                </a:lnTo>
                <a:lnTo>
                  <a:pt x="521" y="555"/>
                </a:lnTo>
                <a:lnTo>
                  <a:pt x="527" y="555"/>
                </a:lnTo>
                <a:lnTo>
                  <a:pt x="533" y="555"/>
                </a:lnTo>
                <a:lnTo>
                  <a:pt x="533" y="550"/>
                </a:lnTo>
                <a:lnTo>
                  <a:pt x="550" y="550"/>
                </a:lnTo>
                <a:lnTo>
                  <a:pt x="555" y="550"/>
                </a:lnTo>
                <a:lnTo>
                  <a:pt x="555" y="555"/>
                </a:lnTo>
                <a:lnTo>
                  <a:pt x="561" y="555"/>
                </a:lnTo>
                <a:lnTo>
                  <a:pt x="561" y="561"/>
                </a:lnTo>
                <a:lnTo>
                  <a:pt x="561" y="567"/>
                </a:lnTo>
                <a:lnTo>
                  <a:pt x="567" y="567"/>
                </a:lnTo>
                <a:lnTo>
                  <a:pt x="572" y="567"/>
                </a:lnTo>
                <a:lnTo>
                  <a:pt x="572" y="561"/>
                </a:lnTo>
                <a:lnTo>
                  <a:pt x="578" y="567"/>
                </a:lnTo>
                <a:lnTo>
                  <a:pt x="589" y="561"/>
                </a:lnTo>
                <a:lnTo>
                  <a:pt x="595" y="555"/>
                </a:lnTo>
                <a:lnTo>
                  <a:pt x="601" y="555"/>
                </a:lnTo>
                <a:lnTo>
                  <a:pt x="606" y="555"/>
                </a:lnTo>
                <a:lnTo>
                  <a:pt x="606" y="550"/>
                </a:lnTo>
                <a:lnTo>
                  <a:pt x="606" y="544"/>
                </a:lnTo>
                <a:lnTo>
                  <a:pt x="606" y="538"/>
                </a:lnTo>
                <a:lnTo>
                  <a:pt x="612" y="538"/>
                </a:lnTo>
                <a:lnTo>
                  <a:pt x="618" y="538"/>
                </a:lnTo>
                <a:lnTo>
                  <a:pt x="623" y="538"/>
                </a:lnTo>
                <a:lnTo>
                  <a:pt x="623" y="544"/>
                </a:lnTo>
                <a:lnTo>
                  <a:pt x="629" y="544"/>
                </a:lnTo>
                <a:lnTo>
                  <a:pt x="635" y="544"/>
                </a:lnTo>
                <a:lnTo>
                  <a:pt x="640" y="544"/>
                </a:lnTo>
                <a:lnTo>
                  <a:pt x="646" y="544"/>
                </a:lnTo>
                <a:lnTo>
                  <a:pt x="646" y="538"/>
                </a:lnTo>
                <a:lnTo>
                  <a:pt x="652" y="538"/>
                </a:lnTo>
                <a:lnTo>
                  <a:pt x="657" y="538"/>
                </a:lnTo>
                <a:lnTo>
                  <a:pt x="663" y="538"/>
                </a:lnTo>
                <a:lnTo>
                  <a:pt x="663" y="544"/>
                </a:lnTo>
                <a:lnTo>
                  <a:pt x="669" y="550"/>
                </a:lnTo>
                <a:lnTo>
                  <a:pt x="674" y="555"/>
                </a:lnTo>
                <a:lnTo>
                  <a:pt x="674" y="561"/>
                </a:lnTo>
                <a:lnTo>
                  <a:pt x="674" y="567"/>
                </a:lnTo>
                <a:lnTo>
                  <a:pt x="680" y="567"/>
                </a:lnTo>
                <a:lnTo>
                  <a:pt x="680" y="572"/>
                </a:lnTo>
                <a:lnTo>
                  <a:pt x="680" y="567"/>
                </a:lnTo>
                <a:lnTo>
                  <a:pt x="686" y="567"/>
                </a:lnTo>
                <a:lnTo>
                  <a:pt x="691" y="567"/>
                </a:lnTo>
                <a:lnTo>
                  <a:pt x="703" y="567"/>
                </a:lnTo>
                <a:lnTo>
                  <a:pt x="703" y="572"/>
                </a:lnTo>
                <a:lnTo>
                  <a:pt x="708" y="572"/>
                </a:lnTo>
                <a:lnTo>
                  <a:pt x="714" y="578"/>
                </a:lnTo>
                <a:lnTo>
                  <a:pt x="714" y="584"/>
                </a:lnTo>
                <a:lnTo>
                  <a:pt x="720" y="584"/>
                </a:lnTo>
                <a:lnTo>
                  <a:pt x="720" y="589"/>
                </a:lnTo>
                <a:lnTo>
                  <a:pt x="725" y="589"/>
                </a:lnTo>
                <a:lnTo>
                  <a:pt x="731" y="584"/>
                </a:lnTo>
                <a:lnTo>
                  <a:pt x="737" y="584"/>
                </a:lnTo>
                <a:lnTo>
                  <a:pt x="742" y="584"/>
                </a:lnTo>
                <a:lnTo>
                  <a:pt x="748" y="578"/>
                </a:lnTo>
                <a:lnTo>
                  <a:pt x="754" y="578"/>
                </a:lnTo>
                <a:lnTo>
                  <a:pt x="754" y="584"/>
                </a:lnTo>
                <a:lnTo>
                  <a:pt x="759" y="584"/>
                </a:lnTo>
                <a:lnTo>
                  <a:pt x="759" y="578"/>
                </a:lnTo>
                <a:lnTo>
                  <a:pt x="765" y="578"/>
                </a:lnTo>
                <a:lnTo>
                  <a:pt x="765" y="584"/>
                </a:lnTo>
                <a:lnTo>
                  <a:pt x="771" y="584"/>
                </a:lnTo>
                <a:lnTo>
                  <a:pt x="776" y="584"/>
                </a:lnTo>
                <a:lnTo>
                  <a:pt x="782" y="578"/>
                </a:lnTo>
                <a:lnTo>
                  <a:pt x="788" y="584"/>
                </a:lnTo>
                <a:lnTo>
                  <a:pt x="793" y="584"/>
                </a:lnTo>
                <a:lnTo>
                  <a:pt x="793" y="578"/>
                </a:lnTo>
                <a:lnTo>
                  <a:pt x="799" y="572"/>
                </a:lnTo>
                <a:lnTo>
                  <a:pt x="805" y="572"/>
                </a:lnTo>
                <a:lnTo>
                  <a:pt x="810" y="572"/>
                </a:lnTo>
                <a:lnTo>
                  <a:pt x="816" y="572"/>
                </a:lnTo>
                <a:lnTo>
                  <a:pt x="822" y="572"/>
                </a:lnTo>
                <a:lnTo>
                  <a:pt x="827" y="572"/>
                </a:lnTo>
                <a:lnTo>
                  <a:pt x="833" y="578"/>
                </a:lnTo>
                <a:lnTo>
                  <a:pt x="833" y="584"/>
                </a:lnTo>
                <a:lnTo>
                  <a:pt x="839" y="584"/>
                </a:lnTo>
                <a:lnTo>
                  <a:pt x="844" y="584"/>
                </a:lnTo>
                <a:lnTo>
                  <a:pt x="844" y="589"/>
                </a:lnTo>
                <a:lnTo>
                  <a:pt x="850" y="595"/>
                </a:lnTo>
                <a:lnTo>
                  <a:pt x="856" y="601"/>
                </a:lnTo>
                <a:lnTo>
                  <a:pt x="861" y="623"/>
                </a:lnTo>
                <a:lnTo>
                  <a:pt x="861" y="629"/>
                </a:lnTo>
                <a:lnTo>
                  <a:pt x="856" y="635"/>
                </a:lnTo>
                <a:lnTo>
                  <a:pt x="856" y="640"/>
                </a:lnTo>
                <a:lnTo>
                  <a:pt x="850" y="652"/>
                </a:lnTo>
                <a:lnTo>
                  <a:pt x="850" y="657"/>
                </a:lnTo>
                <a:lnTo>
                  <a:pt x="844" y="657"/>
                </a:lnTo>
                <a:lnTo>
                  <a:pt x="844" y="663"/>
                </a:lnTo>
                <a:lnTo>
                  <a:pt x="850" y="663"/>
                </a:lnTo>
                <a:lnTo>
                  <a:pt x="856" y="669"/>
                </a:lnTo>
                <a:lnTo>
                  <a:pt x="861" y="669"/>
                </a:lnTo>
                <a:lnTo>
                  <a:pt x="867" y="669"/>
                </a:lnTo>
                <a:lnTo>
                  <a:pt x="873" y="669"/>
                </a:lnTo>
                <a:lnTo>
                  <a:pt x="878" y="674"/>
                </a:lnTo>
                <a:lnTo>
                  <a:pt x="878" y="680"/>
                </a:lnTo>
                <a:lnTo>
                  <a:pt x="884" y="680"/>
                </a:lnTo>
                <a:lnTo>
                  <a:pt x="890" y="680"/>
                </a:lnTo>
                <a:lnTo>
                  <a:pt x="890" y="686"/>
                </a:lnTo>
                <a:lnTo>
                  <a:pt x="890" y="691"/>
                </a:lnTo>
                <a:lnTo>
                  <a:pt x="890" y="697"/>
                </a:lnTo>
                <a:lnTo>
                  <a:pt x="895" y="697"/>
                </a:lnTo>
                <a:lnTo>
                  <a:pt x="895" y="703"/>
                </a:lnTo>
                <a:lnTo>
                  <a:pt x="901" y="708"/>
                </a:lnTo>
                <a:lnTo>
                  <a:pt x="901" y="720"/>
                </a:lnTo>
                <a:lnTo>
                  <a:pt x="901" y="725"/>
                </a:lnTo>
                <a:lnTo>
                  <a:pt x="901" y="737"/>
                </a:lnTo>
                <a:lnTo>
                  <a:pt x="901" y="742"/>
                </a:lnTo>
                <a:lnTo>
                  <a:pt x="901" y="748"/>
                </a:lnTo>
                <a:lnTo>
                  <a:pt x="901" y="754"/>
                </a:lnTo>
                <a:lnTo>
                  <a:pt x="901" y="759"/>
                </a:lnTo>
                <a:lnTo>
                  <a:pt x="901" y="765"/>
                </a:lnTo>
                <a:lnTo>
                  <a:pt x="907" y="771"/>
                </a:lnTo>
                <a:lnTo>
                  <a:pt x="901" y="771"/>
                </a:lnTo>
                <a:lnTo>
                  <a:pt x="895" y="771"/>
                </a:lnTo>
                <a:lnTo>
                  <a:pt x="895" y="776"/>
                </a:lnTo>
                <a:lnTo>
                  <a:pt x="890" y="776"/>
                </a:lnTo>
                <a:lnTo>
                  <a:pt x="884" y="782"/>
                </a:lnTo>
                <a:lnTo>
                  <a:pt x="878" y="788"/>
                </a:lnTo>
                <a:lnTo>
                  <a:pt x="873" y="788"/>
                </a:lnTo>
                <a:lnTo>
                  <a:pt x="873" y="793"/>
                </a:lnTo>
                <a:lnTo>
                  <a:pt x="867" y="793"/>
                </a:lnTo>
                <a:lnTo>
                  <a:pt x="861" y="793"/>
                </a:lnTo>
                <a:lnTo>
                  <a:pt x="861" y="799"/>
                </a:lnTo>
                <a:lnTo>
                  <a:pt x="856" y="799"/>
                </a:lnTo>
                <a:lnTo>
                  <a:pt x="850" y="805"/>
                </a:lnTo>
                <a:lnTo>
                  <a:pt x="844" y="805"/>
                </a:lnTo>
                <a:lnTo>
                  <a:pt x="827" y="810"/>
                </a:lnTo>
                <a:lnTo>
                  <a:pt x="810" y="816"/>
                </a:lnTo>
                <a:lnTo>
                  <a:pt x="805" y="816"/>
                </a:lnTo>
                <a:lnTo>
                  <a:pt x="793" y="816"/>
                </a:lnTo>
                <a:lnTo>
                  <a:pt x="788" y="816"/>
                </a:lnTo>
                <a:lnTo>
                  <a:pt x="771" y="816"/>
                </a:lnTo>
                <a:lnTo>
                  <a:pt x="754" y="816"/>
                </a:lnTo>
                <a:lnTo>
                  <a:pt x="742" y="816"/>
                </a:lnTo>
                <a:lnTo>
                  <a:pt x="731" y="816"/>
                </a:lnTo>
                <a:lnTo>
                  <a:pt x="720" y="810"/>
                </a:lnTo>
                <a:lnTo>
                  <a:pt x="714" y="810"/>
                </a:lnTo>
                <a:lnTo>
                  <a:pt x="714" y="805"/>
                </a:lnTo>
                <a:lnTo>
                  <a:pt x="708" y="805"/>
                </a:lnTo>
                <a:lnTo>
                  <a:pt x="703" y="805"/>
                </a:lnTo>
                <a:lnTo>
                  <a:pt x="697" y="799"/>
                </a:lnTo>
                <a:lnTo>
                  <a:pt x="691" y="799"/>
                </a:lnTo>
                <a:lnTo>
                  <a:pt x="691" y="793"/>
                </a:lnTo>
                <a:lnTo>
                  <a:pt x="680" y="788"/>
                </a:lnTo>
                <a:lnTo>
                  <a:pt x="680" y="776"/>
                </a:lnTo>
                <a:lnTo>
                  <a:pt x="674" y="771"/>
                </a:lnTo>
                <a:lnTo>
                  <a:pt x="674" y="759"/>
                </a:lnTo>
                <a:lnTo>
                  <a:pt x="674" y="748"/>
                </a:lnTo>
                <a:lnTo>
                  <a:pt x="669" y="737"/>
                </a:lnTo>
                <a:lnTo>
                  <a:pt x="669" y="731"/>
                </a:lnTo>
                <a:lnTo>
                  <a:pt x="663" y="725"/>
                </a:lnTo>
                <a:lnTo>
                  <a:pt x="663" y="720"/>
                </a:lnTo>
                <a:lnTo>
                  <a:pt x="663" y="714"/>
                </a:lnTo>
                <a:lnTo>
                  <a:pt x="663" y="708"/>
                </a:lnTo>
                <a:lnTo>
                  <a:pt x="657" y="697"/>
                </a:lnTo>
                <a:lnTo>
                  <a:pt x="652" y="697"/>
                </a:lnTo>
                <a:lnTo>
                  <a:pt x="652" y="691"/>
                </a:lnTo>
                <a:lnTo>
                  <a:pt x="646" y="686"/>
                </a:lnTo>
                <a:lnTo>
                  <a:pt x="640" y="686"/>
                </a:lnTo>
                <a:lnTo>
                  <a:pt x="635" y="680"/>
                </a:lnTo>
                <a:lnTo>
                  <a:pt x="629" y="680"/>
                </a:lnTo>
                <a:lnTo>
                  <a:pt x="618" y="680"/>
                </a:lnTo>
                <a:lnTo>
                  <a:pt x="612" y="680"/>
                </a:lnTo>
                <a:lnTo>
                  <a:pt x="606" y="680"/>
                </a:lnTo>
                <a:lnTo>
                  <a:pt x="601" y="680"/>
                </a:lnTo>
                <a:lnTo>
                  <a:pt x="589" y="680"/>
                </a:lnTo>
                <a:lnTo>
                  <a:pt x="567" y="680"/>
                </a:lnTo>
                <a:lnTo>
                  <a:pt x="561" y="680"/>
                </a:lnTo>
                <a:lnTo>
                  <a:pt x="550" y="686"/>
                </a:lnTo>
                <a:lnTo>
                  <a:pt x="538" y="686"/>
                </a:lnTo>
                <a:lnTo>
                  <a:pt x="533" y="691"/>
                </a:lnTo>
                <a:lnTo>
                  <a:pt x="504" y="691"/>
                </a:lnTo>
                <a:lnTo>
                  <a:pt x="493" y="691"/>
                </a:lnTo>
                <a:lnTo>
                  <a:pt x="493" y="697"/>
                </a:lnTo>
                <a:lnTo>
                  <a:pt x="487" y="697"/>
                </a:lnTo>
                <a:lnTo>
                  <a:pt x="481" y="697"/>
                </a:lnTo>
                <a:lnTo>
                  <a:pt x="476" y="697"/>
                </a:lnTo>
                <a:lnTo>
                  <a:pt x="476" y="703"/>
                </a:lnTo>
                <a:lnTo>
                  <a:pt x="470" y="703"/>
                </a:lnTo>
                <a:lnTo>
                  <a:pt x="470" y="708"/>
                </a:lnTo>
                <a:lnTo>
                  <a:pt x="464" y="708"/>
                </a:lnTo>
                <a:lnTo>
                  <a:pt x="459" y="708"/>
                </a:lnTo>
                <a:lnTo>
                  <a:pt x="453" y="714"/>
                </a:lnTo>
                <a:lnTo>
                  <a:pt x="447" y="714"/>
                </a:lnTo>
                <a:lnTo>
                  <a:pt x="447" y="720"/>
                </a:lnTo>
                <a:lnTo>
                  <a:pt x="447" y="725"/>
                </a:lnTo>
                <a:lnTo>
                  <a:pt x="447" y="731"/>
                </a:lnTo>
                <a:lnTo>
                  <a:pt x="453" y="731"/>
                </a:lnTo>
                <a:lnTo>
                  <a:pt x="453" y="737"/>
                </a:lnTo>
                <a:lnTo>
                  <a:pt x="464" y="737"/>
                </a:lnTo>
                <a:lnTo>
                  <a:pt x="464" y="742"/>
                </a:lnTo>
                <a:lnTo>
                  <a:pt x="470" y="748"/>
                </a:lnTo>
                <a:lnTo>
                  <a:pt x="476" y="748"/>
                </a:lnTo>
                <a:lnTo>
                  <a:pt x="481" y="754"/>
                </a:lnTo>
                <a:lnTo>
                  <a:pt x="487" y="759"/>
                </a:lnTo>
                <a:lnTo>
                  <a:pt x="493" y="759"/>
                </a:lnTo>
                <a:lnTo>
                  <a:pt x="499" y="759"/>
                </a:lnTo>
                <a:lnTo>
                  <a:pt x="504" y="765"/>
                </a:lnTo>
                <a:lnTo>
                  <a:pt x="510" y="771"/>
                </a:lnTo>
                <a:lnTo>
                  <a:pt x="510" y="776"/>
                </a:lnTo>
                <a:lnTo>
                  <a:pt x="516" y="776"/>
                </a:lnTo>
                <a:lnTo>
                  <a:pt x="521" y="776"/>
                </a:lnTo>
                <a:lnTo>
                  <a:pt x="533" y="776"/>
                </a:lnTo>
                <a:lnTo>
                  <a:pt x="544" y="776"/>
                </a:lnTo>
                <a:lnTo>
                  <a:pt x="550" y="776"/>
                </a:lnTo>
                <a:lnTo>
                  <a:pt x="550" y="782"/>
                </a:lnTo>
                <a:lnTo>
                  <a:pt x="555" y="782"/>
                </a:lnTo>
                <a:lnTo>
                  <a:pt x="555" y="788"/>
                </a:lnTo>
                <a:lnTo>
                  <a:pt x="561" y="788"/>
                </a:lnTo>
                <a:lnTo>
                  <a:pt x="561" y="793"/>
                </a:lnTo>
                <a:lnTo>
                  <a:pt x="561" y="805"/>
                </a:lnTo>
                <a:lnTo>
                  <a:pt x="567" y="816"/>
                </a:lnTo>
                <a:lnTo>
                  <a:pt x="567" y="822"/>
                </a:lnTo>
                <a:lnTo>
                  <a:pt x="567" y="827"/>
                </a:lnTo>
                <a:lnTo>
                  <a:pt x="561" y="833"/>
                </a:lnTo>
                <a:lnTo>
                  <a:pt x="561" y="844"/>
                </a:lnTo>
                <a:lnTo>
                  <a:pt x="555" y="844"/>
                </a:lnTo>
                <a:lnTo>
                  <a:pt x="550" y="844"/>
                </a:lnTo>
                <a:lnTo>
                  <a:pt x="550" y="850"/>
                </a:lnTo>
                <a:lnTo>
                  <a:pt x="555" y="850"/>
                </a:lnTo>
                <a:lnTo>
                  <a:pt x="555" y="856"/>
                </a:lnTo>
                <a:lnTo>
                  <a:pt x="561" y="856"/>
                </a:lnTo>
                <a:lnTo>
                  <a:pt x="567" y="856"/>
                </a:lnTo>
                <a:lnTo>
                  <a:pt x="567" y="861"/>
                </a:lnTo>
                <a:lnTo>
                  <a:pt x="572" y="861"/>
                </a:lnTo>
                <a:lnTo>
                  <a:pt x="578" y="861"/>
                </a:lnTo>
                <a:lnTo>
                  <a:pt x="584" y="867"/>
                </a:lnTo>
                <a:lnTo>
                  <a:pt x="584" y="873"/>
                </a:lnTo>
                <a:lnTo>
                  <a:pt x="584" y="878"/>
                </a:lnTo>
                <a:lnTo>
                  <a:pt x="578" y="878"/>
                </a:lnTo>
                <a:lnTo>
                  <a:pt x="578" y="884"/>
                </a:lnTo>
                <a:lnTo>
                  <a:pt x="567" y="890"/>
                </a:lnTo>
                <a:lnTo>
                  <a:pt x="555" y="890"/>
                </a:lnTo>
                <a:lnTo>
                  <a:pt x="550" y="890"/>
                </a:lnTo>
                <a:lnTo>
                  <a:pt x="544" y="895"/>
                </a:lnTo>
                <a:lnTo>
                  <a:pt x="538" y="895"/>
                </a:lnTo>
                <a:lnTo>
                  <a:pt x="538" y="901"/>
                </a:lnTo>
                <a:lnTo>
                  <a:pt x="533" y="901"/>
                </a:lnTo>
                <a:lnTo>
                  <a:pt x="521" y="901"/>
                </a:lnTo>
                <a:lnTo>
                  <a:pt x="510" y="907"/>
                </a:lnTo>
                <a:lnTo>
                  <a:pt x="499" y="907"/>
                </a:lnTo>
                <a:lnTo>
                  <a:pt x="493" y="901"/>
                </a:lnTo>
                <a:lnTo>
                  <a:pt x="487" y="901"/>
                </a:lnTo>
                <a:lnTo>
                  <a:pt x="481" y="901"/>
                </a:lnTo>
                <a:lnTo>
                  <a:pt x="476" y="895"/>
                </a:lnTo>
                <a:lnTo>
                  <a:pt x="470" y="895"/>
                </a:lnTo>
                <a:lnTo>
                  <a:pt x="470" y="901"/>
                </a:lnTo>
                <a:lnTo>
                  <a:pt x="470" y="912"/>
                </a:lnTo>
                <a:lnTo>
                  <a:pt x="470" y="924"/>
                </a:lnTo>
                <a:lnTo>
                  <a:pt x="476" y="935"/>
                </a:lnTo>
                <a:lnTo>
                  <a:pt x="481" y="941"/>
                </a:lnTo>
                <a:lnTo>
                  <a:pt x="481" y="946"/>
                </a:lnTo>
                <a:lnTo>
                  <a:pt x="481" y="958"/>
                </a:lnTo>
                <a:lnTo>
                  <a:pt x="481" y="969"/>
                </a:lnTo>
                <a:lnTo>
                  <a:pt x="481" y="980"/>
                </a:lnTo>
                <a:lnTo>
                  <a:pt x="481" y="986"/>
                </a:lnTo>
                <a:lnTo>
                  <a:pt x="481" y="992"/>
                </a:lnTo>
                <a:lnTo>
                  <a:pt x="481" y="997"/>
                </a:lnTo>
                <a:lnTo>
                  <a:pt x="487" y="997"/>
                </a:lnTo>
                <a:lnTo>
                  <a:pt x="493" y="997"/>
                </a:lnTo>
                <a:lnTo>
                  <a:pt x="493" y="1003"/>
                </a:lnTo>
                <a:lnTo>
                  <a:pt x="499" y="1003"/>
                </a:lnTo>
                <a:lnTo>
                  <a:pt x="499" y="1009"/>
                </a:lnTo>
                <a:lnTo>
                  <a:pt x="499" y="1020"/>
                </a:lnTo>
                <a:lnTo>
                  <a:pt x="504" y="1026"/>
                </a:lnTo>
                <a:lnTo>
                  <a:pt x="510" y="1026"/>
                </a:lnTo>
                <a:lnTo>
                  <a:pt x="510" y="1032"/>
                </a:lnTo>
                <a:lnTo>
                  <a:pt x="510" y="1037"/>
                </a:lnTo>
                <a:lnTo>
                  <a:pt x="510" y="1043"/>
                </a:lnTo>
                <a:lnTo>
                  <a:pt x="510" y="1049"/>
                </a:lnTo>
                <a:lnTo>
                  <a:pt x="510" y="1054"/>
                </a:lnTo>
                <a:lnTo>
                  <a:pt x="504" y="1060"/>
                </a:lnTo>
                <a:lnTo>
                  <a:pt x="499" y="1060"/>
                </a:lnTo>
                <a:lnTo>
                  <a:pt x="499" y="1066"/>
                </a:lnTo>
                <a:lnTo>
                  <a:pt x="493" y="1066"/>
                </a:lnTo>
                <a:lnTo>
                  <a:pt x="487" y="1066"/>
                </a:lnTo>
                <a:lnTo>
                  <a:pt x="481" y="1066"/>
                </a:lnTo>
                <a:lnTo>
                  <a:pt x="476" y="1066"/>
                </a:lnTo>
                <a:lnTo>
                  <a:pt x="470" y="1066"/>
                </a:lnTo>
                <a:lnTo>
                  <a:pt x="464" y="1066"/>
                </a:lnTo>
                <a:lnTo>
                  <a:pt x="459" y="1066"/>
                </a:lnTo>
                <a:lnTo>
                  <a:pt x="442" y="1060"/>
                </a:lnTo>
                <a:lnTo>
                  <a:pt x="436" y="1060"/>
                </a:lnTo>
                <a:lnTo>
                  <a:pt x="430" y="1060"/>
                </a:lnTo>
                <a:lnTo>
                  <a:pt x="430" y="1066"/>
                </a:lnTo>
                <a:lnTo>
                  <a:pt x="425" y="1066"/>
                </a:lnTo>
                <a:lnTo>
                  <a:pt x="425" y="1071"/>
                </a:lnTo>
                <a:lnTo>
                  <a:pt x="425" y="1077"/>
                </a:lnTo>
                <a:lnTo>
                  <a:pt x="425" y="1083"/>
                </a:lnTo>
                <a:lnTo>
                  <a:pt x="425" y="1094"/>
                </a:lnTo>
                <a:lnTo>
                  <a:pt x="425" y="1100"/>
                </a:lnTo>
                <a:lnTo>
                  <a:pt x="425" y="1105"/>
                </a:lnTo>
                <a:lnTo>
                  <a:pt x="419" y="1105"/>
                </a:lnTo>
                <a:lnTo>
                  <a:pt x="413" y="1111"/>
                </a:lnTo>
                <a:lnTo>
                  <a:pt x="408" y="1111"/>
                </a:lnTo>
                <a:lnTo>
                  <a:pt x="402" y="1111"/>
                </a:lnTo>
                <a:lnTo>
                  <a:pt x="396" y="1111"/>
                </a:lnTo>
                <a:lnTo>
                  <a:pt x="385" y="1111"/>
                </a:lnTo>
                <a:lnTo>
                  <a:pt x="379" y="1105"/>
                </a:lnTo>
                <a:lnTo>
                  <a:pt x="379" y="1100"/>
                </a:lnTo>
                <a:lnTo>
                  <a:pt x="379" y="1094"/>
                </a:lnTo>
                <a:lnTo>
                  <a:pt x="379" y="1088"/>
                </a:lnTo>
                <a:lnTo>
                  <a:pt x="379" y="1083"/>
                </a:lnTo>
                <a:lnTo>
                  <a:pt x="379" y="1077"/>
                </a:lnTo>
                <a:lnTo>
                  <a:pt x="379" y="1071"/>
                </a:lnTo>
                <a:lnTo>
                  <a:pt x="374" y="1066"/>
                </a:lnTo>
                <a:lnTo>
                  <a:pt x="368" y="1066"/>
                </a:lnTo>
                <a:lnTo>
                  <a:pt x="368" y="1060"/>
                </a:lnTo>
                <a:lnTo>
                  <a:pt x="362" y="1054"/>
                </a:lnTo>
                <a:lnTo>
                  <a:pt x="357" y="1054"/>
                </a:lnTo>
                <a:lnTo>
                  <a:pt x="357" y="1049"/>
                </a:lnTo>
                <a:lnTo>
                  <a:pt x="357" y="1043"/>
                </a:lnTo>
                <a:lnTo>
                  <a:pt x="357" y="1037"/>
                </a:lnTo>
                <a:lnTo>
                  <a:pt x="351" y="1032"/>
                </a:lnTo>
                <a:lnTo>
                  <a:pt x="351" y="1026"/>
                </a:lnTo>
                <a:lnTo>
                  <a:pt x="351" y="1020"/>
                </a:lnTo>
                <a:lnTo>
                  <a:pt x="351" y="1009"/>
                </a:lnTo>
                <a:lnTo>
                  <a:pt x="351" y="1003"/>
                </a:lnTo>
                <a:lnTo>
                  <a:pt x="357" y="992"/>
                </a:lnTo>
                <a:lnTo>
                  <a:pt x="357" y="986"/>
                </a:lnTo>
                <a:lnTo>
                  <a:pt x="357" y="980"/>
                </a:lnTo>
                <a:lnTo>
                  <a:pt x="357" y="975"/>
                </a:lnTo>
                <a:lnTo>
                  <a:pt x="362" y="975"/>
                </a:lnTo>
                <a:lnTo>
                  <a:pt x="368" y="969"/>
                </a:lnTo>
                <a:lnTo>
                  <a:pt x="368" y="963"/>
                </a:lnTo>
                <a:lnTo>
                  <a:pt x="374" y="963"/>
                </a:lnTo>
                <a:lnTo>
                  <a:pt x="374" y="958"/>
                </a:lnTo>
                <a:lnTo>
                  <a:pt x="379" y="958"/>
                </a:lnTo>
                <a:lnTo>
                  <a:pt x="385" y="952"/>
                </a:lnTo>
                <a:lnTo>
                  <a:pt x="391" y="946"/>
                </a:lnTo>
                <a:lnTo>
                  <a:pt x="396" y="946"/>
                </a:lnTo>
                <a:lnTo>
                  <a:pt x="402" y="941"/>
                </a:lnTo>
                <a:lnTo>
                  <a:pt x="408" y="941"/>
                </a:lnTo>
                <a:lnTo>
                  <a:pt x="413" y="941"/>
                </a:lnTo>
                <a:lnTo>
                  <a:pt x="413" y="935"/>
                </a:lnTo>
                <a:lnTo>
                  <a:pt x="419" y="929"/>
                </a:lnTo>
                <a:lnTo>
                  <a:pt x="425" y="929"/>
                </a:lnTo>
                <a:lnTo>
                  <a:pt x="425" y="924"/>
                </a:lnTo>
                <a:lnTo>
                  <a:pt x="425" y="918"/>
                </a:lnTo>
                <a:lnTo>
                  <a:pt x="430" y="918"/>
                </a:lnTo>
                <a:lnTo>
                  <a:pt x="430" y="912"/>
                </a:lnTo>
                <a:lnTo>
                  <a:pt x="436" y="912"/>
                </a:lnTo>
                <a:lnTo>
                  <a:pt x="436" y="901"/>
                </a:lnTo>
                <a:lnTo>
                  <a:pt x="436" y="884"/>
                </a:lnTo>
                <a:lnTo>
                  <a:pt x="436" y="867"/>
                </a:lnTo>
                <a:lnTo>
                  <a:pt x="436" y="861"/>
                </a:lnTo>
                <a:lnTo>
                  <a:pt x="436" y="856"/>
                </a:lnTo>
                <a:lnTo>
                  <a:pt x="436" y="850"/>
                </a:lnTo>
                <a:lnTo>
                  <a:pt x="436" y="844"/>
                </a:lnTo>
                <a:lnTo>
                  <a:pt x="430" y="844"/>
                </a:lnTo>
                <a:lnTo>
                  <a:pt x="425" y="844"/>
                </a:lnTo>
                <a:lnTo>
                  <a:pt x="413" y="844"/>
                </a:lnTo>
                <a:lnTo>
                  <a:pt x="408" y="844"/>
                </a:lnTo>
                <a:lnTo>
                  <a:pt x="408" y="850"/>
                </a:lnTo>
                <a:lnTo>
                  <a:pt x="402" y="850"/>
                </a:lnTo>
                <a:lnTo>
                  <a:pt x="396" y="850"/>
                </a:lnTo>
                <a:lnTo>
                  <a:pt x="396" y="856"/>
                </a:lnTo>
                <a:lnTo>
                  <a:pt x="391" y="861"/>
                </a:lnTo>
                <a:lnTo>
                  <a:pt x="385" y="861"/>
                </a:lnTo>
                <a:lnTo>
                  <a:pt x="379" y="861"/>
                </a:lnTo>
                <a:lnTo>
                  <a:pt x="374" y="861"/>
                </a:lnTo>
                <a:lnTo>
                  <a:pt x="368" y="861"/>
                </a:lnTo>
                <a:lnTo>
                  <a:pt x="362" y="861"/>
                </a:lnTo>
                <a:lnTo>
                  <a:pt x="357" y="861"/>
                </a:lnTo>
                <a:lnTo>
                  <a:pt x="351" y="861"/>
                </a:lnTo>
                <a:lnTo>
                  <a:pt x="351" y="856"/>
                </a:lnTo>
                <a:lnTo>
                  <a:pt x="345" y="856"/>
                </a:lnTo>
                <a:lnTo>
                  <a:pt x="340" y="856"/>
                </a:lnTo>
                <a:lnTo>
                  <a:pt x="328" y="856"/>
                </a:lnTo>
                <a:lnTo>
                  <a:pt x="328" y="850"/>
                </a:lnTo>
                <a:lnTo>
                  <a:pt x="323" y="850"/>
                </a:lnTo>
                <a:lnTo>
                  <a:pt x="317" y="844"/>
                </a:lnTo>
                <a:lnTo>
                  <a:pt x="311" y="844"/>
                </a:lnTo>
                <a:lnTo>
                  <a:pt x="306" y="839"/>
                </a:lnTo>
                <a:lnTo>
                  <a:pt x="300" y="839"/>
                </a:lnTo>
                <a:lnTo>
                  <a:pt x="300" y="833"/>
                </a:lnTo>
                <a:lnTo>
                  <a:pt x="294" y="833"/>
                </a:lnTo>
                <a:lnTo>
                  <a:pt x="294" y="827"/>
                </a:lnTo>
                <a:lnTo>
                  <a:pt x="294" y="822"/>
                </a:lnTo>
                <a:lnTo>
                  <a:pt x="289" y="822"/>
                </a:lnTo>
                <a:lnTo>
                  <a:pt x="283" y="822"/>
                </a:lnTo>
                <a:lnTo>
                  <a:pt x="283" y="816"/>
                </a:lnTo>
                <a:lnTo>
                  <a:pt x="277" y="810"/>
                </a:lnTo>
                <a:lnTo>
                  <a:pt x="272" y="810"/>
                </a:lnTo>
                <a:lnTo>
                  <a:pt x="272" y="805"/>
                </a:lnTo>
                <a:lnTo>
                  <a:pt x="266" y="805"/>
                </a:lnTo>
                <a:lnTo>
                  <a:pt x="260" y="805"/>
                </a:lnTo>
                <a:lnTo>
                  <a:pt x="255" y="805"/>
                </a:lnTo>
                <a:lnTo>
                  <a:pt x="249" y="805"/>
                </a:lnTo>
                <a:lnTo>
                  <a:pt x="249" y="799"/>
                </a:lnTo>
                <a:lnTo>
                  <a:pt x="243" y="799"/>
                </a:lnTo>
                <a:lnTo>
                  <a:pt x="238" y="799"/>
                </a:lnTo>
                <a:lnTo>
                  <a:pt x="232" y="799"/>
                </a:lnTo>
                <a:lnTo>
                  <a:pt x="226" y="805"/>
                </a:lnTo>
                <a:lnTo>
                  <a:pt x="221" y="805"/>
                </a:lnTo>
                <a:lnTo>
                  <a:pt x="215" y="810"/>
                </a:lnTo>
                <a:lnTo>
                  <a:pt x="209" y="810"/>
                </a:lnTo>
                <a:lnTo>
                  <a:pt x="198" y="810"/>
                </a:lnTo>
                <a:lnTo>
                  <a:pt x="192" y="810"/>
                </a:lnTo>
                <a:lnTo>
                  <a:pt x="187" y="810"/>
                </a:lnTo>
                <a:lnTo>
                  <a:pt x="181" y="810"/>
                </a:lnTo>
                <a:lnTo>
                  <a:pt x="164" y="810"/>
                </a:lnTo>
                <a:lnTo>
                  <a:pt x="153" y="805"/>
                </a:lnTo>
                <a:lnTo>
                  <a:pt x="141" y="799"/>
                </a:lnTo>
                <a:lnTo>
                  <a:pt x="141" y="793"/>
                </a:lnTo>
                <a:lnTo>
                  <a:pt x="136" y="793"/>
                </a:lnTo>
                <a:lnTo>
                  <a:pt x="130" y="793"/>
                </a:lnTo>
                <a:lnTo>
                  <a:pt x="130" y="788"/>
                </a:lnTo>
                <a:lnTo>
                  <a:pt x="124" y="788"/>
                </a:lnTo>
                <a:lnTo>
                  <a:pt x="119" y="788"/>
                </a:lnTo>
                <a:lnTo>
                  <a:pt x="113" y="788"/>
                </a:lnTo>
                <a:lnTo>
                  <a:pt x="113" y="782"/>
                </a:lnTo>
                <a:lnTo>
                  <a:pt x="107" y="782"/>
                </a:lnTo>
                <a:lnTo>
                  <a:pt x="107" y="776"/>
                </a:lnTo>
                <a:lnTo>
                  <a:pt x="102" y="776"/>
                </a:lnTo>
                <a:lnTo>
                  <a:pt x="96" y="776"/>
                </a:lnTo>
                <a:lnTo>
                  <a:pt x="96" y="771"/>
                </a:lnTo>
                <a:lnTo>
                  <a:pt x="90" y="765"/>
                </a:lnTo>
                <a:lnTo>
                  <a:pt x="79" y="77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3" name="Freeform 10"/>
          <p:cNvSpPr>
            <a:spLocks/>
          </p:cNvSpPr>
          <p:nvPr/>
        </p:nvSpPr>
        <p:spPr bwMode="gray">
          <a:xfrm>
            <a:off x="2437861" y="3842035"/>
            <a:ext cx="1498352" cy="1316853"/>
          </a:xfrm>
          <a:custGeom>
            <a:avLst/>
            <a:gdLst>
              <a:gd name="T0" fmla="*/ 2147483647 w 885"/>
              <a:gd name="T1" fmla="*/ 2147483647 h 777"/>
              <a:gd name="T2" fmla="*/ 2147483647 w 885"/>
              <a:gd name="T3" fmla="*/ 2147483647 h 777"/>
              <a:gd name="T4" fmla="*/ 2147483647 w 885"/>
              <a:gd name="T5" fmla="*/ 2147483647 h 777"/>
              <a:gd name="T6" fmla="*/ 2147483647 w 885"/>
              <a:gd name="T7" fmla="*/ 2147483647 h 777"/>
              <a:gd name="T8" fmla="*/ 2147483647 w 885"/>
              <a:gd name="T9" fmla="*/ 2147483647 h 777"/>
              <a:gd name="T10" fmla="*/ 2147483647 w 885"/>
              <a:gd name="T11" fmla="*/ 2147483647 h 777"/>
              <a:gd name="T12" fmla="*/ 2147483647 w 885"/>
              <a:gd name="T13" fmla="*/ 2147483647 h 777"/>
              <a:gd name="T14" fmla="*/ 2147483647 w 885"/>
              <a:gd name="T15" fmla="*/ 2147483647 h 777"/>
              <a:gd name="T16" fmla="*/ 2147483647 w 885"/>
              <a:gd name="T17" fmla="*/ 2147483647 h 777"/>
              <a:gd name="T18" fmla="*/ 2147483647 w 885"/>
              <a:gd name="T19" fmla="*/ 2147483647 h 777"/>
              <a:gd name="T20" fmla="*/ 2147483647 w 885"/>
              <a:gd name="T21" fmla="*/ 2147483647 h 777"/>
              <a:gd name="T22" fmla="*/ 2147483647 w 885"/>
              <a:gd name="T23" fmla="*/ 2147483647 h 777"/>
              <a:gd name="T24" fmla="*/ 2147483647 w 885"/>
              <a:gd name="T25" fmla="*/ 2147483647 h 777"/>
              <a:gd name="T26" fmla="*/ 2147483647 w 885"/>
              <a:gd name="T27" fmla="*/ 2147483647 h 777"/>
              <a:gd name="T28" fmla="*/ 2147483647 w 885"/>
              <a:gd name="T29" fmla="*/ 2147483647 h 777"/>
              <a:gd name="T30" fmla="*/ 2147483647 w 885"/>
              <a:gd name="T31" fmla="*/ 2147483647 h 777"/>
              <a:gd name="T32" fmla="*/ 2147483647 w 885"/>
              <a:gd name="T33" fmla="*/ 2147483647 h 777"/>
              <a:gd name="T34" fmla="*/ 2147483647 w 885"/>
              <a:gd name="T35" fmla="*/ 2147483647 h 777"/>
              <a:gd name="T36" fmla="*/ 2147483647 w 885"/>
              <a:gd name="T37" fmla="*/ 2147483647 h 777"/>
              <a:gd name="T38" fmla="*/ 2147483647 w 885"/>
              <a:gd name="T39" fmla="*/ 2147483647 h 777"/>
              <a:gd name="T40" fmla="*/ 2147483647 w 885"/>
              <a:gd name="T41" fmla="*/ 2147483647 h 777"/>
              <a:gd name="T42" fmla="*/ 2147483647 w 885"/>
              <a:gd name="T43" fmla="*/ 2147483647 h 777"/>
              <a:gd name="T44" fmla="*/ 2147483647 w 885"/>
              <a:gd name="T45" fmla="*/ 2147483647 h 777"/>
              <a:gd name="T46" fmla="*/ 2147483647 w 885"/>
              <a:gd name="T47" fmla="*/ 2147483647 h 777"/>
              <a:gd name="T48" fmla="*/ 2147483647 w 885"/>
              <a:gd name="T49" fmla="*/ 2147483647 h 777"/>
              <a:gd name="T50" fmla="*/ 2147483647 w 885"/>
              <a:gd name="T51" fmla="*/ 2147483647 h 777"/>
              <a:gd name="T52" fmla="*/ 2147483647 w 885"/>
              <a:gd name="T53" fmla="*/ 2147483647 h 777"/>
              <a:gd name="T54" fmla="*/ 2147483647 w 885"/>
              <a:gd name="T55" fmla="*/ 2147483647 h 777"/>
              <a:gd name="T56" fmla="*/ 2147483647 w 885"/>
              <a:gd name="T57" fmla="*/ 2147483647 h 777"/>
              <a:gd name="T58" fmla="*/ 2147483647 w 885"/>
              <a:gd name="T59" fmla="*/ 2147483647 h 777"/>
              <a:gd name="T60" fmla="*/ 2147483647 w 885"/>
              <a:gd name="T61" fmla="*/ 2147483647 h 777"/>
              <a:gd name="T62" fmla="*/ 2147483647 w 885"/>
              <a:gd name="T63" fmla="*/ 2147483647 h 777"/>
              <a:gd name="T64" fmla="*/ 2147483647 w 885"/>
              <a:gd name="T65" fmla="*/ 2147483647 h 777"/>
              <a:gd name="T66" fmla="*/ 2147483647 w 885"/>
              <a:gd name="T67" fmla="*/ 2147483647 h 777"/>
              <a:gd name="T68" fmla="*/ 2147483647 w 885"/>
              <a:gd name="T69" fmla="*/ 2147483647 h 777"/>
              <a:gd name="T70" fmla="*/ 2147483647 w 885"/>
              <a:gd name="T71" fmla="*/ 2147483647 h 777"/>
              <a:gd name="T72" fmla="*/ 2147483647 w 885"/>
              <a:gd name="T73" fmla="*/ 2147483647 h 777"/>
              <a:gd name="T74" fmla="*/ 2147483647 w 885"/>
              <a:gd name="T75" fmla="*/ 2147483647 h 777"/>
              <a:gd name="T76" fmla="*/ 2147483647 w 885"/>
              <a:gd name="T77" fmla="*/ 2147483647 h 777"/>
              <a:gd name="T78" fmla="*/ 2147483647 w 885"/>
              <a:gd name="T79" fmla="*/ 2147483647 h 777"/>
              <a:gd name="T80" fmla="*/ 2147483647 w 885"/>
              <a:gd name="T81" fmla="*/ 2147483647 h 777"/>
              <a:gd name="T82" fmla="*/ 2147483647 w 885"/>
              <a:gd name="T83" fmla="*/ 2147483647 h 777"/>
              <a:gd name="T84" fmla="*/ 2147483647 w 885"/>
              <a:gd name="T85" fmla="*/ 2147483647 h 777"/>
              <a:gd name="T86" fmla="*/ 2147483647 w 885"/>
              <a:gd name="T87" fmla="*/ 2147483647 h 777"/>
              <a:gd name="T88" fmla="*/ 2147483647 w 885"/>
              <a:gd name="T89" fmla="*/ 2147483647 h 777"/>
              <a:gd name="T90" fmla="*/ 2147483647 w 885"/>
              <a:gd name="T91" fmla="*/ 2147483647 h 777"/>
              <a:gd name="T92" fmla="*/ 2147483647 w 885"/>
              <a:gd name="T93" fmla="*/ 2147483647 h 777"/>
              <a:gd name="T94" fmla="*/ 2147483647 w 885"/>
              <a:gd name="T95" fmla="*/ 2147483647 h 777"/>
              <a:gd name="T96" fmla="*/ 2147483647 w 885"/>
              <a:gd name="T97" fmla="*/ 2147483647 h 777"/>
              <a:gd name="T98" fmla="*/ 2147483647 w 885"/>
              <a:gd name="T99" fmla="*/ 2147483647 h 777"/>
              <a:gd name="T100" fmla="*/ 2147483647 w 885"/>
              <a:gd name="T101" fmla="*/ 2147483647 h 777"/>
              <a:gd name="T102" fmla="*/ 2147483647 w 885"/>
              <a:gd name="T103" fmla="*/ 2147483647 h 777"/>
              <a:gd name="T104" fmla="*/ 2147483647 w 885"/>
              <a:gd name="T105" fmla="*/ 2147483647 h 777"/>
              <a:gd name="T106" fmla="*/ 2147483647 w 885"/>
              <a:gd name="T107" fmla="*/ 2147483647 h 777"/>
              <a:gd name="T108" fmla="*/ 2147483647 w 885"/>
              <a:gd name="T109" fmla="*/ 2147483647 h 777"/>
              <a:gd name="T110" fmla="*/ 2147483647 w 885"/>
              <a:gd name="T111" fmla="*/ 2147483647 h 777"/>
              <a:gd name="T112" fmla="*/ 2147483647 w 885"/>
              <a:gd name="T113" fmla="*/ 2147483647 h 777"/>
              <a:gd name="T114" fmla="*/ 2147483647 w 885"/>
              <a:gd name="T115" fmla="*/ 2147483647 h 777"/>
              <a:gd name="T116" fmla="*/ 2147483647 w 885"/>
              <a:gd name="T117" fmla="*/ 2147483647 h 777"/>
              <a:gd name="T118" fmla="*/ 2147483647 w 885"/>
              <a:gd name="T119" fmla="*/ 2147483647 h 777"/>
              <a:gd name="T120" fmla="*/ 2147483647 w 885"/>
              <a:gd name="T121" fmla="*/ 2147483647 h 77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85"/>
              <a:gd name="T184" fmla="*/ 0 h 777"/>
              <a:gd name="T185" fmla="*/ 885 w 885"/>
              <a:gd name="T186" fmla="*/ 777 h 77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85" h="777">
                <a:moveTo>
                  <a:pt x="68" y="244"/>
                </a:moveTo>
                <a:lnTo>
                  <a:pt x="68" y="238"/>
                </a:lnTo>
                <a:lnTo>
                  <a:pt x="74" y="238"/>
                </a:lnTo>
                <a:lnTo>
                  <a:pt x="74" y="233"/>
                </a:lnTo>
                <a:lnTo>
                  <a:pt x="80" y="227"/>
                </a:lnTo>
                <a:lnTo>
                  <a:pt x="80" y="221"/>
                </a:lnTo>
                <a:lnTo>
                  <a:pt x="80" y="216"/>
                </a:lnTo>
                <a:lnTo>
                  <a:pt x="80" y="210"/>
                </a:lnTo>
                <a:lnTo>
                  <a:pt x="80" y="204"/>
                </a:lnTo>
                <a:lnTo>
                  <a:pt x="74" y="204"/>
                </a:lnTo>
                <a:lnTo>
                  <a:pt x="68" y="204"/>
                </a:lnTo>
                <a:lnTo>
                  <a:pt x="57" y="204"/>
                </a:lnTo>
                <a:lnTo>
                  <a:pt x="51" y="204"/>
                </a:lnTo>
                <a:lnTo>
                  <a:pt x="46" y="204"/>
                </a:lnTo>
                <a:lnTo>
                  <a:pt x="40" y="199"/>
                </a:lnTo>
                <a:lnTo>
                  <a:pt x="40" y="193"/>
                </a:lnTo>
                <a:lnTo>
                  <a:pt x="40" y="187"/>
                </a:lnTo>
                <a:lnTo>
                  <a:pt x="40" y="182"/>
                </a:lnTo>
                <a:lnTo>
                  <a:pt x="34" y="182"/>
                </a:lnTo>
                <a:lnTo>
                  <a:pt x="34" y="176"/>
                </a:lnTo>
                <a:lnTo>
                  <a:pt x="29" y="176"/>
                </a:lnTo>
                <a:lnTo>
                  <a:pt x="23" y="176"/>
                </a:lnTo>
                <a:lnTo>
                  <a:pt x="17" y="176"/>
                </a:lnTo>
                <a:lnTo>
                  <a:pt x="12" y="170"/>
                </a:lnTo>
                <a:lnTo>
                  <a:pt x="12" y="165"/>
                </a:lnTo>
                <a:lnTo>
                  <a:pt x="12" y="153"/>
                </a:lnTo>
                <a:lnTo>
                  <a:pt x="6" y="153"/>
                </a:lnTo>
                <a:lnTo>
                  <a:pt x="0" y="142"/>
                </a:lnTo>
                <a:lnTo>
                  <a:pt x="0" y="136"/>
                </a:lnTo>
                <a:lnTo>
                  <a:pt x="6" y="136"/>
                </a:lnTo>
                <a:lnTo>
                  <a:pt x="6" y="131"/>
                </a:lnTo>
                <a:lnTo>
                  <a:pt x="6" y="125"/>
                </a:lnTo>
                <a:lnTo>
                  <a:pt x="12" y="125"/>
                </a:lnTo>
                <a:lnTo>
                  <a:pt x="17" y="125"/>
                </a:lnTo>
                <a:lnTo>
                  <a:pt x="17" y="119"/>
                </a:lnTo>
                <a:lnTo>
                  <a:pt x="23" y="119"/>
                </a:lnTo>
                <a:lnTo>
                  <a:pt x="23" y="114"/>
                </a:lnTo>
                <a:lnTo>
                  <a:pt x="29" y="114"/>
                </a:lnTo>
                <a:lnTo>
                  <a:pt x="29" y="108"/>
                </a:lnTo>
                <a:lnTo>
                  <a:pt x="34" y="108"/>
                </a:lnTo>
                <a:lnTo>
                  <a:pt x="34" y="102"/>
                </a:lnTo>
                <a:lnTo>
                  <a:pt x="40" y="102"/>
                </a:lnTo>
                <a:lnTo>
                  <a:pt x="40" y="97"/>
                </a:lnTo>
                <a:lnTo>
                  <a:pt x="46" y="91"/>
                </a:lnTo>
                <a:lnTo>
                  <a:pt x="46" y="85"/>
                </a:lnTo>
                <a:lnTo>
                  <a:pt x="51" y="85"/>
                </a:lnTo>
                <a:lnTo>
                  <a:pt x="51" y="80"/>
                </a:lnTo>
                <a:lnTo>
                  <a:pt x="57" y="80"/>
                </a:lnTo>
                <a:lnTo>
                  <a:pt x="57" y="74"/>
                </a:lnTo>
                <a:lnTo>
                  <a:pt x="63" y="74"/>
                </a:lnTo>
                <a:lnTo>
                  <a:pt x="68" y="74"/>
                </a:lnTo>
                <a:lnTo>
                  <a:pt x="74" y="74"/>
                </a:lnTo>
                <a:lnTo>
                  <a:pt x="80" y="74"/>
                </a:lnTo>
                <a:lnTo>
                  <a:pt x="80" y="80"/>
                </a:lnTo>
                <a:lnTo>
                  <a:pt x="85" y="80"/>
                </a:lnTo>
                <a:lnTo>
                  <a:pt x="91" y="85"/>
                </a:lnTo>
                <a:lnTo>
                  <a:pt x="97" y="91"/>
                </a:lnTo>
                <a:lnTo>
                  <a:pt x="102" y="91"/>
                </a:lnTo>
                <a:lnTo>
                  <a:pt x="108" y="97"/>
                </a:lnTo>
                <a:lnTo>
                  <a:pt x="114" y="97"/>
                </a:lnTo>
                <a:lnTo>
                  <a:pt x="114" y="102"/>
                </a:lnTo>
                <a:lnTo>
                  <a:pt x="125" y="108"/>
                </a:lnTo>
                <a:lnTo>
                  <a:pt x="131" y="108"/>
                </a:lnTo>
                <a:lnTo>
                  <a:pt x="136" y="108"/>
                </a:lnTo>
                <a:lnTo>
                  <a:pt x="136" y="114"/>
                </a:lnTo>
                <a:lnTo>
                  <a:pt x="148" y="114"/>
                </a:lnTo>
                <a:lnTo>
                  <a:pt x="153" y="119"/>
                </a:lnTo>
                <a:lnTo>
                  <a:pt x="165" y="119"/>
                </a:lnTo>
                <a:lnTo>
                  <a:pt x="170" y="119"/>
                </a:lnTo>
                <a:lnTo>
                  <a:pt x="176" y="119"/>
                </a:lnTo>
                <a:lnTo>
                  <a:pt x="182" y="119"/>
                </a:lnTo>
                <a:lnTo>
                  <a:pt x="187" y="119"/>
                </a:lnTo>
                <a:lnTo>
                  <a:pt x="193" y="119"/>
                </a:lnTo>
                <a:lnTo>
                  <a:pt x="204" y="114"/>
                </a:lnTo>
                <a:lnTo>
                  <a:pt x="210" y="114"/>
                </a:lnTo>
                <a:lnTo>
                  <a:pt x="216" y="114"/>
                </a:lnTo>
                <a:lnTo>
                  <a:pt x="221" y="114"/>
                </a:lnTo>
                <a:lnTo>
                  <a:pt x="233" y="119"/>
                </a:lnTo>
                <a:lnTo>
                  <a:pt x="238" y="119"/>
                </a:lnTo>
                <a:lnTo>
                  <a:pt x="244" y="119"/>
                </a:lnTo>
                <a:lnTo>
                  <a:pt x="250" y="119"/>
                </a:lnTo>
                <a:lnTo>
                  <a:pt x="261" y="119"/>
                </a:lnTo>
                <a:lnTo>
                  <a:pt x="267" y="119"/>
                </a:lnTo>
                <a:lnTo>
                  <a:pt x="272" y="119"/>
                </a:lnTo>
                <a:lnTo>
                  <a:pt x="272" y="114"/>
                </a:lnTo>
                <a:lnTo>
                  <a:pt x="278" y="114"/>
                </a:lnTo>
                <a:lnTo>
                  <a:pt x="278" y="102"/>
                </a:lnTo>
                <a:lnTo>
                  <a:pt x="278" y="97"/>
                </a:lnTo>
                <a:lnTo>
                  <a:pt x="278" y="91"/>
                </a:lnTo>
                <a:lnTo>
                  <a:pt x="278" y="85"/>
                </a:lnTo>
                <a:lnTo>
                  <a:pt x="278" y="80"/>
                </a:lnTo>
                <a:lnTo>
                  <a:pt x="278" y="74"/>
                </a:lnTo>
                <a:lnTo>
                  <a:pt x="278" y="68"/>
                </a:lnTo>
                <a:lnTo>
                  <a:pt x="278" y="63"/>
                </a:lnTo>
                <a:lnTo>
                  <a:pt x="284" y="63"/>
                </a:lnTo>
                <a:lnTo>
                  <a:pt x="284" y="57"/>
                </a:lnTo>
                <a:lnTo>
                  <a:pt x="284" y="51"/>
                </a:lnTo>
                <a:lnTo>
                  <a:pt x="289" y="51"/>
                </a:lnTo>
                <a:lnTo>
                  <a:pt x="289" y="46"/>
                </a:lnTo>
                <a:lnTo>
                  <a:pt x="289" y="40"/>
                </a:lnTo>
                <a:lnTo>
                  <a:pt x="295" y="40"/>
                </a:lnTo>
                <a:lnTo>
                  <a:pt x="295" y="34"/>
                </a:lnTo>
                <a:lnTo>
                  <a:pt x="295" y="29"/>
                </a:lnTo>
                <a:lnTo>
                  <a:pt x="301" y="29"/>
                </a:lnTo>
                <a:lnTo>
                  <a:pt x="301" y="23"/>
                </a:lnTo>
                <a:lnTo>
                  <a:pt x="306" y="17"/>
                </a:lnTo>
                <a:lnTo>
                  <a:pt x="306" y="12"/>
                </a:lnTo>
                <a:lnTo>
                  <a:pt x="306" y="6"/>
                </a:lnTo>
                <a:lnTo>
                  <a:pt x="318" y="0"/>
                </a:lnTo>
                <a:lnTo>
                  <a:pt x="323" y="0"/>
                </a:lnTo>
                <a:lnTo>
                  <a:pt x="329" y="0"/>
                </a:lnTo>
                <a:lnTo>
                  <a:pt x="335" y="0"/>
                </a:lnTo>
                <a:lnTo>
                  <a:pt x="346" y="6"/>
                </a:lnTo>
                <a:lnTo>
                  <a:pt x="352" y="12"/>
                </a:lnTo>
                <a:lnTo>
                  <a:pt x="357" y="17"/>
                </a:lnTo>
                <a:lnTo>
                  <a:pt x="363" y="17"/>
                </a:lnTo>
                <a:lnTo>
                  <a:pt x="363" y="23"/>
                </a:lnTo>
                <a:lnTo>
                  <a:pt x="369" y="23"/>
                </a:lnTo>
                <a:lnTo>
                  <a:pt x="369" y="29"/>
                </a:lnTo>
                <a:lnTo>
                  <a:pt x="374" y="29"/>
                </a:lnTo>
                <a:lnTo>
                  <a:pt x="374" y="34"/>
                </a:lnTo>
                <a:lnTo>
                  <a:pt x="374" y="40"/>
                </a:lnTo>
                <a:lnTo>
                  <a:pt x="374" y="46"/>
                </a:lnTo>
                <a:lnTo>
                  <a:pt x="380" y="51"/>
                </a:lnTo>
                <a:lnTo>
                  <a:pt x="380" y="57"/>
                </a:lnTo>
                <a:lnTo>
                  <a:pt x="380" y="63"/>
                </a:lnTo>
                <a:lnTo>
                  <a:pt x="380" y="68"/>
                </a:lnTo>
                <a:lnTo>
                  <a:pt x="386" y="68"/>
                </a:lnTo>
                <a:lnTo>
                  <a:pt x="386" y="74"/>
                </a:lnTo>
                <a:lnTo>
                  <a:pt x="391" y="80"/>
                </a:lnTo>
                <a:lnTo>
                  <a:pt x="391" y="85"/>
                </a:lnTo>
                <a:lnTo>
                  <a:pt x="391" y="97"/>
                </a:lnTo>
                <a:lnTo>
                  <a:pt x="397" y="102"/>
                </a:lnTo>
                <a:lnTo>
                  <a:pt x="397" y="108"/>
                </a:lnTo>
                <a:lnTo>
                  <a:pt x="403" y="108"/>
                </a:lnTo>
                <a:lnTo>
                  <a:pt x="408" y="114"/>
                </a:lnTo>
                <a:lnTo>
                  <a:pt x="408" y="119"/>
                </a:lnTo>
                <a:lnTo>
                  <a:pt x="414" y="119"/>
                </a:lnTo>
                <a:lnTo>
                  <a:pt x="420" y="125"/>
                </a:lnTo>
                <a:lnTo>
                  <a:pt x="425" y="125"/>
                </a:lnTo>
                <a:lnTo>
                  <a:pt x="425" y="131"/>
                </a:lnTo>
                <a:lnTo>
                  <a:pt x="431" y="131"/>
                </a:lnTo>
                <a:lnTo>
                  <a:pt x="437" y="136"/>
                </a:lnTo>
                <a:lnTo>
                  <a:pt x="442" y="136"/>
                </a:lnTo>
                <a:lnTo>
                  <a:pt x="442" y="142"/>
                </a:lnTo>
                <a:lnTo>
                  <a:pt x="448" y="142"/>
                </a:lnTo>
                <a:lnTo>
                  <a:pt x="448" y="148"/>
                </a:lnTo>
                <a:lnTo>
                  <a:pt x="454" y="148"/>
                </a:lnTo>
                <a:lnTo>
                  <a:pt x="459" y="153"/>
                </a:lnTo>
                <a:lnTo>
                  <a:pt x="465" y="159"/>
                </a:lnTo>
                <a:lnTo>
                  <a:pt x="471" y="165"/>
                </a:lnTo>
                <a:lnTo>
                  <a:pt x="471" y="170"/>
                </a:lnTo>
                <a:lnTo>
                  <a:pt x="471" y="176"/>
                </a:lnTo>
                <a:lnTo>
                  <a:pt x="476" y="176"/>
                </a:lnTo>
                <a:lnTo>
                  <a:pt x="482" y="182"/>
                </a:lnTo>
                <a:lnTo>
                  <a:pt x="488" y="182"/>
                </a:lnTo>
                <a:lnTo>
                  <a:pt x="493" y="182"/>
                </a:lnTo>
                <a:lnTo>
                  <a:pt x="499" y="176"/>
                </a:lnTo>
                <a:lnTo>
                  <a:pt x="499" y="170"/>
                </a:lnTo>
                <a:lnTo>
                  <a:pt x="505" y="165"/>
                </a:lnTo>
                <a:lnTo>
                  <a:pt x="510" y="153"/>
                </a:lnTo>
                <a:lnTo>
                  <a:pt x="516" y="148"/>
                </a:lnTo>
                <a:lnTo>
                  <a:pt x="516" y="142"/>
                </a:lnTo>
                <a:lnTo>
                  <a:pt x="516" y="136"/>
                </a:lnTo>
                <a:lnTo>
                  <a:pt x="522" y="136"/>
                </a:lnTo>
                <a:lnTo>
                  <a:pt x="527" y="136"/>
                </a:lnTo>
                <a:lnTo>
                  <a:pt x="527" y="131"/>
                </a:lnTo>
                <a:lnTo>
                  <a:pt x="527" y="125"/>
                </a:lnTo>
                <a:lnTo>
                  <a:pt x="533" y="125"/>
                </a:lnTo>
                <a:lnTo>
                  <a:pt x="533" y="119"/>
                </a:lnTo>
                <a:lnTo>
                  <a:pt x="533" y="114"/>
                </a:lnTo>
                <a:lnTo>
                  <a:pt x="533" y="108"/>
                </a:lnTo>
                <a:lnTo>
                  <a:pt x="539" y="108"/>
                </a:lnTo>
                <a:lnTo>
                  <a:pt x="544" y="108"/>
                </a:lnTo>
                <a:lnTo>
                  <a:pt x="550" y="108"/>
                </a:lnTo>
                <a:lnTo>
                  <a:pt x="556" y="108"/>
                </a:lnTo>
                <a:lnTo>
                  <a:pt x="567" y="108"/>
                </a:lnTo>
                <a:lnTo>
                  <a:pt x="573" y="108"/>
                </a:lnTo>
                <a:lnTo>
                  <a:pt x="578" y="108"/>
                </a:lnTo>
                <a:lnTo>
                  <a:pt x="590" y="108"/>
                </a:lnTo>
                <a:lnTo>
                  <a:pt x="601" y="108"/>
                </a:lnTo>
                <a:lnTo>
                  <a:pt x="590" y="119"/>
                </a:lnTo>
                <a:lnTo>
                  <a:pt x="590" y="125"/>
                </a:lnTo>
                <a:lnTo>
                  <a:pt x="584" y="131"/>
                </a:lnTo>
                <a:lnTo>
                  <a:pt x="578" y="148"/>
                </a:lnTo>
                <a:lnTo>
                  <a:pt x="573" y="153"/>
                </a:lnTo>
                <a:lnTo>
                  <a:pt x="573" y="159"/>
                </a:lnTo>
                <a:lnTo>
                  <a:pt x="578" y="165"/>
                </a:lnTo>
                <a:lnTo>
                  <a:pt x="584" y="170"/>
                </a:lnTo>
                <a:lnTo>
                  <a:pt x="584" y="176"/>
                </a:lnTo>
                <a:lnTo>
                  <a:pt x="584" y="182"/>
                </a:lnTo>
                <a:lnTo>
                  <a:pt x="584" y="187"/>
                </a:lnTo>
                <a:lnTo>
                  <a:pt x="590" y="193"/>
                </a:lnTo>
                <a:lnTo>
                  <a:pt x="590" y="199"/>
                </a:lnTo>
                <a:lnTo>
                  <a:pt x="595" y="199"/>
                </a:lnTo>
                <a:lnTo>
                  <a:pt x="595" y="204"/>
                </a:lnTo>
                <a:lnTo>
                  <a:pt x="590" y="204"/>
                </a:lnTo>
                <a:lnTo>
                  <a:pt x="590" y="216"/>
                </a:lnTo>
                <a:lnTo>
                  <a:pt x="590" y="221"/>
                </a:lnTo>
                <a:lnTo>
                  <a:pt x="590" y="227"/>
                </a:lnTo>
                <a:lnTo>
                  <a:pt x="590" y="233"/>
                </a:lnTo>
                <a:lnTo>
                  <a:pt x="590" y="238"/>
                </a:lnTo>
                <a:lnTo>
                  <a:pt x="590" y="244"/>
                </a:lnTo>
                <a:lnTo>
                  <a:pt x="584" y="244"/>
                </a:lnTo>
                <a:lnTo>
                  <a:pt x="584" y="250"/>
                </a:lnTo>
                <a:lnTo>
                  <a:pt x="584" y="255"/>
                </a:lnTo>
                <a:lnTo>
                  <a:pt x="584" y="261"/>
                </a:lnTo>
                <a:lnTo>
                  <a:pt x="584" y="272"/>
                </a:lnTo>
                <a:lnTo>
                  <a:pt x="578" y="278"/>
                </a:lnTo>
                <a:lnTo>
                  <a:pt x="578" y="289"/>
                </a:lnTo>
                <a:lnTo>
                  <a:pt x="578" y="295"/>
                </a:lnTo>
                <a:lnTo>
                  <a:pt x="578" y="301"/>
                </a:lnTo>
                <a:lnTo>
                  <a:pt x="584" y="301"/>
                </a:lnTo>
                <a:lnTo>
                  <a:pt x="590" y="301"/>
                </a:lnTo>
                <a:lnTo>
                  <a:pt x="590" y="295"/>
                </a:lnTo>
                <a:lnTo>
                  <a:pt x="595" y="289"/>
                </a:lnTo>
                <a:lnTo>
                  <a:pt x="601" y="289"/>
                </a:lnTo>
                <a:lnTo>
                  <a:pt x="607" y="289"/>
                </a:lnTo>
                <a:lnTo>
                  <a:pt x="612" y="284"/>
                </a:lnTo>
                <a:lnTo>
                  <a:pt x="612" y="278"/>
                </a:lnTo>
                <a:lnTo>
                  <a:pt x="624" y="278"/>
                </a:lnTo>
                <a:lnTo>
                  <a:pt x="629" y="278"/>
                </a:lnTo>
                <a:lnTo>
                  <a:pt x="629" y="272"/>
                </a:lnTo>
                <a:lnTo>
                  <a:pt x="641" y="272"/>
                </a:lnTo>
                <a:lnTo>
                  <a:pt x="646" y="272"/>
                </a:lnTo>
                <a:lnTo>
                  <a:pt x="652" y="272"/>
                </a:lnTo>
                <a:lnTo>
                  <a:pt x="658" y="272"/>
                </a:lnTo>
                <a:lnTo>
                  <a:pt x="658" y="267"/>
                </a:lnTo>
                <a:lnTo>
                  <a:pt x="669" y="267"/>
                </a:lnTo>
                <a:lnTo>
                  <a:pt x="669" y="261"/>
                </a:lnTo>
                <a:lnTo>
                  <a:pt x="675" y="261"/>
                </a:lnTo>
                <a:lnTo>
                  <a:pt x="686" y="261"/>
                </a:lnTo>
                <a:lnTo>
                  <a:pt x="692" y="255"/>
                </a:lnTo>
                <a:lnTo>
                  <a:pt x="697" y="255"/>
                </a:lnTo>
                <a:lnTo>
                  <a:pt x="709" y="250"/>
                </a:lnTo>
                <a:lnTo>
                  <a:pt x="714" y="250"/>
                </a:lnTo>
                <a:lnTo>
                  <a:pt x="720" y="250"/>
                </a:lnTo>
                <a:lnTo>
                  <a:pt x="726" y="250"/>
                </a:lnTo>
                <a:lnTo>
                  <a:pt x="732" y="250"/>
                </a:lnTo>
                <a:lnTo>
                  <a:pt x="743" y="244"/>
                </a:lnTo>
                <a:lnTo>
                  <a:pt x="754" y="244"/>
                </a:lnTo>
                <a:lnTo>
                  <a:pt x="766" y="244"/>
                </a:lnTo>
                <a:lnTo>
                  <a:pt x="771" y="244"/>
                </a:lnTo>
                <a:lnTo>
                  <a:pt x="777" y="244"/>
                </a:lnTo>
                <a:lnTo>
                  <a:pt x="788" y="244"/>
                </a:lnTo>
                <a:lnTo>
                  <a:pt x="800" y="244"/>
                </a:lnTo>
                <a:lnTo>
                  <a:pt x="805" y="244"/>
                </a:lnTo>
                <a:lnTo>
                  <a:pt x="811" y="244"/>
                </a:lnTo>
                <a:lnTo>
                  <a:pt x="811" y="255"/>
                </a:lnTo>
                <a:lnTo>
                  <a:pt x="811" y="267"/>
                </a:lnTo>
                <a:lnTo>
                  <a:pt x="811" y="272"/>
                </a:lnTo>
                <a:lnTo>
                  <a:pt x="811" y="278"/>
                </a:lnTo>
                <a:lnTo>
                  <a:pt x="817" y="289"/>
                </a:lnTo>
                <a:lnTo>
                  <a:pt x="817" y="295"/>
                </a:lnTo>
                <a:lnTo>
                  <a:pt x="817" y="301"/>
                </a:lnTo>
                <a:lnTo>
                  <a:pt x="822" y="301"/>
                </a:lnTo>
                <a:lnTo>
                  <a:pt x="822" y="306"/>
                </a:lnTo>
                <a:lnTo>
                  <a:pt x="828" y="312"/>
                </a:lnTo>
                <a:lnTo>
                  <a:pt x="828" y="318"/>
                </a:lnTo>
                <a:lnTo>
                  <a:pt x="828" y="323"/>
                </a:lnTo>
                <a:lnTo>
                  <a:pt x="834" y="329"/>
                </a:lnTo>
                <a:lnTo>
                  <a:pt x="839" y="335"/>
                </a:lnTo>
                <a:lnTo>
                  <a:pt x="845" y="341"/>
                </a:lnTo>
                <a:lnTo>
                  <a:pt x="845" y="346"/>
                </a:lnTo>
                <a:lnTo>
                  <a:pt x="851" y="352"/>
                </a:lnTo>
                <a:lnTo>
                  <a:pt x="851" y="358"/>
                </a:lnTo>
                <a:lnTo>
                  <a:pt x="851" y="369"/>
                </a:lnTo>
                <a:lnTo>
                  <a:pt x="851" y="386"/>
                </a:lnTo>
                <a:lnTo>
                  <a:pt x="851" y="397"/>
                </a:lnTo>
                <a:lnTo>
                  <a:pt x="851" y="414"/>
                </a:lnTo>
                <a:lnTo>
                  <a:pt x="851" y="426"/>
                </a:lnTo>
                <a:lnTo>
                  <a:pt x="851" y="443"/>
                </a:lnTo>
                <a:lnTo>
                  <a:pt x="856" y="443"/>
                </a:lnTo>
                <a:lnTo>
                  <a:pt x="856" y="454"/>
                </a:lnTo>
                <a:lnTo>
                  <a:pt x="856" y="460"/>
                </a:lnTo>
                <a:lnTo>
                  <a:pt x="862" y="460"/>
                </a:lnTo>
                <a:lnTo>
                  <a:pt x="868" y="471"/>
                </a:lnTo>
                <a:lnTo>
                  <a:pt x="873" y="471"/>
                </a:lnTo>
                <a:lnTo>
                  <a:pt x="879" y="471"/>
                </a:lnTo>
                <a:lnTo>
                  <a:pt x="879" y="477"/>
                </a:lnTo>
                <a:lnTo>
                  <a:pt x="885" y="477"/>
                </a:lnTo>
                <a:lnTo>
                  <a:pt x="885" y="482"/>
                </a:lnTo>
                <a:lnTo>
                  <a:pt x="885" y="488"/>
                </a:lnTo>
                <a:lnTo>
                  <a:pt x="885" y="494"/>
                </a:lnTo>
                <a:lnTo>
                  <a:pt x="879" y="494"/>
                </a:lnTo>
                <a:lnTo>
                  <a:pt x="879" y="499"/>
                </a:lnTo>
                <a:lnTo>
                  <a:pt x="879" y="511"/>
                </a:lnTo>
                <a:lnTo>
                  <a:pt x="873" y="511"/>
                </a:lnTo>
                <a:lnTo>
                  <a:pt x="873" y="516"/>
                </a:lnTo>
                <a:lnTo>
                  <a:pt x="873" y="522"/>
                </a:lnTo>
                <a:lnTo>
                  <a:pt x="868" y="522"/>
                </a:lnTo>
                <a:lnTo>
                  <a:pt x="868" y="528"/>
                </a:lnTo>
                <a:lnTo>
                  <a:pt x="868" y="533"/>
                </a:lnTo>
                <a:lnTo>
                  <a:pt x="868" y="539"/>
                </a:lnTo>
                <a:lnTo>
                  <a:pt x="862" y="539"/>
                </a:lnTo>
                <a:lnTo>
                  <a:pt x="862" y="545"/>
                </a:lnTo>
                <a:lnTo>
                  <a:pt x="856" y="550"/>
                </a:lnTo>
                <a:lnTo>
                  <a:pt x="851" y="550"/>
                </a:lnTo>
                <a:lnTo>
                  <a:pt x="845" y="556"/>
                </a:lnTo>
                <a:lnTo>
                  <a:pt x="839" y="556"/>
                </a:lnTo>
                <a:lnTo>
                  <a:pt x="834" y="556"/>
                </a:lnTo>
                <a:lnTo>
                  <a:pt x="828" y="556"/>
                </a:lnTo>
                <a:lnTo>
                  <a:pt x="822" y="562"/>
                </a:lnTo>
                <a:lnTo>
                  <a:pt x="817" y="562"/>
                </a:lnTo>
                <a:lnTo>
                  <a:pt x="811" y="567"/>
                </a:lnTo>
                <a:lnTo>
                  <a:pt x="805" y="573"/>
                </a:lnTo>
                <a:lnTo>
                  <a:pt x="800" y="579"/>
                </a:lnTo>
                <a:lnTo>
                  <a:pt x="800" y="584"/>
                </a:lnTo>
                <a:lnTo>
                  <a:pt x="794" y="584"/>
                </a:lnTo>
                <a:lnTo>
                  <a:pt x="794" y="590"/>
                </a:lnTo>
                <a:lnTo>
                  <a:pt x="794" y="596"/>
                </a:lnTo>
                <a:lnTo>
                  <a:pt x="794" y="601"/>
                </a:lnTo>
                <a:lnTo>
                  <a:pt x="794" y="607"/>
                </a:lnTo>
                <a:lnTo>
                  <a:pt x="794" y="613"/>
                </a:lnTo>
                <a:lnTo>
                  <a:pt x="783" y="607"/>
                </a:lnTo>
                <a:lnTo>
                  <a:pt x="777" y="601"/>
                </a:lnTo>
                <a:lnTo>
                  <a:pt x="771" y="590"/>
                </a:lnTo>
                <a:lnTo>
                  <a:pt x="766" y="584"/>
                </a:lnTo>
                <a:lnTo>
                  <a:pt x="760" y="579"/>
                </a:lnTo>
                <a:lnTo>
                  <a:pt x="754" y="579"/>
                </a:lnTo>
                <a:lnTo>
                  <a:pt x="749" y="579"/>
                </a:lnTo>
                <a:lnTo>
                  <a:pt x="743" y="579"/>
                </a:lnTo>
                <a:lnTo>
                  <a:pt x="732" y="579"/>
                </a:lnTo>
                <a:lnTo>
                  <a:pt x="726" y="579"/>
                </a:lnTo>
                <a:lnTo>
                  <a:pt x="726" y="584"/>
                </a:lnTo>
                <a:lnTo>
                  <a:pt x="720" y="584"/>
                </a:lnTo>
                <a:lnTo>
                  <a:pt x="720" y="590"/>
                </a:lnTo>
                <a:lnTo>
                  <a:pt x="714" y="590"/>
                </a:lnTo>
                <a:lnTo>
                  <a:pt x="714" y="596"/>
                </a:lnTo>
                <a:lnTo>
                  <a:pt x="709" y="596"/>
                </a:lnTo>
                <a:lnTo>
                  <a:pt x="703" y="601"/>
                </a:lnTo>
                <a:lnTo>
                  <a:pt x="703" y="607"/>
                </a:lnTo>
                <a:lnTo>
                  <a:pt x="697" y="607"/>
                </a:lnTo>
                <a:lnTo>
                  <a:pt x="692" y="613"/>
                </a:lnTo>
                <a:lnTo>
                  <a:pt x="686" y="613"/>
                </a:lnTo>
                <a:lnTo>
                  <a:pt x="686" y="618"/>
                </a:lnTo>
                <a:lnTo>
                  <a:pt x="686" y="624"/>
                </a:lnTo>
                <a:lnTo>
                  <a:pt x="675" y="630"/>
                </a:lnTo>
                <a:lnTo>
                  <a:pt x="675" y="635"/>
                </a:lnTo>
                <a:lnTo>
                  <a:pt x="669" y="635"/>
                </a:lnTo>
                <a:lnTo>
                  <a:pt x="663" y="641"/>
                </a:lnTo>
                <a:lnTo>
                  <a:pt x="658" y="641"/>
                </a:lnTo>
                <a:lnTo>
                  <a:pt x="658" y="652"/>
                </a:lnTo>
                <a:lnTo>
                  <a:pt x="652" y="652"/>
                </a:lnTo>
                <a:lnTo>
                  <a:pt x="646" y="658"/>
                </a:lnTo>
                <a:lnTo>
                  <a:pt x="641" y="664"/>
                </a:lnTo>
                <a:lnTo>
                  <a:pt x="629" y="669"/>
                </a:lnTo>
                <a:lnTo>
                  <a:pt x="629" y="675"/>
                </a:lnTo>
                <a:lnTo>
                  <a:pt x="624" y="675"/>
                </a:lnTo>
                <a:lnTo>
                  <a:pt x="618" y="681"/>
                </a:lnTo>
                <a:lnTo>
                  <a:pt x="612" y="686"/>
                </a:lnTo>
                <a:lnTo>
                  <a:pt x="607" y="692"/>
                </a:lnTo>
                <a:lnTo>
                  <a:pt x="601" y="692"/>
                </a:lnTo>
                <a:lnTo>
                  <a:pt x="595" y="692"/>
                </a:lnTo>
                <a:lnTo>
                  <a:pt x="590" y="692"/>
                </a:lnTo>
                <a:lnTo>
                  <a:pt x="590" y="686"/>
                </a:lnTo>
                <a:lnTo>
                  <a:pt x="590" y="681"/>
                </a:lnTo>
                <a:lnTo>
                  <a:pt x="584" y="681"/>
                </a:lnTo>
                <a:lnTo>
                  <a:pt x="584" y="675"/>
                </a:lnTo>
                <a:lnTo>
                  <a:pt x="584" y="669"/>
                </a:lnTo>
                <a:lnTo>
                  <a:pt x="578" y="664"/>
                </a:lnTo>
                <a:lnTo>
                  <a:pt x="573" y="664"/>
                </a:lnTo>
                <a:lnTo>
                  <a:pt x="573" y="669"/>
                </a:lnTo>
                <a:lnTo>
                  <a:pt x="573" y="675"/>
                </a:lnTo>
                <a:lnTo>
                  <a:pt x="573" y="681"/>
                </a:lnTo>
                <a:lnTo>
                  <a:pt x="567" y="686"/>
                </a:lnTo>
                <a:lnTo>
                  <a:pt x="567" y="692"/>
                </a:lnTo>
                <a:lnTo>
                  <a:pt x="561" y="692"/>
                </a:lnTo>
                <a:lnTo>
                  <a:pt x="561" y="698"/>
                </a:lnTo>
                <a:lnTo>
                  <a:pt x="561" y="703"/>
                </a:lnTo>
                <a:lnTo>
                  <a:pt x="556" y="703"/>
                </a:lnTo>
                <a:lnTo>
                  <a:pt x="550" y="709"/>
                </a:lnTo>
                <a:lnTo>
                  <a:pt x="544" y="715"/>
                </a:lnTo>
                <a:lnTo>
                  <a:pt x="544" y="720"/>
                </a:lnTo>
                <a:lnTo>
                  <a:pt x="539" y="720"/>
                </a:lnTo>
                <a:lnTo>
                  <a:pt x="533" y="726"/>
                </a:lnTo>
                <a:lnTo>
                  <a:pt x="533" y="732"/>
                </a:lnTo>
                <a:lnTo>
                  <a:pt x="533" y="743"/>
                </a:lnTo>
                <a:lnTo>
                  <a:pt x="527" y="754"/>
                </a:lnTo>
                <a:lnTo>
                  <a:pt x="527" y="760"/>
                </a:lnTo>
                <a:lnTo>
                  <a:pt x="527" y="766"/>
                </a:lnTo>
                <a:lnTo>
                  <a:pt x="522" y="771"/>
                </a:lnTo>
                <a:lnTo>
                  <a:pt x="516" y="771"/>
                </a:lnTo>
                <a:lnTo>
                  <a:pt x="510" y="777"/>
                </a:lnTo>
                <a:lnTo>
                  <a:pt x="505" y="777"/>
                </a:lnTo>
                <a:lnTo>
                  <a:pt x="499" y="777"/>
                </a:lnTo>
                <a:lnTo>
                  <a:pt x="493" y="777"/>
                </a:lnTo>
                <a:lnTo>
                  <a:pt x="488" y="777"/>
                </a:lnTo>
                <a:lnTo>
                  <a:pt x="471" y="777"/>
                </a:lnTo>
                <a:lnTo>
                  <a:pt x="471" y="771"/>
                </a:lnTo>
                <a:lnTo>
                  <a:pt x="471" y="760"/>
                </a:lnTo>
                <a:lnTo>
                  <a:pt x="471" y="754"/>
                </a:lnTo>
                <a:lnTo>
                  <a:pt x="471" y="749"/>
                </a:lnTo>
                <a:lnTo>
                  <a:pt x="465" y="743"/>
                </a:lnTo>
                <a:lnTo>
                  <a:pt x="465" y="737"/>
                </a:lnTo>
                <a:lnTo>
                  <a:pt x="465" y="732"/>
                </a:lnTo>
                <a:lnTo>
                  <a:pt x="459" y="720"/>
                </a:lnTo>
                <a:lnTo>
                  <a:pt x="459" y="709"/>
                </a:lnTo>
                <a:lnTo>
                  <a:pt x="459" y="703"/>
                </a:lnTo>
                <a:lnTo>
                  <a:pt x="459" y="692"/>
                </a:lnTo>
                <a:lnTo>
                  <a:pt x="459" y="686"/>
                </a:lnTo>
                <a:lnTo>
                  <a:pt x="459" y="681"/>
                </a:lnTo>
                <a:lnTo>
                  <a:pt x="459" y="675"/>
                </a:lnTo>
                <a:lnTo>
                  <a:pt x="459" y="669"/>
                </a:lnTo>
                <a:lnTo>
                  <a:pt x="459" y="664"/>
                </a:lnTo>
                <a:lnTo>
                  <a:pt x="465" y="658"/>
                </a:lnTo>
                <a:lnTo>
                  <a:pt x="465" y="652"/>
                </a:lnTo>
                <a:lnTo>
                  <a:pt x="471" y="647"/>
                </a:lnTo>
                <a:lnTo>
                  <a:pt x="471" y="641"/>
                </a:lnTo>
                <a:lnTo>
                  <a:pt x="476" y="635"/>
                </a:lnTo>
                <a:lnTo>
                  <a:pt x="476" y="624"/>
                </a:lnTo>
                <a:lnTo>
                  <a:pt x="476" y="613"/>
                </a:lnTo>
                <a:lnTo>
                  <a:pt x="476" y="607"/>
                </a:lnTo>
                <a:lnTo>
                  <a:pt x="482" y="596"/>
                </a:lnTo>
                <a:lnTo>
                  <a:pt x="482" y="590"/>
                </a:lnTo>
                <a:lnTo>
                  <a:pt x="488" y="590"/>
                </a:lnTo>
                <a:lnTo>
                  <a:pt x="488" y="584"/>
                </a:lnTo>
                <a:lnTo>
                  <a:pt x="488" y="579"/>
                </a:lnTo>
                <a:lnTo>
                  <a:pt x="488" y="567"/>
                </a:lnTo>
                <a:lnTo>
                  <a:pt x="493" y="562"/>
                </a:lnTo>
                <a:lnTo>
                  <a:pt x="493" y="556"/>
                </a:lnTo>
                <a:lnTo>
                  <a:pt x="488" y="550"/>
                </a:lnTo>
                <a:lnTo>
                  <a:pt x="488" y="545"/>
                </a:lnTo>
                <a:lnTo>
                  <a:pt x="488" y="539"/>
                </a:lnTo>
                <a:lnTo>
                  <a:pt x="488" y="533"/>
                </a:lnTo>
                <a:lnTo>
                  <a:pt x="482" y="533"/>
                </a:lnTo>
                <a:lnTo>
                  <a:pt x="482" y="528"/>
                </a:lnTo>
                <a:lnTo>
                  <a:pt x="476" y="522"/>
                </a:lnTo>
                <a:lnTo>
                  <a:pt x="476" y="516"/>
                </a:lnTo>
                <a:lnTo>
                  <a:pt x="476" y="511"/>
                </a:lnTo>
                <a:lnTo>
                  <a:pt x="471" y="511"/>
                </a:lnTo>
                <a:lnTo>
                  <a:pt x="465" y="511"/>
                </a:lnTo>
                <a:lnTo>
                  <a:pt x="459" y="505"/>
                </a:lnTo>
                <a:lnTo>
                  <a:pt x="454" y="511"/>
                </a:lnTo>
                <a:lnTo>
                  <a:pt x="448" y="511"/>
                </a:lnTo>
                <a:lnTo>
                  <a:pt x="437" y="511"/>
                </a:lnTo>
                <a:lnTo>
                  <a:pt x="431" y="511"/>
                </a:lnTo>
                <a:lnTo>
                  <a:pt x="431" y="516"/>
                </a:lnTo>
                <a:lnTo>
                  <a:pt x="425" y="516"/>
                </a:lnTo>
                <a:lnTo>
                  <a:pt x="420" y="516"/>
                </a:lnTo>
                <a:lnTo>
                  <a:pt x="414" y="516"/>
                </a:lnTo>
                <a:lnTo>
                  <a:pt x="414" y="511"/>
                </a:lnTo>
                <a:lnTo>
                  <a:pt x="408" y="511"/>
                </a:lnTo>
                <a:lnTo>
                  <a:pt x="408" y="505"/>
                </a:lnTo>
                <a:lnTo>
                  <a:pt x="408" y="499"/>
                </a:lnTo>
                <a:lnTo>
                  <a:pt x="403" y="494"/>
                </a:lnTo>
                <a:lnTo>
                  <a:pt x="403" y="488"/>
                </a:lnTo>
                <a:lnTo>
                  <a:pt x="403" y="482"/>
                </a:lnTo>
                <a:lnTo>
                  <a:pt x="397" y="488"/>
                </a:lnTo>
                <a:lnTo>
                  <a:pt x="391" y="488"/>
                </a:lnTo>
                <a:lnTo>
                  <a:pt x="386" y="488"/>
                </a:lnTo>
                <a:lnTo>
                  <a:pt x="380" y="488"/>
                </a:lnTo>
                <a:lnTo>
                  <a:pt x="380" y="482"/>
                </a:lnTo>
                <a:lnTo>
                  <a:pt x="380" y="477"/>
                </a:lnTo>
                <a:lnTo>
                  <a:pt x="380" y="471"/>
                </a:lnTo>
                <a:lnTo>
                  <a:pt x="374" y="471"/>
                </a:lnTo>
                <a:lnTo>
                  <a:pt x="369" y="471"/>
                </a:lnTo>
                <a:lnTo>
                  <a:pt x="363" y="471"/>
                </a:lnTo>
                <a:lnTo>
                  <a:pt x="357" y="471"/>
                </a:lnTo>
                <a:lnTo>
                  <a:pt x="357" y="465"/>
                </a:lnTo>
                <a:lnTo>
                  <a:pt x="352" y="465"/>
                </a:lnTo>
                <a:lnTo>
                  <a:pt x="352" y="460"/>
                </a:lnTo>
                <a:lnTo>
                  <a:pt x="352" y="454"/>
                </a:lnTo>
                <a:lnTo>
                  <a:pt x="346" y="454"/>
                </a:lnTo>
                <a:lnTo>
                  <a:pt x="340" y="448"/>
                </a:lnTo>
                <a:lnTo>
                  <a:pt x="335" y="443"/>
                </a:lnTo>
                <a:lnTo>
                  <a:pt x="323" y="443"/>
                </a:lnTo>
                <a:lnTo>
                  <a:pt x="318" y="448"/>
                </a:lnTo>
                <a:lnTo>
                  <a:pt x="312" y="454"/>
                </a:lnTo>
                <a:lnTo>
                  <a:pt x="306" y="454"/>
                </a:lnTo>
                <a:lnTo>
                  <a:pt x="301" y="454"/>
                </a:lnTo>
                <a:lnTo>
                  <a:pt x="295" y="454"/>
                </a:lnTo>
                <a:lnTo>
                  <a:pt x="289" y="454"/>
                </a:lnTo>
                <a:lnTo>
                  <a:pt x="284" y="454"/>
                </a:lnTo>
                <a:lnTo>
                  <a:pt x="278" y="454"/>
                </a:lnTo>
                <a:lnTo>
                  <a:pt x="278" y="448"/>
                </a:lnTo>
                <a:lnTo>
                  <a:pt x="278" y="443"/>
                </a:lnTo>
                <a:lnTo>
                  <a:pt x="278" y="431"/>
                </a:lnTo>
                <a:lnTo>
                  <a:pt x="284" y="431"/>
                </a:lnTo>
                <a:lnTo>
                  <a:pt x="289" y="426"/>
                </a:lnTo>
                <a:lnTo>
                  <a:pt x="289" y="420"/>
                </a:lnTo>
                <a:lnTo>
                  <a:pt x="284" y="414"/>
                </a:lnTo>
                <a:lnTo>
                  <a:pt x="278" y="420"/>
                </a:lnTo>
                <a:lnTo>
                  <a:pt x="272" y="420"/>
                </a:lnTo>
                <a:lnTo>
                  <a:pt x="272" y="414"/>
                </a:lnTo>
                <a:lnTo>
                  <a:pt x="267" y="414"/>
                </a:lnTo>
                <a:lnTo>
                  <a:pt x="267" y="409"/>
                </a:lnTo>
                <a:lnTo>
                  <a:pt x="267" y="403"/>
                </a:lnTo>
                <a:lnTo>
                  <a:pt x="261" y="403"/>
                </a:lnTo>
                <a:lnTo>
                  <a:pt x="255" y="409"/>
                </a:lnTo>
                <a:lnTo>
                  <a:pt x="244" y="403"/>
                </a:lnTo>
                <a:lnTo>
                  <a:pt x="238" y="403"/>
                </a:lnTo>
                <a:lnTo>
                  <a:pt x="238" y="397"/>
                </a:lnTo>
                <a:lnTo>
                  <a:pt x="233" y="397"/>
                </a:lnTo>
                <a:lnTo>
                  <a:pt x="227" y="392"/>
                </a:lnTo>
                <a:lnTo>
                  <a:pt x="227" y="386"/>
                </a:lnTo>
                <a:lnTo>
                  <a:pt x="221" y="386"/>
                </a:lnTo>
                <a:lnTo>
                  <a:pt x="221" y="380"/>
                </a:lnTo>
                <a:lnTo>
                  <a:pt x="216" y="375"/>
                </a:lnTo>
                <a:lnTo>
                  <a:pt x="210" y="375"/>
                </a:lnTo>
                <a:lnTo>
                  <a:pt x="210" y="369"/>
                </a:lnTo>
                <a:lnTo>
                  <a:pt x="204" y="363"/>
                </a:lnTo>
                <a:lnTo>
                  <a:pt x="204" y="358"/>
                </a:lnTo>
                <a:lnTo>
                  <a:pt x="210" y="346"/>
                </a:lnTo>
                <a:lnTo>
                  <a:pt x="210" y="341"/>
                </a:lnTo>
                <a:lnTo>
                  <a:pt x="210" y="335"/>
                </a:lnTo>
                <a:lnTo>
                  <a:pt x="204" y="335"/>
                </a:lnTo>
                <a:lnTo>
                  <a:pt x="199" y="335"/>
                </a:lnTo>
                <a:lnTo>
                  <a:pt x="182" y="335"/>
                </a:lnTo>
                <a:lnTo>
                  <a:pt x="170" y="341"/>
                </a:lnTo>
                <a:lnTo>
                  <a:pt x="165" y="341"/>
                </a:lnTo>
                <a:lnTo>
                  <a:pt x="165" y="335"/>
                </a:lnTo>
                <a:lnTo>
                  <a:pt x="153" y="335"/>
                </a:lnTo>
                <a:lnTo>
                  <a:pt x="148" y="335"/>
                </a:lnTo>
                <a:lnTo>
                  <a:pt x="148" y="329"/>
                </a:lnTo>
                <a:lnTo>
                  <a:pt x="142" y="329"/>
                </a:lnTo>
                <a:lnTo>
                  <a:pt x="136" y="329"/>
                </a:lnTo>
                <a:lnTo>
                  <a:pt x="131" y="329"/>
                </a:lnTo>
                <a:lnTo>
                  <a:pt x="125" y="329"/>
                </a:lnTo>
                <a:lnTo>
                  <a:pt x="125" y="323"/>
                </a:lnTo>
                <a:lnTo>
                  <a:pt x="119" y="323"/>
                </a:lnTo>
                <a:lnTo>
                  <a:pt x="119" y="318"/>
                </a:lnTo>
                <a:lnTo>
                  <a:pt x="114" y="318"/>
                </a:lnTo>
                <a:lnTo>
                  <a:pt x="108" y="318"/>
                </a:lnTo>
                <a:lnTo>
                  <a:pt x="102" y="312"/>
                </a:lnTo>
                <a:lnTo>
                  <a:pt x="97" y="312"/>
                </a:lnTo>
                <a:lnTo>
                  <a:pt x="97" y="306"/>
                </a:lnTo>
                <a:lnTo>
                  <a:pt x="91" y="301"/>
                </a:lnTo>
                <a:lnTo>
                  <a:pt x="91" y="295"/>
                </a:lnTo>
                <a:lnTo>
                  <a:pt x="91" y="289"/>
                </a:lnTo>
                <a:lnTo>
                  <a:pt x="91" y="284"/>
                </a:lnTo>
                <a:lnTo>
                  <a:pt x="91" y="278"/>
                </a:lnTo>
                <a:lnTo>
                  <a:pt x="97" y="278"/>
                </a:lnTo>
                <a:lnTo>
                  <a:pt x="97" y="272"/>
                </a:lnTo>
                <a:lnTo>
                  <a:pt x="102" y="272"/>
                </a:lnTo>
                <a:lnTo>
                  <a:pt x="102" y="267"/>
                </a:lnTo>
                <a:lnTo>
                  <a:pt x="108" y="267"/>
                </a:lnTo>
                <a:lnTo>
                  <a:pt x="114" y="261"/>
                </a:lnTo>
                <a:lnTo>
                  <a:pt x="114" y="250"/>
                </a:lnTo>
                <a:lnTo>
                  <a:pt x="108" y="250"/>
                </a:lnTo>
                <a:lnTo>
                  <a:pt x="108" y="244"/>
                </a:lnTo>
                <a:lnTo>
                  <a:pt x="102" y="244"/>
                </a:lnTo>
                <a:lnTo>
                  <a:pt x="97" y="244"/>
                </a:lnTo>
                <a:lnTo>
                  <a:pt x="97" y="250"/>
                </a:lnTo>
                <a:lnTo>
                  <a:pt x="91" y="250"/>
                </a:lnTo>
                <a:lnTo>
                  <a:pt x="85" y="250"/>
                </a:lnTo>
                <a:lnTo>
                  <a:pt x="80" y="250"/>
                </a:lnTo>
                <a:lnTo>
                  <a:pt x="80" y="255"/>
                </a:lnTo>
                <a:lnTo>
                  <a:pt x="74" y="255"/>
                </a:lnTo>
                <a:lnTo>
                  <a:pt x="68" y="255"/>
                </a:lnTo>
                <a:lnTo>
                  <a:pt x="68" y="261"/>
                </a:lnTo>
                <a:lnTo>
                  <a:pt x="63" y="261"/>
                </a:lnTo>
                <a:lnTo>
                  <a:pt x="63" y="250"/>
                </a:lnTo>
                <a:lnTo>
                  <a:pt x="68" y="244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4" name="Freeform 11"/>
          <p:cNvSpPr>
            <a:spLocks noEditPoints="1"/>
          </p:cNvSpPr>
          <p:nvPr/>
        </p:nvSpPr>
        <p:spPr bwMode="gray">
          <a:xfrm>
            <a:off x="652796" y="2881527"/>
            <a:ext cx="2092834" cy="1392981"/>
          </a:xfrm>
          <a:custGeom>
            <a:avLst/>
            <a:gdLst>
              <a:gd name="T0" fmla="*/ 2147483647 w 1235"/>
              <a:gd name="T1" fmla="*/ 2147483647 h 822"/>
              <a:gd name="T2" fmla="*/ 2147483647 w 1235"/>
              <a:gd name="T3" fmla="*/ 2147483647 h 822"/>
              <a:gd name="T4" fmla="*/ 2147483647 w 1235"/>
              <a:gd name="T5" fmla="*/ 2147483647 h 822"/>
              <a:gd name="T6" fmla="*/ 2147483647 w 1235"/>
              <a:gd name="T7" fmla="*/ 2147483647 h 822"/>
              <a:gd name="T8" fmla="*/ 2147483647 w 1235"/>
              <a:gd name="T9" fmla="*/ 2147483647 h 822"/>
              <a:gd name="T10" fmla="*/ 2147483647 w 1235"/>
              <a:gd name="T11" fmla="*/ 2147483647 h 822"/>
              <a:gd name="T12" fmla="*/ 2147483647 w 1235"/>
              <a:gd name="T13" fmla="*/ 2147483647 h 822"/>
              <a:gd name="T14" fmla="*/ 2147483647 w 1235"/>
              <a:gd name="T15" fmla="*/ 2147483647 h 822"/>
              <a:gd name="T16" fmla="*/ 2147483647 w 1235"/>
              <a:gd name="T17" fmla="*/ 2147483647 h 822"/>
              <a:gd name="T18" fmla="*/ 2147483647 w 1235"/>
              <a:gd name="T19" fmla="*/ 2147483647 h 822"/>
              <a:gd name="T20" fmla="*/ 2147483647 w 1235"/>
              <a:gd name="T21" fmla="*/ 2147483647 h 822"/>
              <a:gd name="T22" fmla="*/ 2147483647 w 1235"/>
              <a:gd name="T23" fmla="*/ 2147483647 h 822"/>
              <a:gd name="T24" fmla="*/ 2147483647 w 1235"/>
              <a:gd name="T25" fmla="*/ 2147483647 h 822"/>
              <a:gd name="T26" fmla="*/ 2147483647 w 1235"/>
              <a:gd name="T27" fmla="*/ 2147483647 h 822"/>
              <a:gd name="T28" fmla="*/ 2147483647 w 1235"/>
              <a:gd name="T29" fmla="*/ 2147483647 h 822"/>
              <a:gd name="T30" fmla="*/ 2147483647 w 1235"/>
              <a:gd name="T31" fmla="*/ 2147483647 h 822"/>
              <a:gd name="T32" fmla="*/ 2147483647 w 1235"/>
              <a:gd name="T33" fmla="*/ 2147483647 h 822"/>
              <a:gd name="T34" fmla="*/ 2147483647 w 1235"/>
              <a:gd name="T35" fmla="*/ 2147483647 h 822"/>
              <a:gd name="T36" fmla="*/ 2147483647 w 1235"/>
              <a:gd name="T37" fmla="*/ 2147483647 h 822"/>
              <a:gd name="T38" fmla="*/ 2147483647 w 1235"/>
              <a:gd name="T39" fmla="*/ 2147483647 h 822"/>
              <a:gd name="T40" fmla="*/ 2147483647 w 1235"/>
              <a:gd name="T41" fmla="*/ 2147483647 h 822"/>
              <a:gd name="T42" fmla="*/ 2147483647 w 1235"/>
              <a:gd name="T43" fmla="*/ 2147483647 h 822"/>
              <a:gd name="T44" fmla="*/ 2147483647 w 1235"/>
              <a:gd name="T45" fmla="*/ 2147483647 h 822"/>
              <a:gd name="T46" fmla="*/ 2147483647 w 1235"/>
              <a:gd name="T47" fmla="*/ 2147483647 h 822"/>
              <a:gd name="T48" fmla="*/ 2147483647 w 1235"/>
              <a:gd name="T49" fmla="*/ 2147483647 h 822"/>
              <a:gd name="T50" fmla="*/ 2147483647 w 1235"/>
              <a:gd name="T51" fmla="*/ 2147483647 h 822"/>
              <a:gd name="T52" fmla="*/ 2147483647 w 1235"/>
              <a:gd name="T53" fmla="*/ 2147483647 h 822"/>
              <a:gd name="T54" fmla="*/ 2147483647 w 1235"/>
              <a:gd name="T55" fmla="*/ 2147483647 h 822"/>
              <a:gd name="T56" fmla="*/ 2147483647 w 1235"/>
              <a:gd name="T57" fmla="*/ 2147483647 h 822"/>
              <a:gd name="T58" fmla="*/ 2147483647 w 1235"/>
              <a:gd name="T59" fmla="*/ 2147483647 h 822"/>
              <a:gd name="T60" fmla="*/ 2147483647 w 1235"/>
              <a:gd name="T61" fmla="*/ 2147483647 h 822"/>
              <a:gd name="T62" fmla="*/ 2147483647 w 1235"/>
              <a:gd name="T63" fmla="*/ 2147483647 h 822"/>
              <a:gd name="T64" fmla="*/ 2147483647 w 1235"/>
              <a:gd name="T65" fmla="*/ 2147483647 h 822"/>
              <a:gd name="T66" fmla="*/ 2147483647 w 1235"/>
              <a:gd name="T67" fmla="*/ 2147483647 h 822"/>
              <a:gd name="T68" fmla="*/ 2147483647 w 1235"/>
              <a:gd name="T69" fmla="*/ 2147483647 h 822"/>
              <a:gd name="T70" fmla="*/ 2147483647 w 1235"/>
              <a:gd name="T71" fmla="*/ 2147483647 h 822"/>
              <a:gd name="T72" fmla="*/ 2147483647 w 1235"/>
              <a:gd name="T73" fmla="*/ 2147483647 h 822"/>
              <a:gd name="T74" fmla="*/ 2147483647 w 1235"/>
              <a:gd name="T75" fmla="*/ 2147483647 h 822"/>
              <a:gd name="T76" fmla="*/ 2147483647 w 1235"/>
              <a:gd name="T77" fmla="*/ 2147483647 h 822"/>
              <a:gd name="T78" fmla="*/ 2147483647 w 1235"/>
              <a:gd name="T79" fmla="*/ 2147483647 h 822"/>
              <a:gd name="T80" fmla="*/ 2147483647 w 1235"/>
              <a:gd name="T81" fmla="*/ 2147483647 h 822"/>
              <a:gd name="T82" fmla="*/ 2147483647 w 1235"/>
              <a:gd name="T83" fmla="*/ 2147483647 h 822"/>
              <a:gd name="T84" fmla="*/ 2147483647 w 1235"/>
              <a:gd name="T85" fmla="*/ 2147483647 h 822"/>
              <a:gd name="T86" fmla="*/ 2147483647 w 1235"/>
              <a:gd name="T87" fmla="*/ 2147483647 h 822"/>
              <a:gd name="T88" fmla="*/ 2147483647 w 1235"/>
              <a:gd name="T89" fmla="*/ 2147483647 h 822"/>
              <a:gd name="T90" fmla="*/ 2147483647 w 1235"/>
              <a:gd name="T91" fmla="*/ 2147483647 h 822"/>
              <a:gd name="T92" fmla="*/ 2147483647 w 1235"/>
              <a:gd name="T93" fmla="*/ 2147483647 h 822"/>
              <a:gd name="T94" fmla="*/ 2147483647 w 1235"/>
              <a:gd name="T95" fmla="*/ 2147483647 h 822"/>
              <a:gd name="T96" fmla="*/ 2147483647 w 1235"/>
              <a:gd name="T97" fmla="*/ 2147483647 h 822"/>
              <a:gd name="T98" fmla="*/ 2147483647 w 1235"/>
              <a:gd name="T99" fmla="*/ 2147483647 h 822"/>
              <a:gd name="T100" fmla="*/ 2147483647 w 1235"/>
              <a:gd name="T101" fmla="*/ 2147483647 h 822"/>
              <a:gd name="T102" fmla="*/ 2147483647 w 1235"/>
              <a:gd name="T103" fmla="*/ 2147483647 h 822"/>
              <a:gd name="T104" fmla="*/ 2147483647 w 1235"/>
              <a:gd name="T105" fmla="*/ 2147483647 h 822"/>
              <a:gd name="T106" fmla="*/ 2147483647 w 1235"/>
              <a:gd name="T107" fmla="*/ 2147483647 h 822"/>
              <a:gd name="T108" fmla="*/ 2147483647 w 1235"/>
              <a:gd name="T109" fmla="*/ 2147483647 h 822"/>
              <a:gd name="T110" fmla="*/ 2147483647 w 1235"/>
              <a:gd name="T111" fmla="*/ 2147483647 h 822"/>
              <a:gd name="T112" fmla="*/ 2147483647 w 1235"/>
              <a:gd name="T113" fmla="*/ 2147483647 h 822"/>
              <a:gd name="T114" fmla="*/ 2147483647 w 1235"/>
              <a:gd name="T115" fmla="*/ 2147483647 h 822"/>
              <a:gd name="T116" fmla="*/ 2147483647 w 1235"/>
              <a:gd name="T117" fmla="*/ 2147483647 h 82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235"/>
              <a:gd name="T178" fmla="*/ 0 h 822"/>
              <a:gd name="T179" fmla="*/ 1235 w 1235"/>
              <a:gd name="T180" fmla="*/ 822 h 82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235" h="822">
                <a:moveTo>
                  <a:pt x="629" y="759"/>
                </a:moveTo>
                <a:lnTo>
                  <a:pt x="629" y="765"/>
                </a:lnTo>
                <a:lnTo>
                  <a:pt x="634" y="771"/>
                </a:lnTo>
                <a:lnTo>
                  <a:pt x="634" y="782"/>
                </a:lnTo>
                <a:lnTo>
                  <a:pt x="634" y="793"/>
                </a:lnTo>
                <a:lnTo>
                  <a:pt x="634" y="799"/>
                </a:lnTo>
                <a:lnTo>
                  <a:pt x="629" y="805"/>
                </a:lnTo>
                <a:lnTo>
                  <a:pt x="617" y="810"/>
                </a:lnTo>
                <a:lnTo>
                  <a:pt x="617" y="816"/>
                </a:lnTo>
                <a:lnTo>
                  <a:pt x="612" y="816"/>
                </a:lnTo>
                <a:lnTo>
                  <a:pt x="606" y="822"/>
                </a:lnTo>
                <a:lnTo>
                  <a:pt x="606" y="816"/>
                </a:lnTo>
                <a:lnTo>
                  <a:pt x="595" y="810"/>
                </a:lnTo>
                <a:lnTo>
                  <a:pt x="595" y="805"/>
                </a:lnTo>
                <a:lnTo>
                  <a:pt x="595" y="799"/>
                </a:lnTo>
                <a:lnTo>
                  <a:pt x="589" y="793"/>
                </a:lnTo>
                <a:lnTo>
                  <a:pt x="589" y="788"/>
                </a:lnTo>
                <a:lnTo>
                  <a:pt x="595" y="788"/>
                </a:lnTo>
                <a:lnTo>
                  <a:pt x="595" y="782"/>
                </a:lnTo>
                <a:lnTo>
                  <a:pt x="595" y="776"/>
                </a:lnTo>
                <a:lnTo>
                  <a:pt x="600" y="776"/>
                </a:lnTo>
                <a:lnTo>
                  <a:pt x="600" y="771"/>
                </a:lnTo>
                <a:lnTo>
                  <a:pt x="600" y="765"/>
                </a:lnTo>
                <a:lnTo>
                  <a:pt x="606" y="765"/>
                </a:lnTo>
                <a:lnTo>
                  <a:pt x="612" y="765"/>
                </a:lnTo>
                <a:lnTo>
                  <a:pt x="617" y="765"/>
                </a:lnTo>
                <a:lnTo>
                  <a:pt x="623" y="765"/>
                </a:lnTo>
                <a:lnTo>
                  <a:pt x="629" y="759"/>
                </a:lnTo>
                <a:close/>
                <a:moveTo>
                  <a:pt x="5" y="538"/>
                </a:moveTo>
                <a:lnTo>
                  <a:pt x="5" y="533"/>
                </a:lnTo>
                <a:lnTo>
                  <a:pt x="5" y="527"/>
                </a:lnTo>
                <a:lnTo>
                  <a:pt x="5" y="521"/>
                </a:lnTo>
                <a:lnTo>
                  <a:pt x="5" y="516"/>
                </a:lnTo>
                <a:lnTo>
                  <a:pt x="5" y="510"/>
                </a:lnTo>
                <a:lnTo>
                  <a:pt x="0" y="510"/>
                </a:lnTo>
                <a:lnTo>
                  <a:pt x="5" y="504"/>
                </a:lnTo>
                <a:lnTo>
                  <a:pt x="0" y="499"/>
                </a:lnTo>
                <a:lnTo>
                  <a:pt x="5" y="499"/>
                </a:lnTo>
                <a:lnTo>
                  <a:pt x="5" y="493"/>
                </a:lnTo>
                <a:lnTo>
                  <a:pt x="5" y="487"/>
                </a:lnTo>
                <a:lnTo>
                  <a:pt x="5" y="482"/>
                </a:lnTo>
                <a:lnTo>
                  <a:pt x="5" y="476"/>
                </a:lnTo>
                <a:lnTo>
                  <a:pt x="0" y="476"/>
                </a:lnTo>
                <a:lnTo>
                  <a:pt x="0" y="470"/>
                </a:lnTo>
                <a:lnTo>
                  <a:pt x="0" y="465"/>
                </a:lnTo>
                <a:lnTo>
                  <a:pt x="0" y="459"/>
                </a:lnTo>
                <a:lnTo>
                  <a:pt x="5" y="459"/>
                </a:lnTo>
                <a:lnTo>
                  <a:pt x="11" y="459"/>
                </a:lnTo>
                <a:lnTo>
                  <a:pt x="11" y="453"/>
                </a:lnTo>
                <a:lnTo>
                  <a:pt x="11" y="448"/>
                </a:lnTo>
                <a:lnTo>
                  <a:pt x="11" y="442"/>
                </a:lnTo>
                <a:lnTo>
                  <a:pt x="11" y="436"/>
                </a:lnTo>
                <a:lnTo>
                  <a:pt x="5" y="436"/>
                </a:lnTo>
                <a:lnTo>
                  <a:pt x="11" y="436"/>
                </a:lnTo>
                <a:lnTo>
                  <a:pt x="11" y="425"/>
                </a:lnTo>
                <a:lnTo>
                  <a:pt x="11" y="419"/>
                </a:lnTo>
                <a:lnTo>
                  <a:pt x="11" y="414"/>
                </a:lnTo>
                <a:lnTo>
                  <a:pt x="17" y="408"/>
                </a:lnTo>
                <a:lnTo>
                  <a:pt x="17" y="402"/>
                </a:lnTo>
                <a:lnTo>
                  <a:pt x="11" y="402"/>
                </a:lnTo>
                <a:lnTo>
                  <a:pt x="17" y="402"/>
                </a:lnTo>
                <a:lnTo>
                  <a:pt x="17" y="397"/>
                </a:lnTo>
                <a:lnTo>
                  <a:pt x="17" y="391"/>
                </a:lnTo>
                <a:lnTo>
                  <a:pt x="17" y="385"/>
                </a:lnTo>
                <a:lnTo>
                  <a:pt x="11" y="385"/>
                </a:lnTo>
                <a:lnTo>
                  <a:pt x="17" y="380"/>
                </a:lnTo>
                <a:lnTo>
                  <a:pt x="17" y="374"/>
                </a:lnTo>
                <a:lnTo>
                  <a:pt x="17" y="368"/>
                </a:lnTo>
                <a:lnTo>
                  <a:pt x="17" y="363"/>
                </a:lnTo>
                <a:lnTo>
                  <a:pt x="39" y="363"/>
                </a:lnTo>
                <a:lnTo>
                  <a:pt x="45" y="363"/>
                </a:lnTo>
                <a:lnTo>
                  <a:pt x="51" y="363"/>
                </a:lnTo>
                <a:lnTo>
                  <a:pt x="56" y="357"/>
                </a:lnTo>
                <a:lnTo>
                  <a:pt x="62" y="357"/>
                </a:lnTo>
                <a:lnTo>
                  <a:pt x="79" y="351"/>
                </a:lnTo>
                <a:lnTo>
                  <a:pt x="79" y="357"/>
                </a:lnTo>
                <a:lnTo>
                  <a:pt x="90" y="363"/>
                </a:lnTo>
                <a:lnTo>
                  <a:pt x="96" y="363"/>
                </a:lnTo>
                <a:lnTo>
                  <a:pt x="102" y="357"/>
                </a:lnTo>
                <a:lnTo>
                  <a:pt x="107" y="357"/>
                </a:lnTo>
                <a:lnTo>
                  <a:pt x="113" y="357"/>
                </a:lnTo>
                <a:lnTo>
                  <a:pt x="124" y="351"/>
                </a:lnTo>
                <a:lnTo>
                  <a:pt x="124" y="340"/>
                </a:lnTo>
                <a:lnTo>
                  <a:pt x="130" y="334"/>
                </a:lnTo>
                <a:lnTo>
                  <a:pt x="136" y="317"/>
                </a:lnTo>
                <a:lnTo>
                  <a:pt x="136" y="312"/>
                </a:lnTo>
                <a:lnTo>
                  <a:pt x="136" y="300"/>
                </a:lnTo>
                <a:lnTo>
                  <a:pt x="141" y="295"/>
                </a:lnTo>
                <a:lnTo>
                  <a:pt x="147" y="289"/>
                </a:lnTo>
                <a:lnTo>
                  <a:pt x="153" y="289"/>
                </a:lnTo>
                <a:lnTo>
                  <a:pt x="153" y="283"/>
                </a:lnTo>
                <a:lnTo>
                  <a:pt x="147" y="278"/>
                </a:lnTo>
                <a:lnTo>
                  <a:pt x="147" y="272"/>
                </a:lnTo>
                <a:lnTo>
                  <a:pt x="147" y="266"/>
                </a:lnTo>
                <a:lnTo>
                  <a:pt x="147" y="261"/>
                </a:lnTo>
                <a:lnTo>
                  <a:pt x="147" y="255"/>
                </a:lnTo>
                <a:lnTo>
                  <a:pt x="141" y="238"/>
                </a:lnTo>
                <a:lnTo>
                  <a:pt x="141" y="232"/>
                </a:lnTo>
                <a:lnTo>
                  <a:pt x="141" y="221"/>
                </a:lnTo>
                <a:lnTo>
                  <a:pt x="147" y="215"/>
                </a:lnTo>
                <a:lnTo>
                  <a:pt x="147" y="210"/>
                </a:lnTo>
                <a:lnTo>
                  <a:pt x="153" y="210"/>
                </a:lnTo>
                <a:lnTo>
                  <a:pt x="158" y="210"/>
                </a:lnTo>
                <a:lnTo>
                  <a:pt x="158" y="204"/>
                </a:lnTo>
                <a:lnTo>
                  <a:pt x="164" y="204"/>
                </a:lnTo>
                <a:lnTo>
                  <a:pt x="170" y="193"/>
                </a:lnTo>
                <a:lnTo>
                  <a:pt x="170" y="187"/>
                </a:lnTo>
                <a:lnTo>
                  <a:pt x="175" y="181"/>
                </a:lnTo>
                <a:lnTo>
                  <a:pt x="181" y="176"/>
                </a:lnTo>
                <a:lnTo>
                  <a:pt x="181" y="170"/>
                </a:lnTo>
                <a:lnTo>
                  <a:pt x="187" y="170"/>
                </a:lnTo>
                <a:lnTo>
                  <a:pt x="187" y="159"/>
                </a:lnTo>
                <a:lnTo>
                  <a:pt x="187" y="153"/>
                </a:lnTo>
                <a:lnTo>
                  <a:pt x="192" y="153"/>
                </a:lnTo>
                <a:lnTo>
                  <a:pt x="198" y="153"/>
                </a:lnTo>
                <a:lnTo>
                  <a:pt x="204" y="153"/>
                </a:lnTo>
                <a:lnTo>
                  <a:pt x="209" y="153"/>
                </a:lnTo>
                <a:lnTo>
                  <a:pt x="215" y="147"/>
                </a:lnTo>
                <a:lnTo>
                  <a:pt x="221" y="142"/>
                </a:lnTo>
                <a:lnTo>
                  <a:pt x="221" y="136"/>
                </a:lnTo>
                <a:lnTo>
                  <a:pt x="215" y="130"/>
                </a:lnTo>
                <a:lnTo>
                  <a:pt x="209" y="119"/>
                </a:lnTo>
                <a:lnTo>
                  <a:pt x="209" y="113"/>
                </a:lnTo>
                <a:lnTo>
                  <a:pt x="209" y="108"/>
                </a:lnTo>
                <a:lnTo>
                  <a:pt x="209" y="102"/>
                </a:lnTo>
                <a:lnTo>
                  <a:pt x="221" y="96"/>
                </a:lnTo>
                <a:lnTo>
                  <a:pt x="221" y="91"/>
                </a:lnTo>
                <a:lnTo>
                  <a:pt x="226" y="91"/>
                </a:lnTo>
                <a:lnTo>
                  <a:pt x="232" y="91"/>
                </a:lnTo>
                <a:lnTo>
                  <a:pt x="243" y="85"/>
                </a:lnTo>
                <a:lnTo>
                  <a:pt x="255" y="79"/>
                </a:lnTo>
                <a:lnTo>
                  <a:pt x="266" y="79"/>
                </a:lnTo>
                <a:lnTo>
                  <a:pt x="272" y="79"/>
                </a:lnTo>
                <a:lnTo>
                  <a:pt x="277" y="79"/>
                </a:lnTo>
                <a:lnTo>
                  <a:pt x="283" y="79"/>
                </a:lnTo>
                <a:lnTo>
                  <a:pt x="289" y="79"/>
                </a:lnTo>
                <a:lnTo>
                  <a:pt x="289" y="74"/>
                </a:lnTo>
                <a:lnTo>
                  <a:pt x="294" y="68"/>
                </a:lnTo>
                <a:lnTo>
                  <a:pt x="294" y="62"/>
                </a:lnTo>
                <a:lnTo>
                  <a:pt x="300" y="57"/>
                </a:lnTo>
                <a:lnTo>
                  <a:pt x="306" y="51"/>
                </a:lnTo>
                <a:lnTo>
                  <a:pt x="311" y="45"/>
                </a:lnTo>
                <a:lnTo>
                  <a:pt x="311" y="40"/>
                </a:lnTo>
                <a:lnTo>
                  <a:pt x="311" y="34"/>
                </a:lnTo>
                <a:lnTo>
                  <a:pt x="311" y="28"/>
                </a:lnTo>
                <a:lnTo>
                  <a:pt x="311" y="23"/>
                </a:lnTo>
                <a:lnTo>
                  <a:pt x="311" y="17"/>
                </a:lnTo>
                <a:lnTo>
                  <a:pt x="311" y="11"/>
                </a:lnTo>
                <a:lnTo>
                  <a:pt x="311" y="6"/>
                </a:lnTo>
                <a:lnTo>
                  <a:pt x="317" y="0"/>
                </a:lnTo>
                <a:lnTo>
                  <a:pt x="323" y="6"/>
                </a:lnTo>
                <a:lnTo>
                  <a:pt x="328" y="11"/>
                </a:lnTo>
                <a:lnTo>
                  <a:pt x="334" y="11"/>
                </a:lnTo>
                <a:lnTo>
                  <a:pt x="357" y="11"/>
                </a:lnTo>
                <a:lnTo>
                  <a:pt x="362" y="11"/>
                </a:lnTo>
                <a:lnTo>
                  <a:pt x="368" y="17"/>
                </a:lnTo>
                <a:lnTo>
                  <a:pt x="368" y="23"/>
                </a:lnTo>
                <a:lnTo>
                  <a:pt x="374" y="23"/>
                </a:lnTo>
                <a:lnTo>
                  <a:pt x="374" y="28"/>
                </a:lnTo>
                <a:lnTo>
                  <a:pt x="379" y="28"/>
                </a:lnTo>
                <a:lnTo>
                  <a:pt x="385" y="28"/>
                </a:lnTo>
                <a:lnTo>
                  <a:pt x="385" y="23"/>
                </a:lnTo>
                <a:lnTo>
                  <a:pt x="391" y="23"/>
                </a:lnTo>
                <a:lnTo>
                  <a:pt x="391" y="17"/>
                </a:lnTo>
                <a:lnTo>
                  <a:pt x="391" y="11"/>
                </a:lnTo>
                <a:lnTo>
                  <a:pt x="396" y="11"/>
                </a:lnTo>
                <a:lnTo>
                  <a:pt x="396" y="6"/>
                </a:lnTo>
                <a:lnTo>
                  <a:pt x="402" y="11"/>
                </a:lnTo>
                <a:lnTo>
                  <a:pt x="408" y="23"/>
                </a:lnTo>
                <a:lnTo>
                  <a:pt x="413" y="23"/>
                </a:lnTo>
                <a:lnTo>
                  <a:pt x="419" y="28"/>
                </a:lnTo>
                <a:lnTo>
                  <a:pt x="413" y="28"/>
                </a:lnTo>
                <a:lnTo>
                  <a:pt x="413" y="34"/>
                </a:lnTo>
                <a:lnTo>
                  <a:pt x="408" y="40"/>
                </a:lnTo>
                <a:lnTo>
                  <a:pt x="413" y="45"/>
                </a:lnTo>
                <a:lnTo>
                  <a:pt x="419" y="45"/>
                </a:lnTo>
                <a:lnTo>
                  <a:pt x="425" y="40"/>
                </a:lnTo>
                <a:lnTo>
                  <a:pt x="430" y="45"/>
                </a:lnTo>
                <a:lnTo>
                  <a:pt x="430" y="51"/>
                </a:lnTo>
                <a:lnTo>
                  <a:pt x="430" y="57"/>
                </a:lnTo>
                <a:lnTo>
                  <a:pt x="436" y="57"/>
                </a:lnTo>
                <a:lnTo>
                  <a:pt x="442" y="57"/>
                </a:lnTo>
                <a:lnTo>
                  <a:pt x="442" y="62"/>
                </a:lnTo>
                <a:lnTo>
                  <a:pt x="442" y="68"/>
                </a:lnTo>
                <a:lnTo>
                  <a:pt x="436" y="68"/>
                </a:lnTo>
                <a:lnTo>
                  <a:pt x="430" y="62"/>
                </a:lnTo>
                <a:lnTo>
                  <a:pt x="430" y="68"/>
                </a:lnTo>
                <a:lnTo>
                  <a:pt x="425" y="68"/>
                </a:lnTo>
                <a:lnTo>
                  <a:pt x="430" y="68"/>
                </a:lnTo>
                <a:lnTo>
                  <a:pt x="430" y="74"/>
                </a:lnTo>
                <a:lnTo>
                  <a:pt x="436" y="79"/>
                </a:lnTo>
                <a:lnTo>
                  <a:pt x="442" y="79"/>
                </a:lnTo>
                <a:lnTo>
                  <a:pt x="447" y="79"/>
                </a:lnTo>
                <a:lnTo>
                  <a:pt x="453" y="79"/>
                </a:lnTo>
                <a:lnTo>
                  <a:pt x="459" y="79"/>
                </a:lnTo>
                <a:lnTo>
                  <a:pt x="459" y="91"/>
                </a:lnTo>
                <a:lnTo>
                  <a:pt x="464" y="91"/>
                </a:lnTo>
                <a:lnTo>
                  <a:pt x="470" y="91"/>
                </a:lnTo>
                <a:lnTo>
                  <a:pt x="476" y="96"/>
                </a:lnTo>
                <a:lnTo>
                  <a:pt x="481" y="96"/>
                </a:lnTo>
                <a:lnTo>
                  <a:pt x="481" y="91"/>
                </a:lnTo>
                <a:lnTo>
                  <a:pt x="487" y="85"/>
                </a:lnTo>
                <a:lnTo>
                  <a:pt x="487" y="79"/>
                </a:lnTo>
                <a:lnTo>
                  <a:pt x="493" y="79"/>
                </a:lnTo>
                <a:lnTo>
                  <a:pt x="493" y="85"/>
                </a:lnTo>
                <a:lnTo>
                  <a:pt x="493" y="91"/>
                </a:lnTo>
                <a:lnTo>
                  <a:pt x="498" y="91"/>
                </a:lnTo>
                <a:lnTo>
                  <a:pt x="504" y="91"/>
                </a:lnTo>
                <a:lnTo>
                  <a:pt x="504" y="96"/>
                </a:lnTo>
                <a:lnTo>
                  <a:pt x="510" y="102"/>
                </a:lnTo>
                <a:lnTo>
                  <a:pt x="510" y="108"/>
                </a:lnTo>
                <a:lnTo>
                  <a:pt x="515" y="108"/>
                </a:lnTo>
                <a:lnTo>
                  <a:pt x="515" y="113"/>
                </a:lnTo>
                <a:lnTo>
                  <a:pt x="515" y="119"/>
                </a:lnTo>
                <a:lnTo>
                  <a:pt x="521" y="119"/>
                </a:lnTo>
                <a:lnTo>
                  <a:pt x="527" y="125"/>
                </a:lnTo>
                <a:lnTo>
                  <a:pt x="532" y="130"/>
                </a:lnTo>
                <a:lnTo>
                  <a:pt x="532" y="136"/>
                </a:lnTo>
                <a:lnTo>
                  <a:pt x="544" y="147"/>
                </a:lnTo>
                <a:lnTo>
                  <a:pt x="555" y="153"/>
                </a:lnTo>
                <a:lnTo>
                  <a:pt x="555" y="159"/>
                </a:lnTo>
                <a:lnTo>
                  <a:pt x="555" y="164"/>
                </a:lnTo>
                <a:lnTo>
                  <a:pt x="561" y="164"/>
                </a:lnTo>
                <a:lnTo>
                  <a:pt x="566" y="176"/>
                </a:lnTo>
                <a:lnTo>
                  <a:pt x="572" y="176"/>
                </a:lnTo>
                <a:lnTo>
                  <a:pt x="572" y="181"/>
                </a:lnTo>
                <a:lnTo>
                  <a:pt x="583" y="193"/>
                </a:lnTo>
                <a:lnTo>
                  <a:pt x="589" y="193"/>
                </a:lnTo>
                <a:lnTo>
                  <a:pt x="600" y="210"/>
                </a:lnTo>
                <a:lnTo>
                  <a:pt x="606" y="210"/>
                </a:lnTo>
                <a:lnTo>
                  <a:pt x="612" y="215"/>
                </a:lnTo>
                <a:lnTo>
                  <a:pt x="612" y="221"/>
                </a:lnTo>
                <a:lnTo>
                  <a:pt x="617" y="227"/>
                </a:lnTo>
                <a:lnTo>
                  <a:pt x="617" y="232"/>
                </a:lnTo>
                <a:lnTo>
                  <a:pt x="623" y="232"/>
                </a:lnTo>
                <a:lnTo>
                  <a:pt x="629" y="232"/>
                </a:lnTo>
                <a:lnTo>
                  <a:pt x="629" y="238"/>
                </a:lnTo>
                <a:lnTo>
                  <a:pt x="634" y="244"/>
                </a:lnTo>
                <a:lnTo>
                  <a:pt x="640" y="249"/>
                </a:lnTo>
                <a:lnTo>
                  <a:pt x="646" y="261"/>
                </a:lnTo>
                <a:lnTo>
                  <a:pt x="651" y="261"/>
                </a:lnTo>
                <a:lnTo>
                  <a:pt x="657" y="266"/>
                </a:lnTo>
                <a:lnTo>
                  <a:pt x="668" y="272"/>
                </a:lnTo>
                <a:lnTo>
                  <a:pt x="668" y="278"/>
                </a:lnTo>
                <a:lnTo>
                  <a:pt x="674" y="278"/>
                </a:lnTo>
                <a:lnTo>
                  <a:pt x="680" y="278"/>
                </a:lnTo>
                <a:lnTo>
                  <a:pt x="685" y="278"/>
                </a:lnTo>
                <a:lnTo>
                  <a:pt x="685" y="283"/>
                </a:lnTo>
                <a:lnTo>
                  <a:pt x="691" y="283"/>
                </a:lnTo>
                <a:lnTo>
                  <a:pt x="697" y="289"/>
                </a:lnTo>
                <a:lnTo>
                  <a:pt x="702" y="289"/>
                </a:lnTo>
                <a:lnTo>
                  <a:pt x="708" y="289"/>
                </a:lnTo>
                <a:lnTo>
                  <a:pt x="714" y="295"/>
                </a:lnTo>
                <a:lnTo>
                  <a:pt x="714" y="300"/>
                </a:lnTo>
                <a:lnTo>
                  <a:pt x="714" y="306"/>
                </a:lnTo>
                <a:lnTo>
                  <a:pt x="719" y="317"/>
                </a:lnTo>
                <a:lnTo>
                  <a:pt x="719" y="323"/>
                </a:lnTo>
                <a:lnTo>
                  <a:pt x="719" y="329"/>
                </a:lnTo>
                <a:lnTo>
                  <a:pt x="725" y="329"/>
                </a:lnTo>
                <a:lnTo>
                  <a:pt x="725" y="334"/>
                </a:lnTo>
                <a:lnTo>
                  <a:pt x="731" y="340"/>
                </a:lnTo>
                <a:lnTo>
                  <a:pt x="736" y="340"/>
                </a:lnTo>
                <a:lnTo>
                  <a:pt x="742" y="340"/>
                </a:lnTo>
                <a:lnTo>
                  <a:pt x="765" y="329"/>
                </a:lnTo>
                <a:lnTo>
                  <a:pt x="771" y="329"/>
                </a:lnTo>
                <a:lnTo>
                  <a:pt x="776" y="329"/>
                </a:lnTo>
                <a:lnTo>
                  <a:pt x="782" y="329"/>
                </a:lnTo>
                <a:lnTo>
                  <a:pt x="782" y="323"/>
                </a:lnTo>
                <a:lnTo>
                  <a:pt x="788" y="323"/>
                </a:lnTo>
                <a:lnTo>
                  <a:pt x="788" y="317"/>
                </a:lnTo>
                <a:lnTo>
                  <a:pt x="799" y="317"/>
                </a:lnTo>
                <a:lnTo>
                  <a:pt x="810" y="317"/>
                </a:lnTo>
                <a:lnTo>
                  <a:pt x="816" y="323"/>
                </a:lnTo>
                <a:lnTo>
                  <a:pt x="822" y="329"/>
                </a:lnTo>
                <a:lnTo>
                  <a:pt x="827" y="329"/>
                </a:lnTo>
                <a:lnTo>
                  <a:pt x="833" y="334"/>
                </a:lnTo>
                <a:lnTo>
                  <a:pt x="839" y="334"/>
                </a:lnTo>
                <a:lnTo>
                  <a:pt x="839" y="340"/>
                </a:lnTo>
                <a:lnTo>
                  <a:pt x="839" y="346"/>
                </a:lnTo>
                <a:lnTo>
                  <a:pt x="844" y="346"/>
                </a:lnTo>
                <a:lnTo>
                  <a:pt x="850" y="346"/>
                </a:lnTo>
                <a:lnTo>
                  <a:pt x="856" y="351"/>
                </a:lnTo>
                <a:lnTo>
                  <a:pt x="856" y="357"/>
                </a:lnTo>
                <a:lnTo>
                  <a:pt x="861" y="357"/>
                </a:lnTo>
                <a:lnTo>
                  <a:pt x="867" y="357"/>
                </a:lnTo>
                <a:lnTo>
                  <a:pt x="867" y="363"/>
                </a:lnTo>
                <a:lnTo>
                  <a:pt x="867" y="368"/>
                </a:lnTo>
                <a:lnTo>
                  <a:pt x="873" y="374"/>
                </a:lnTo>
                <a:lnTo>
                  <a:pt x="878" y="380"/>
                </a:lnTo>
                <a:lnTo>
                  <a:pt x="884" y="385"/>
                </a:lnTo>
                <a:lnTo>
                  <a:pt x="890" y="385"/>
                </a:lnTo>
                <a:lnTo>
                  <a:pt x="895" y="385"/>
                </a:lnTo>
                <a:lnTo>
                  <a:pt x="901" y="385"/>
                </a:lnTo>
                <a:lnTo>
                  <a:pt x="918" y="391"/>
                </a:lnTo>
                <a:lnTo>
                  <a:pt x="924" y="391"/>
                </a:lnTo>
                <a:lnTo>
                  <a:pt x="935" y="397"/>
                </a:lnTo>
                <a:lnTo>
                  <a:pt x="952" y="397"/>
                </a:lnTo>
                <a:lnTo>
                  <a:pt x="958" y="402"/>
                </a:lnTo>
                <a:lnTo>
                  <a:pt x="963" y="402"/>
                </a:lnTo>
                <a:lnTo>
                  <a:pt x="969" y="408"/>
                </a:lnTo>
                <a:lnTo>
                  <a:pt x="975" y="408"/>
                </a:lnTo>
                <a:lnTo>
                  <a:pt x="980" y="414"/>
                </a:lnTo>
                <a:lnTo>
                  <a:pt x="986" y="419"/>
                </a:lnTo>
                <a:lnTo>
                  <a:pt x="992" y="419"/>
                </a:lnTo>
                <a:lnTo>
                  <a:pt x="1009" y="431"/>
                </a:lnTo>
                <a:lnTo>
                  <a:pt x="1014" y="436"/>
                </a:lnTo>
                <a:lnTo>
                  <a:pt x="1020" y="442"/>
                </a:lnTo>
                <a:lnTo>
                  <a:pt x="1026" y="442"/>
                </a:lnTo>
                <a:lnTo>
                  <a:pt x="1026" y="448"/>
                </a:lnTo>
                <a:lnTo>
                  <a:pt x="1031" y="448"/>
                </a:lnTo>
                <a:lnTo>
                  <a:pt x="1037" y="453"/>
                </a:lnTo>
                <a:lnTo>
                  <a:pt x="1048" y="453"/>
                </a:lnTo>
                <a:lnTo>
                  <a:pt x="1054" y="453"/>
                </a:lnTo>
                <a:lnTo>
                  <a:pt x="1065" y="459"/>
                </a:lnTo>
                <a:lnTo>
                  <a:pt x="1065" y="465"/>
                </a:lnTo>
                <a:lnTo>
                  <a:pt x="1071" y="465"/>
                </a:lnTo>
                <a:lnTo>
                  <a:pt x="1071" y="470"/>
                </a:lnTo>
                <a:lnTo>
                  <a:pt x="1077" y="470"/>
                </a:lnTo>
                <a:lnTo>
                  <a:pt x="1077" y="476"/>
                </a:lnTo>
                <a:lnTo>
                  <a:pt x="1077" y="482"/>
                </a:lnTo>
                <a:lnTo>
                  <a:pt x="1082" y="482"/>
                </a:lnTo>
                <a:lnTo>
                  <a:pt x="1094" y="482"/>
                </a:lnTo>
                <a:lnTo>
                  <a:pt x="1099" y="487"/>
                </a:lnTo>
                <a:lnTo>
                  <a:pt x="1122" y="487"/>
                </a:lnTo>
                <a:lnTo>
                  <a:pt x="1122" y="482"/>
                </a:lnTo>
                <a:lnTo>
                  <a:pt x="1139" y="482"/>
                </a:lnTo>
                <a:lnTo>
                  <a:pt x="1145" y="487"/>
                </a:lnTo>
                <a:lnTo>
                  <a:pt x="1150" y="487"/>
                </a:lnTo>
                <a:lnTo>
                  <a:pt x="1162" y="482"/>
                </a:lnTo>
                <a:lnTo>
                  <a:pt x="1167" y="482"/>
                </a:lnTo>
                <a:lnTo>
                  <a:pt x="1179" y="482"/>
                </a:lnTo>
                <a:lnTo>
                  <a:pt x="1184" y="476"/>
                </a:lnTo>
                <a:lnTo>
                  <a:pt x="1190" y="476"/>
                </a:lnTo>
                <a:lnTo>
                  <a:pt x="1196" y="482"/>
                </a:lnTo>
                <a:lnTo>
                  <a:pt x="1201" y="482"/>
                </a:lnTo>
                <a:lnTo>
                  <a:pt x="1207" y="482"/>
                </a:lnTo>
                <a:lnTo>
                  <a:pt x="1207" y="487"/>
                </a:lnTo>
                <a:lnTo>
                  <a:pt x="1213" y="487"/>
                </a:lnTo>
                <a:lnTo>
                  <a:pt x="1218" y="487"/>
                </a:lnTo>
                <a:lnTo>
                  <a:pt x="1224" y="493"/>
                </a:lnTo>
                <a:lnTo>
                  <a:pt x="1230" y="493"/>
                </a:lnTo>
                <a:lnTo>
                  <a:pt x="1235" y="493"/>
                </a:lnTo>
                <a:lnTo>
                  <a:pt x="1235" y="487"/>
                </a:lnTo>
                <a:lnTo>
                  <a:pt x="1235" y="493"/>
                </a:lnTo>
                <a:lnTo>
                  <a:pt x="1235" y="499"/>
                </a:lnTo>
                <a:lnTo>
                  <a:pt x="1235" y="504"/>
                </a:lnTo>
                <a:lnTo>
                  <a:pt x="1230" y="510"/>
                </a:lnTo>
                <a:lnTo>
                  <a:pt x="1230" y="516"/>
                </a:lnTo>
                <a:lnTo>
                  <a:pt x="1224" y="516"/>
                </a:lnTo>
                <a:lnTo>
                  <a:pt x="1224" y="521"/>
                </a:lnTo>
                <a:lnTo>
                  <a:pt x="1224" y="527"/>
                </a:lnTo>
                <a:lnTo>
                  <a:pt x="1218" y="527"/>
                </a:lnTo>
                <a:lnTo>
                  <a:pt x="1218" y="533"/>
                </a:lnTo>
                <a:lnTo>
                  <a:pt x="1218" y="538"/>
                </a:lnTo>
                <a:lnTo>
                  <a:pt x="1213" y="538"/>
                </a:lnTo>
                <a:lnTo>
                  <a:pt x="1213" y="544"/>
                </a:lnTo>
                <a:lnTo>
                  <a:pt x="1213" y="550"/>
                </a:lnTo>
                <a:lnTo>
                  <a:pt x="1207" y="550"/>
                </a:lnTo>
                <a:lnTo>
                  <a:pt x="1207" y="555"/>
                </a:lnTo>
                <a:lnTo>
                  <a:pt x="1207" y="561"/>
                </a:lnTo>
                <a:lnTo>
                  <a:pt x="1207" y="567"/>
                </a:lnTo>
                <a:lnTo>
                  <a:pt x="1207" y="572"/>
                </a:lnTo>
                <a:lnTo>
                  <a:pt x="1207" y="578"/>
                </a:lnTo>
                <a:lnTo>
                  <a:pt x="1207" y="584"/>
                </a:lnTo>
                <a:lnTo>
                  <a:pt x="1207" y="589"/>
                </a:lnTo>
                <a:lnTo>
                  <a:pt x="1207" y="601"/>
                </a:lnTo>
                <a:lnTo>
                  <a:pt x="1201" y="601"/>
                </a:lnTo>
                <a:lnTo>
                  <a:pt x="1201" y="606"/>
                </a:lnTo>
                <a:lnTo>
                  <a:pt x="1196" y="606"/>
                </a:lnTo>
                <a:lnTo>
                  <a:pt x="1190" y="606"/>
                </a:lnTo>
                <a:lnTo>
                  <a:pt x="1179" y="606"/>
                </a:lnTo>
                <a:lnTo>
                  <a:pt x="1173" y="606"/>
                </a:lnTo>
                <a:lnTo>
                  <a:pt x="1167" y="606"/>
                </a:lnTo>
                <a:lnTo>
                  <a:pt x="1162" y="606"/>
                </a:lnTo>
                <a:lnTo>
                  <a:pt x="1150" y="601"/>
                </a:lnTo>
                <a:lnTo>
                  <a:pt x="1145" y="601"/>
                </a:lnTo>
                <a:lnTo>
                  <a:pt x="1139" y="601"/>
                </a:lnTo>
                <a:lnTo>
                  <a:pt x="1133" y="601"/>
                </a:lnTo>
                <a:lnTo>
                  <a:pt x="1122" y="606"/>
                </a:lnTo>
                <a:lnTo>
                  <a:pt x="1116" y="606"/>
                </a:lnTo>
                <a:lnTo>
                  <a:pt x="1111" y="606"/>
                </a:lnTo>
                <a:lnTo>
                  <a:pt x="1105" y="606"/>
                </a:lnTo>
                <a:lnTo>
                  <a:pt x="1099" y="606"/>
                </a:lnTo>
                <a:lnTo>
                  <a:pt x="1094" y="606"/>
                </a:lnTo>
                <a:lnTo>
                  <a:pt x="1082" y="606"/>
                </a:lnTo>
                <a:lnTo>
                  <a:pt x="1077" y="601"/>
                </a:lnTo>
                <a:lnTo>
                  <a:pt x="1065" y="601"/>
                </a:lnTo>
                <a:lnTo>
                  <a:pt x="1065" y="595"/>
                </a:lnTo>
                <a:lnTo>
                  <a:pt x="1060" y="595"/>
                </a:lnTo>
                <a:lnTo>
                  <a:pt x="1054" y="595"/>
                </a:lnTo>
                <a:lnTo>
                  <a:pt x="1043" y="589"/>
                </a:lnTo>
                <a:lnTo>
                  <a:pt x="1043" y="584"/>
                </a:lnTo>
                <a:lnTo>
                  <a:pt x="1037" y="584"/>
                </a:lnTo>
                <a:lnTo>
                  <a:pt x="1031" y="578"/>
                </a:lnTo>
                <a:lnTo>
                  <a:pt x="1026" y="578"/>
                </a:lnTo>
                <a:lnTo>
                  <a:pt x="1020" y="572"/>
                </a:lnTo>
                <a:lnTo>
                  <a:pt x="1014" y="567"/>
                </a:lnTo>
                <a:lnTo>
                  <a:pt x="1009" y="567"/>
                </a:lnTo>
                <a:lnTo>
                  <a:pt x="1009" y="561"/>
                </a:lnTo>
                <a:lnTo>
                  <a:pt x="1003" y="561"/>
                </a:lnTo>
                <a:lnTo>
                  <a:pt x="997" y="561"/>
                </a:lnTo>
                <a:lnTo>
                  <a:pt x="992" y="561"/>
                </a:lnTo>
                <a:lnTo>
                  <a:pt x="986" y="561"/>
                </a:lnTo>
                <a:lnTo>
                  <a:pt x="986" y="567"/>
                </a:lnTo>
                <a:lnTo>
                  <a:pt x="980" y="567"/>
                </a:lnTo>
                <a:lnTo>
                  <a:pt x="980" y="572"/>
                </a:lnTo>
                <a:lnTo>
                  <a:pt x="975" y="572"/>
                </a:lnTo>
                <a:lnTo>
                  <a:pt x="975" y="578"/>
                </a:lnTo>
                <a:lnTo>
                  <a:pt x="969" y="584"/>
                </a:lnTo>
                <a:lnTo>
                  <a:pt x="969" y="589"/>
                </a:lnTo>
                <a:lnTo>
                  <a:pt x="963" y="589"/>
                </a:lnTo>
                <a:lnTo>
                  <a:pt x="963" y="595"/>
                </a:lnTo>
                <a:lnTo>
                  <a:pt x="958" y="595"/>
                </a:lnTo>
                <a:lnTo>
                  <a:pt x="958" y="601"/>
                </a:lnTo>
                <a:lnTo>
                  <a:pt x="952" y="601"/>
                </a:lnTo>
                <a:lnTo>
                  <a:pt x="952" y="606"/>
                </a:lnTo>
                <a:lnTo>
                  <a:pt x="946" y="606"/>
                </a:lnTo>
                <a:lnTo>
                  <a:pt x="946" y="612"/>
                </a:lnTo>
                <a:lnTo>
                  <a:pt x="941" y="612"/>
                </a:lnTo>
                <a:lnTo>
                  <a:pt x="935" y="612"/>
                </a:lnTo>
                <a:lnTo>
                  <a:pt x="935" y="618"/>
                </a:lnTo>
                <a:lnTo>
                  <a:pt x="935" y="623"/>
                </a:lnTo>
                <a:lnTo>
                  <a:pt x="929" y="623"/>
                </a:lnTo>
                <a:lnTo>
                  <a:pt x="929" y="629"/>
                </a:lnTo>
                <a:lnTo>
                  <a:pt x="935" y="640"/>
                </a:lnTo>
                <a:lnTo>
                  <a:pt x="941" y="640"/>
                </a:lnTo>
                <a:lnTo>
                  <a:pt x="941" y="652"/>
                </a:lnTo>
                <a:lnTo>
                  <a:pt x="941" y="657"/>
                </a:lnTo>
                <a:lnTo>
                  <a:pt x="946" y="663"/>
                </a:lnTo>
                <a:lnTo>
                  <a:pt x="952" y="663"/>
                </a:lnTo>
                <a:lnTo>
                  <a:pt x="958" y="663"/>
                </a:lnTo>
                <a:lnTo>
                  <a:pt x="963" y="663"/>
                </a:lnTo>
                <a:lnTo>
                  <a:pt x="963" y="669"/>
                </a:lnTo>
                <a:lnTo>
                  <a:pt x="969" y="669"/>
                </a:lnTo>
                <a:lnTo>
                  <a:pt x="969" y="674"/>
                </a:lnTo>
                <a:lnTo>
                  <a:pt x="969" y="680"/>
                </a:lnTo>
                <a:lnTo>
                  <a:pt x="969" y="686"/>
                </a:lnTo>
                <a:lnTo>
                  <a:pt x="975" y="691"/>
                </a:lnTo>
                <a:lnTo>
                  <a:pt x="980" y="691"/>
                </a:lnTo>
                <a:lnTo>
                  <a:pt x="986" y="691"/>
                </a:lnTo>
                <a:lnTo>
                  <a:pt x="997" y="691"/>
                </a:lnTo>
                <a:lnTo>
                  <a:pt x="1003" y="691"/>
                </a:lnTo>
                <a:lnTo>
                  <a:pt x="1009" y="691"/>
                </a:lnTo>
                <a:lnTo>
                  <a:pt x="1009" y="697"/>
                </a:lnTo>
                <a:lnTo>
                  <a:pt x="1009" y="703"/>
                </a:lnTo>
                <a:lnTo>
                  <a:pt x="1009" y="708"/>
                </a:lnTo>
                <a:lnTo>
                  <a:pt x="1009" y="714"/>
                </a:lnTo>
                <a:lnTo>
                  <a:pt x="1003" y="720"/>
                </a:lnTo>
                <a:lnTo>
                  <a:pt x="1003" y="725"/>
                </a:lnTo>
                <a:lnTo>
                  <a:pt x="997" y="725"/>
                </a:lnTo>
                <a:lnTo>
                  <a:pt x="997" y="731"/>
                </a:lnTo>
                <a:lnTo>
                  <a:pt x="997" y="725"/>
                </a:lnTo>
                <a:lnTo>
                  <a:pt x="992" y="720"/>
                </a:lnTo>
                <a:lnTo>
                  <a:pt x="986" y="714"/>
                </a:lnTo>
                <a:lnTo>
                  <a:pt x="980" y="714"/>
                </a:lnTo>
                <a:lnTo>
                  <a:pt x="980" y="708"/>
                </a:lnTo>
                <a:lnTo>
                  <a:pt x="975" y="708"/>
                </a:lnTo>
                <a:lnTo>
                  <a:pt x="969" y="708"/>
                </a:lnTo>
                <a:lnTo>
                  <a:pt x="963" y="708"/>
                </a:lnTo>
                <a:lnTo>
                  <a:pt x="958" y="708"/>
                </a:lnTo>
                <a:lnTo>
                  <a:pt x="952" y="714"/>
                </a:lnTo>
                <a:lnTo>
                  <a:pt x="946" y="714"/>
                </a:lnTo>
                <a:lnTo>
                  <a:pt x="946" y="720"/>
                </a:lnTo>
                <a:lnTo>
                  <a:pt x="941" y="720"/>
                </a:lnTo>
                <a:lnTo>
                  <a:pt x="941" y="731"/>
                </a:lnTo>
                <a:lnTo>
                  <a:pt x="941" y="737"/>
                </a:lnTo>
                <a:lnTo>
                  <a:pt x="941" y="742"/>
                </a:lnTo>
                <a:lnTo>
                  <a:pt x="935" y="748"/>
                </a:lnTo>
                <a:lnTo>
                  <a:pt x="929" y="748"/>
                </a:lnTo>
                <a:lnTo>
                  <a:pt x="924" y="754"/>
                </a:lnTo>
                <a:lnTo>
                  <a:pt x="912" y="754"/>
                </a:lnTo>
                <a:lnTo>
                  <a:pt x="907" y="754"/>
                </a:lnTo>
                <a:lnTo>
                  <a:pt x="901" y="748"/>
                </a:lnTo>
                <a:lnTo>
                  <a:pt x="895" y="748"/>
                </a:lnTo>
                <a:lnTo>
                  <a:pt x="890" y="748"/>
                </a:lnTo>
                <a:lnTo>
                  <a:pt x="884" y="742"/>
                </a:lnTo>
                <a:lnTo>
                  <a:pt x="884" y="737"/>
                </a:lnTo>
                <a:lnTo>
                  <a:pt x="878" y="737"/>
                </a:lnTo>
                <a:lnTo>
                  <a:pt x="873" y="731"/>
                </a:lnTo>
                <a:lnTo>
                  <a:pt x="873" y="725"/>
                </a:lnTo>
                <a:lnTo>
                  <a:pt x="867" y="725"/>
                </a:lnTo>
                <a:lnTo>
                  <a:pt x="861" y="725"/>
                </a:lnTo>
                <a:lnTo>
                  <a:pt x="856" y="731"/>
                </a:lnTo>
                <a:lnTo>
                  <a:pt x="850" y="731"/>
                </a:lnTo>
                <a:lnTo>
                  <a:pt x="850" y="737"/>
                </a:lnTo>
                <a:lnTo>
                  <a:pt x="844" y="737"/>
                </a:lnTo>
                <a:lnTo>
                  <a:pt x="839" y="737"/>
                </a:lnTo>
                <a:lnTo>
                  <a:pt x="833" y="731"/>
                </a:lnTo>
                <a:lnTo>
                  <a:pt x="827" y="731"/>
                </a:lnTo>
                <a:lnTo>
                  <a:pt x="822" y="731"/>
                </a:lnTo>
                <a:lnTo>
                  <a:pt x="816" y="731"/>
                </a:lnTo>
                <a:lnTo>
                  <a:pt x="805" y="731"/>
                </a:lnTo>
                <a:lnTo>
                  <a:pt x="799" y="731"/>
                </a:lnTo>
                <a:lnTo>
                  <a:pt x="799" y="725"/>
                </a:lnTo>
                <a:lnTo>
                  <a:pt x="793" y="720"/>
                </a:lnTo>
                <a:lnTo>
                  <a:pt x="788" y="714"/>
                </a:lnTo>
                <a:lnTo>
                  <a:pt x="782" y="714"/>
                </a:lnTo>
                <a:lnTo>
                  <a:pt x="776" y="708"/>
                </a:lnTo>
                <a:lnTo>
                  <a:pt x="771" y="708"/>
                </a:lnTo>
                <a:lnTo>
                  <a:pt x="765" y="708"/>
                </a:lnTo>
                <a:lnTo>
                  <a:pt x="759" y="714"/>
                </a:lnTo>
                <a:lnTo>
                  <a:pt x="759" y="720"/>
                </a:lnTo>
                <a:lnTo>
                  <a:pt x="753" y="720"/>
                </a:lnTo>
                <a:lnTo>
                  <a:pt x="748" y="720"/>
                </a:lnTo>
                <a:lnTo>
                  <a:pt x="742" y="720"/>
                </a:lnTo>
                <a:lnTo>
                  <a:pt x="736" y="720"/>
                </a:lnTo>
                <a:lnTo>
                  <a:pt x="731" y="720"/>
                </a:lnTo>
                <a:lnTo>
                  <a:pt x="725" y="720"/>
                </a:lnTo>
                <a:lnTo>
                  <a:pt x="719" y="720"/>
                </a:lnTo>
                <a:lnTo>
                  <a:pt x="719" y="725"/>
                </a:lnTo>
                <a:lnTo>
                  <a:pt x="714" y="725"/>
                </a:lnTo>
                <a:lnTo>
                  <a:pt x="702" y="731"/>
                </a:lnTo>
                <a:lnTo>
                  <a:pt x="702" y="725"/>
                </a:lnTo>
                <a:lnTo>
                  <a:pt x="697" y="725"/>
                </a:lnTo>
                <a:lnTo>
                  <a:pt x="691" y="725"/>
                </a:lnTo>
                <a:lnTo>
                  <a:pt x="685" y="725"/>
                </a:lnTo>
                <a:lnTo>
                  <a:pt x="685" y="720"/>
                </a:lnTo>
                <a:lnTo>
                  <a:pt x="680" y="725"/>
                </a:lnTo>
                <a:lnTo>
                  <a:pt x="674" y="725"/>
                </a:lnTo>
                <a:lnTo>
                  <a:pt x="663" y="725"/>
                </a:lnTo>
                <a:lnTo>
                  <a:pt x="657" y="725"/>
                </a:lnTo>
                <a:lnTo>
                  <a:pt x="651" y="725"/>
                </a:lnTo>
                <a:lnTo>
                  <a:pt x="646" y="720"/>
                </a:lnTo>
                <a:lnTo>
                  <a:pt x="640" y="720"/>
                </a:lnTo>
                <a:lnTo>
                  <a:pt x="634" y="714"/>
                </a:lnTo>
                <a:lnTo>
                  <a:pt x="629" y="708"/>
                </a:lnTo>
                <a:lnTo>
                  <a:pt x="629" y="703"/>
                </a:lnTo>
                <a:lnTo>
                  <a:pt x="623" y="691"/>
                </a:lnTo>
                <a:lnTo>
                  <a:pt x="629" y="691"/>
                </a:lnTo>
                <a:lnTo>
                  <a:pt x="623" y="680"/>
                </a:lnTo>
                <a:lnTo>
                  <a:pt x="617" y="674"/>
                </a:lnTo>
                <a:lnTo>
                  <a:pt x="617" y="669"/>
                </a:lnTo>
                <a:lnTo>
                  <a:pt x="617" y="663"/>
                </a:lnTo>
                <a:lnTo>
                  <a:pt x="612" y="663"/>
                </a:lnTo>
                <a:lnTo>
                  <a:pt x="606" y="657"/>
                </a:lnTo>
                <a:lnTo>
                  <a:pt x="600" y="652"/>
                </a:lnTo>
                <a:lnTo>
                  <a:pt x="595" y="646"/>
                </a:lnTo>
                <a:lnTo>
                  <a:pt x="595" y="640"/>
                </a:lnTo>
                <a:lnTo>
                  <a:pt x="589" y="640"/>
                </a:lnTo>
                <a:lnTo>
                  <a:pt x="589" y="635"/>
                </a:lnTo>
                <a:lnTo>
                  <a:pt x="583" y="635"/>
                </a:lnTo>
                <a:lnTo>
                  <a:pt x="578" y="629"/>
                </a:lnTo>
                <a:lnTo>
                  <a:pt x="578" y="623"/>
                </a:lnTo>
                <a:lnTo>
                  <a:pt x="572" y="618"/>
                </a:lnTo>
                <a:lnTo>
                  <a:pt x="566" y="612"/>
                </a:lnTo>
                <a:lnTo>
                  <a:pt x="566" y="606"/>
                </a:lnTo>
                <a:lnTo>
                  <a:pt x="561" y="601"/>
                </a:lnTo>
                <a:lnTo>
                  <a:pt x="561" y="595"/>
                </a:lnTo>
                <a:lnTo>
                  <a:pt x="555" y="595"/>
                </a:lnTo>
                <a:lnTo>
                  <a:pt x="555" y="589"/>
                </a:lnTo>
                <a:lnTo>
                  <a:pt x="549" y="584"/>
                </a:lnTo>
                <a:lnTo>
                  <a:pt x="549" y="578"/>
                </a:lnTo>
                <a:lnTo>
                  <a:pt x="544" y="567"/>
                </a:lnTo>
                <a:lnTo>
                  <a:pt x="544" y="561"/>
                </a:lnTo>
                <a:lnTo>
                  <a:pt x="538" y="555"/>
                </a:lnTo>
                <a:lnTo>
                  <a:pt x="532" y="550"/>
                </a:lnTo>
                <a:lnTo>
                  <a:pt x="532" y="544"/>
                </a:lnTo>
                <a:lnTo>
                  <a:pt x="527" y="538"/>
                </a:lnTo>
                <a:lnTo>
                  <a:pt x="521" y="533"/>
                </a:lnTo>
                <a:lnTo>
                  <a:pt x="521" y="527"/>
                </a:lnTo>
                <a:lnTo>
                  <a:pt x="515" y="527"/>
                </a:lnTo>
                <a:lnTo>
                  <a:pt x="515" y="521"/>
                </a:lnTo>
                <a:lnTo>
                  <a:pt x="515" y="516"/>
                </a:lnTo>
                <a:lnTo>
                  <a:pt x="515" y="510"/>
                </a:lnTo>
                <a:lnTo>
                  <a:pt x="510" y="510"/>
                </a:lnTo>
                <a:lnTo>
                  <a:pt x="510" y="504"/>
                </a:lnTo>
                <a:lnTo>
                  <a:pt x="504" y="499"/>
                </a:lnTo>
                <a:lnTo>
                  <a:pt x="504" y="493"/>
                </a:lnTo>
                <a:lnTo>
                  <a:pt x="504" y="487"/>
                </a:lnTo>
                <a:lnTo>
                  <a:pt x="504" y="482"/>
                </a:lnTo>
                <a:lnTo>
                  <a:pt x="504" y="476"/>
                </a:lnTo>
                <a:lnTo>
                  <a:pt x="504" y="470"/>
                </a:lnTo>
                <a:lnTo>
                  <a:pt x="504" y="465"/>
                </a:lnTo>
                <a:lnTo>
                  <a:pt x="504" y="459"/>
                </a:lnTo>
                <a:lnTo>
                  <a:pt x="510" y="459"/>
                </a:lnTo>
                <a:lnTo>
                  <a:pt x="515" y="459"/>
                </a:lnTo>
                <a:lnTo>
                  <a:pt x="515" y="453"/>
                </a:lnTo>
                <a:lnTo>
                  <a:pt x="515" y="448"/>
                </a:lnTo>
                <a:lnTo>
                  <a:pt x="521" y="442"/>
                </a:lnTo>
                <a:lnTo>
                  <a:pt x="521" y="436"/>
                </a:lnTo>
                <a:lnTo>
                  <a:pt x="527" y="431"/>
                </a:lnTo>
                <a:lnTo>
                  <a:pt x="532" y="425"/>
                </a:lnTo>
                <a:lnTo>
                  <a:pt x="538" y="419"/>
                </a:lnTo>
                <a:lnTo>
                  <a:pt x="544" y="414"/>
                </a:lnTo>
                <a:lnTo>
                  <a:pt x="555" y="408"/>
                </a:lnTo>
                <a:lnTo>
                  <a:pt x="561" y="402"/>
                </a:lnTo>
                <a:lnTo>
                  <a:pt x="566" y="402"/>
                </a:lnTo>
                <a:lnTo>
                  <a:pt x="566" y="397"/>
                </a:lnTo>
                <a:lnTo>
                  <a:pt x="566" y="391"/>
                </a:lnTo>
                <a:lnTo>
                  <a:pt x="561" y="385"/>
                </a:lnTo>
                <a:lnTo>
                  <a:pt x="555" y="380"/>
                </a:lnTo>
                <a:lnTo>
                  <a:pt x="549" y="385"/>
                </a:lnTo>
                <a:lnTo>
                  <a:pt x="544" y="385"/>
                </a:lnTo>
                <a:lnTo>
                  <a:pt x="538" y="385"/>
                </a:lnTo>
                <a:lnTo>
                  <a:pt x="538" y="391"/>
                </a:lnTo>
                <a:lnTo>
                  <a:pt x="532" y="391"/>
                </a:lnTo>
                <a:lnTo>
                  <a:pt x="532" y="397"/>
                </a:lnTo>
                <a:lnTo>
                  <a:pt x="527" y="397"/>
                </a:lnTo>
                <a:lnTo>
                  <a:pt x="521" y="402"/>
                </a:lnTo>
                <a:lnTo>
                  <a:pt x="515" y="408"/>
                </a:lnTo>
                <a:lnTo>
                  <a:pt x="515" y="414"/>
                </a:lnTo>
                <a:lnTo>
                  <a:pt x="510" y="414"/>
                </a:lnTo>
                <a:lnTo>
                  <a:pt x="504" y="414"/>
                </a:lnTo>
                <a:lnTo>
                  <a:pt x="498" y="408"/>
                </a:lnTo>
                <a:lnTo>
                  <a:pt x="493" y="408"/>
                </a:lnTo>
                <a:lnTo>
                  <a:pt x="493" y="402"/>
                </a:lnTo>
                <a:lnTo>
                  <a:pt x="487" y="402"/>
                </a:lnTo>
                <a:lnTo>
                  <a:pt x="481" y="402"/>
                </a:lnTo>
                <a:lnTo>
                  <a:pt x="476" y="397"/>
                </a:lnTo>
                <a:lnTo>
                  <a:pt x="476" y="391"/>
                </a:lnTo>
                <a:lnTo>
                  <a:pt x="464" y="385"/>
                </a:lnTo>
                <a:lnTo>
                  <a:pt x="464" y="380"/>
                </a:lnTo>
                <a:lnTo>
                  <a:pt x="459" y="380"/>
                </a:lnTo>
                <a:lnTo>
                  <a:pt x="459" y="374"/>
                </a:lnTo>
                <a:lnTo>
                  <a:pt x="453" y="374"/>
                </a:lnTo>
                <a:lnTo>
                  <a:pt x="447" y="374"/>
                </a:lnTo>
                <a:lnTo>
                  <a:pt x="447" y="368"/>
                </a:lnTo>
                <a:lnTo>
                  <a:pt x="442" y="363"/>
                </a:lnTo>
                <a:lnTo>
                  <a:pt x="436" y="357"/>
                </a:lnTo>
                <a:lnTo>
                  <a:pt x="442" y="351"/>
                </a:lnTo>
                <a:lnTo>
                  <a:pt x="436" y="351"/>
                </a:lnTo>
                <a:lnTo>
                  <a:pt x="436" y="346"/>
                </a:lnTo>
                <a:lnTo>
                  <a:pt x="436" y="340"/>
                </a:lnTo>
                <a:lnTo>
                  <a:pt x="436" y="334"/>
                </a:lnTo>
                <a:lnTo>
                  <a:pt x="430" y="334"/>
                </a:lnTo>
                <a:lnTo>
                  <a:pt x="419" y="329"/>
                </a:lnTo>
                <a:lnTo>
                  <a:pt x="419" y="323"/>
                </a:lnTo>
                <a:lnTo>
                  <a:pt x="413" y="317"/>
                </a:lnTo>
                <a:lnTo>
                  <a:pt x="408" y="317"/>
                </a:lnTo>
                <a:lnTo>
                  <a:pt x="402" y="317"/>
                </a:lnTo>
                <a:lnTo>
                  <a:pt x="396" y="317"/>
                </a:lnTo>
                <a:lnTo>
                  <a:pt x="391" y="317"/>
                </a:lnTo>
                <a:lnTo>
                  <a:pt x="391" y="323"/>
                </a:lnTo>
                <a:lnTo>
                  <a:pt x="385" y="323"/>
                </a:lnTo>
                <a:lnTo>
                  <a:pt x="379" y="323"/>
                </a:lnTo>
                <a:lnTo>
                  <a:pt x="379" y="329"/>
                </a:lnTo>
                <a:lnTo>
                  <a:pt x="374" y="329"/>
                </a:lnTo>
                <a:lnTo>
                  <a:pt x="374" y="334"/>
                </a:lnTo>
                <a:lnTo>
                  <a:pt x="368" y="334"/>
                </a:lnTo>
                <a:lnTo>
                  <a:pt x="362" y="340"/>
                </a:lnTo>
                <a:lnTo>
                  <a:pt x="362" y="346"/>
                </a:lnTo>
                <a:lnTo>
                  <a:pt x="357" y="346"/>
                </a:lnTo>
                <a:lnTo>
                  <a:pt x="357" y="351"/>
                </a:lnTo>
                <a:lnTo>
                  <a:pt x="357" y="357"/>
                </a:lnTo>
                <a:lnTo>
                  <a:pt x="357" y="363"/>
                </a:lnTo>
                <a:lnTo>
                  <a:pt x="357" y="368"/>
                </a:lnTo>
                <a:lnTo>
                  <a:pt x="351" y="374"/>
                </a:lnTo>
                <a:lnTo>
                  <a:pt x="351" y="380"/>
                </a:lnTo>
                <a:lnTo>
                  <a:pt x="345" y="385"/>
                </a:lnTo>
                <a:lnTo>
                  <a:pt x="340" y="385"/>
                </a:lnTo>
                <a:lnTo>
                  <a:pt x="340" y="391"/>
                </a:lnTo>
                <a:lnTo>
                  <a:pt x="334" y="391"/>
                </a:lnTo>
                <a:lnTo>
                  <a:pt x="334" y="397"/>
                </a:lnTo>
                <a:lnTo>
                  <a:pt x="328" y="397"/>
                </a:lnTo>
                <a:lnTo>
                  <a:pt x="323" y="397"/>
                </a:lnTo>
                <a:lnTo>
                  <a:pt x="323" y="402"/>
                </a:lnTo>
                <a:lnTo>
                  <a:pt x="317" y="402"/>
                </a:lnTo>
                <a:lnTo>
                  <a:pt x="306" y="408"/>
                </a:lnTo>
                <a:lnTo>
                  <a:pt x="294" y="414"/>
                </a:lnTo>
                <a:lnTo>
                  <a:pt x="283" y="414"/>
                </a:lnTo>
                <a:lnTo>
                  <a:pt x="277" y="419"/>
                </a:lnTo>
                <a:lnTo>
                  <a:pt x="266" y="419"/>
                </a:lnTo>
                <a:lnTo>
                  <a:pt x="266" y="425"/>
                </a:lnTo>
                <a:lnTo>
                  <a:pt x="255" y="425"/>
                </a:lnTo>
                <a:lnTo>
                  <a:pt x="249" y="431"/>
                </a:lnTo>
                <a:lnTo>
                  <a:pt x="243" y="431"/>
                </a:lnTo>
                <a:lnTo>
                  <a:pt x="238" y="431"/>
                </a:lnTo>
                <a:lnTo>
                  <a:pt x="238" y="436"/>
                </a:lnTo>
                <a:lnTo>
                  <a:pt x="238" y="442"/>
                </a:lnTo>
                <a:lnTo>
                  <a:pt x="232" y="442"/>
                </a:lnTo>
                <a:lnTo>
                  <a:pt x="226" y="442"/>
                </a:lnTo>
                <a:lnTo>
                  <a:pt x="221" y="448"/>
                </a:lnTo>
                <a:lnTo>
                  <a:pt x="215" y="448"/>
                </a:lnTo>
                <a:lnTo>
                  <a:pt x="209" y="448"/>
                </a:lnTo>
                <a:lnTo>
                  <a:pt x="204" y="448"/>
                </a:lnTo>
                <a:lnTo>
                  <a:pt x="198" y="453"/>
                </a:lnTo>
                <a:lnTo>
                  <a:pt x="192" y="459"/>
                </a:lnTo>
                <a:lnTo>
                  <a:pt x="187" y="459"/>
                </a:lnTo>
                <a:lnTo>
                  <a:pt x="181" y="459"/>
                </a:lnTo>
                <a:lnTo>
                  <a:pt x="175" y="459"/>
                </a:lnTo>
                <a:lnTo>
                  <a:pt x="170" y="459"/>
                </a:lnTo>
                <a:lnTo>
                  <a:pt x="164" y="459"/>
                </a:lnTo>
                <a:lnTo>
                  <a:pt x="158" y="459"/>
                </a:lnTo>
                <a:lnTo>
                  <a:pt x="153" y="459"/>
                </a:lnTo>
                <a:lnTo>
                  <a:pt x="147" y="459"/>
                </a:lnTo>
                <a:lnTo>
                  <a:pt x="141" y="459"/>
                </a:lnTo>
                <a:lnTo>
                  <a:pt x="136" y="459"/>
                </a:lnTo>
                <a:lnTo>
                  <a:pt x="130" y="459"/>
                </a:lnTo>
                <a:lnTo>
                  <a:pt x="124" y="465"/>
                </a:lnTo>
                <a:lnTo>
                  <a:pt x="124" y="470"/>
                </a:lnTo>
                <a:lnTo>
                  <a:pt x="119" y="470"/>
                </a:lnTo>
                <a:lnTo>
                  <a:pt x="113" y="470"/>
                </a:lnTo>
                <a:lnTo>
                  <a:pt x="107" y="476"/>
                </a:lnTo>
                <a:lnTo>
                  <a:pt x="107" y="482"/>
                </a:lnTo>
                <a:lnTo>
                  <a:pt x="102" y="482"/>
                </a:lnTo>
                <a:lnTo>
                  <a:pt x="96" y="482"/>
                </a:lnTo>
                <a:lnTo>
                  <a:pt x="96" y="487"/>
                </a:lnTo>
                <a:lnTo>
                  <a:pt x="90" y="493"/>
                </a:lnTo>
                <a:lnTo>
                  <a:pt x="85" y="493"/>
                </a:lnTo>
                <a:lnTo>
                  <a:pt x="85" y="499"/>
                </a:lnTo>
                <a:lnTo>
                  <a:pt x="73" y="504"/>
                </a:lnTo>
                <a:lnTo>
                  <a:pt x="68" y="510"/>
                </a:lnTo>
                <a:lnTo>
                  <a:pt x="68" y="516"/>
                </a:lnTo>
                <a:lnTo>
                  <a:pt x="62" y="516"/>
                </a:lnTo>
                <a:lnTo>
                  <a:pt x="56" y="516"/>
                </a:lnTo>
                <a:lnTo>
                  <a:pt x="56" y="521"/>
                </a:lnTo>
                <a:lnTo>
                  <a:pt x="51" y="527"/>
                </a:lnTo>
                <a:lnTo>
                  <a:pt x="45" y="521"/>
                </a:lnTo>
                <a:lnTo>
                  <a:pt x="39" y="521"/>
                </a:lnTo>
                <a:lnTo>
                  <a:pt x="28" y="516"/>
                </a:lnTo>
                <a:lnTo>
                  <a:pt x="22" y="521"/>
                </a:lnTo>
                <a:lnTo>
                  <a:pt x="17" y="521"/>
                </a:lnTo>
                <a:lnTo>
                  <a:pt x="17" y="527"/>
                </a:lnTo>
                <a:lnTo>
                  <a:pt x="11" y="533"/>
                </a:lnTo>
                <a:lnTo>
                  <a:pt x="11" y="538"/>
                </a:lnTo>
                <a:lnTo>
                  <a:pt x="5" y="538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5" name="Freeform 12"/>
          <p:cNvSpPr>
            <a:spLocks/>
          </p:cNvSpPr>
          <p:nvPr/>
        </p:nvSpPr>
        <p:spPr bwMode="gray">
          <a:xfrm>
            <a:off x="1372005" y="2259545"/>
            <a:ext cx="2313132" cy="1891862"/>
          </a:xfrm>
          <a:custGeom>
            <a:avLst/>
            <a:gdLst>
              <a:gd name="T0" fmla="*/ 2147483647 w 1366"/>
              <a:gd name="T1" fmla="*/ 2147483647 h 1117"/>
              <a:gd name="T2" fmla="*/ 2147483647 w 1366"/>
              <a:gd name="T3" fmla="*/ 2147483647 h 1117"/>
              <a:gd name="T4" fmla="*/ 2147483647 w 1366"/>
              <a:gd name="T5" fmla="*/ 2147483647 h 1117"/>
              <a:gd name="T6" fmla="*/ 2147483647 w 1366"/>
              <a:gd name="T7" fmla="*/ 2147483647 h 1117"/>
              <a:gd name="T8" fmla="*/ 2147483647 w 1366"/>
              <a:gd name="T9" fmla="*/ 2147483647 h 1117"/>
              <a:gd name="T10" fmla="*/ 2147483647 w 1366"/>
              <a:gd name="T11" fmla="*/ 2147483647 h 1117"/>
              <a:gd name="T12" fmla="*/ 2147483647 w 1366"/>
              <a:gd name="T13" fmla="*/ 2147483647 h 1117"/>
              <a:gd name="T14" fmla="*/ 2147483647 w 1366"/>
              <a:gd name="T15" fmla="*/ 2147483647 h 1117"/>
              <a:gd name="T16" fmla="*/ 2147483647 w 1366"/>
              <a:gd name="T17" fmla="*/ 2147483647 h 1117"/>
              <a:gd name="T18" fmla="*/ 2147483647 w 1366"/>
              <a:gd name="T19" fmla="*/ 2147483647 h 1117"/>
              <a:gd name="T20" fmla="*/ 2147483647 w 1366"/>
              <a:gd name="T21" fmla="*/ 2147483647 h 1117"/>
              <a:gd name="T22" fmla="*/ 2147483647 w 1366"/>
              <a:gd name="T23" fmla="*/ 2147483647 h 1117"/>
              <a:gd name="T24" fmla="*/ 2147483647 w 1366"/>
              <a:gd name="T25" fmla="*/ 2147483647 h 1117"/>
              <a:gd name="T26" fmla="*/ 2147483647 w 1366"/>
              <a:gd name="T27" fmla="*/ 2147483647 h 1117"/>
              <a:gd name="T28" fmla="*/ 2147483647 w 1366"/>
              <a:gd name="T29" fmla="*/ 2147483647 h 1117"/>
              <a:gd name="T30" fmla="*/ 2147483647 w 1366"/>
              <a:gd name="T31" fmla="*/ 2147483647 h 1117"/>
              <a:gd name="T32" fmla="*/ 2147483647 w 1366"/>
              <a:gd name="T33" fmla="*/ 2147483647 h 1117"/>
              <a:gd name="T34" fmla="*/ 2147483647 w 1366"/>
              <a:gd name="T35" fmla="*/ 2147483647 h 1117"/>
              <a:gd name="T36" fmla="*/ 2147483647 w 1366"/>
              <a:gd name="T37" fmla="*/ 2147483647 h 1117"/>
              <a:gd name="T38" fmla="*/ 2147483647 w 1366"/>
              <a:gd name="T39" fmla="*/ 2147483647 h 1117"/>
              <a:gd name="T40" fmla="*/ 2147483647 w 1366"/>
              <a:gd name="T41" fmla="*/ 2147483647 h 1117"/>
              <a:gd name="T42" fmla="*/ 2147483647 w 1366"/>
              <a:gd name="T43" fmla="*/ 0 h 1117"/>
              <a:gd name="T44" fmla="*/ 2147483647 w 1366"/>
              <a:gd name="T45" fmla="*/ 2147483647 h 1117"/>
              <a:gd name="T46" fmla="*/ 2147483647 w 1366"/>
              <a:gd name="T47" fmla="*/ 2147483647 h 1117"/>
              <a:gd name="T48" fmla="*/ 2147483647 w 1366"/>
              <a:gd name="T49" fmla="*/ 2147483647 h 1117"/>
              <a:gd name="T50" fmla="*/ 2147483647 w 1366"/>
              <a:gd name="T51" fmla="*/ 2147483647 h 1117"/>
              <a:gd name="T52" fmla="*/ 2147483647 w 1366"/>
              <a:gd name="T53" fmla="*/ 2147483647 h 1117"/>
              <a:gd name="T54" fmla="*/ 2147483647 w 1366"/>
              <a:gd name="T55" fmla="*/ 2147483647 h 1117"/>
              <a:gd name="T56" fmla="*/ 2147483647 w 1366"/>
              <a:gd name="T57" fmla="*/ 2147483647 h 1117"/>
              <a:gd name="T58" fmla="*/ 2147483647 w 1366"/>
              <a:gd name="T59" fmla="*/ 2147483647 h 1117"/>
              <a:gd name="T60" fmla="*/ 2147483647 w 1366"/>
              <a:gd name="T61" fmla="*/ 2147483647 h 1117"/>
              <a:gd name="T62" fmla="*/ 2147483647 w 1366"/>
              <a:gd name="T63" fmla="*/ 2147483647 h 1117"/>
              <a:gd name="T64" fmla="*/ 2147483647 w 1366"/>
              <a:gd name="T65" fmla="*/ 2147483647 h 1117"/>
              <a:gd name="T66" fmla="*/ 2147483647 w 1366"/>
              <a:gd name="T67" fmla="*/ 2147483647 h 1117"/>
              <a:gd name="T68" fmla="*/ 2147483647 w 1366"/>
              <a:gd name="T69" fmla="*/ 2147483647 h 1117"/>
              <a:gd name="T70" fmla="*/ 2147483647 w 1366"/>
              <a:gd name="T71" fmla="*/ 2147483647 h 1117"/>
              <a:gd name="T72" fmla="*/ 2147483647 w 1366"/>
              <a:gd name="T73" fmla="*/ 2147483647 h 1117"/>
              <a:gd name="T74" fmla="*/ 2147483647 w 1366"/>
              <a:gd name="T75" fmla="*/ 2147483647 h 1117"/>
              <a:gd name="T76" fmla="*/ 2147483647 w 1366"/>
              <a:gd name="T77" fmla="*/ 2147483647 h 1117"/>
              <a:gd name="T78" fmla="*/ 2147483647 w 1366"/>
              <a:gd name="T79" fmla="*/ 2147483647 h 1117"/>
              <a:gd name="T80" fmla="*/ 2147483647 w 1366"/>
              <a:gd name="T81" fmla="*/ 2147483647 h 1117"/>
              <a:gd name="T82" fmla="*/ 2147483647 w 1366"/>
              <a:gd name="T83" fmla="*/ 2147483647 h 1117"/>
              <a:gd name="T84" fmla="*/ 2147483647 w 1366"/>
              <a:gd name="T85" fmla="*/ 2147483647 h 1117"/>
              <a:gd name="T86" fmla="*/ 2147483647 w 1366"/>
              <a:gd name="T87" fmla="*/ 2147483647 h 1117"/>
              <a:gd name="T88" fmla="*/ 2147483647 w 1366"/>
              <a:gd name="T89" fmla="*/ 2147483647 h 1117"/>
              <a:gd name="T90" fmla="*/ 2147483647 w 1366"/>
              <a:gd name="T91" fmla="*/ 2147483647 h 1117"/>
              <a:gd name="T92" fmla="*/ 2147483647 w 1366"/>
              <a:gd name="T93" fmla="*/ 2147483647 h 1117"/>
              <a:gd name="T94" fmla="*/ 2147483647 w 1366"/>
              <a:gd name="T95" fmla="*/ 2147483647 h 1117"/>
              <a:gd name="T96" fmla="*/ 2147483647 w 1366"/>
              <a:gd name="T97" fmla="*/ 2147483647 h 1117"/>
              <a:gd name="T98" fmla="*/ 2147483647 w 1366"/>
              <a:gd name="T99" fmla="*/ 2147483647 h 1117"/>
              <a:gd name="T100" fmla="*/ 2147483647 w 1366"/>
              <a:gd name="T101" fmla="*/ 2147483647 h 1117"/>
              <a:gd name="T102" fmla="*/ 2147483647 w 1366"/>
              <a:gd name="T103" fmla="*/ 2147483647 h 1117"/>
              <a:gd name="T104" fmla="*/ 2147483647 w 1366"/>
              <a:gd name="T105" fmla="*/ 2147483647 h 1117"/>
              <a:gd name="T106" fmla="*/ 2147483647 w 1366"/>
              <a:gd name="T107" fmla="*/ 2147483647 h 1117"/>
              <a:gd name="T108" fmla="*/ 2147483647 w 1366"/>
              <a:gd name="T109" fmla="*/ 2147483647 h 1117"/>
              <a:gd name="T110" fmla="*/ 2147483647 w 1366"/>
              <a:gd name="T111" fmla="*/ 2147483647 h 1117"/>
              <a:gd name="T112" fmla="*/ 2147483647 w 1366"/>
              <a:gd name="T113" fmla="*/ 2147483647 h 1117"/>
              <a:gd name="T114" fmla="*/ 2147483647 w 1366"/>
              <a:gd name="T115" fmla="*/ 2147483647 h 1117"/>
              <a:gd name="T116" fmla="*/ 2147483647 w 1366"/>
              <a:gd name="T117" fmla="*/ 2147483647 h 1117"/>
              <a:gd name="T118" fmla="*/ 2147483647 w 1366"/>
              <a:gd name="T119" fmla="*/ 2147483647 h 111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366"/>
              <a:gd name="T181" fmla="*/ 0 h 1117"/>
              <a:gd name="T182" fmla="*/ 1366 w 1366"/>
              <a:gd name="T183" fmla="*/ 1117 h 111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366" h="1117">
                <a:moveTo>
                  <a:pt x="17" y="448"/>
                </a:moveTo>
                <a:lnTo>
                  <a:pt x="23" y="442"/>
                </a:lnTo>
                <a:lnTo>
                  <a:pt x="28" y="442"/>
                </a:lnTo>
                <a:lnTo>
                  <a:pt x="34" y="437"/>
                </a:lnTo>
                <a:lnTo>
                  <a:pt x="34" y="431"/>
                </a:lnTo>
                <a:lnTo>
                  <a:pt x="34" y="425"/>
                </a:lnTo>
                <a:lnTo>
                  <a:pt x="34" y="420"/>
                </a:lnTo>
                <a:lnTo>
                  <a:pt x="34" y="414"/>
                </a:lnTo>
                <a:lnTo>
                  <a:pt x="28" y="414"/>
                </a:lnTo>
                <a:lnTo>
                  <a:pt x="23" y="414"/>
                </a:lnTo>
                <a:lnTo>
                  <a:pt x="17" y="403"/>
                </a:lnTo>
                <a:lnTo>
                  <a:pt x="11" y="403"/>
                </a:lnTo>
                <a:lnTo>
                  <a:pt x="6" y="391"/>
                </a:lnTo>
                <a:lnTo>
                  <a:pt x="0" y="380"/>
                </a:lnTo>
                <a:lnTo>
                  <a:pt x="11" y="363"/>
                </a:lnTo>
                <a:lnTo>
                  <a:pt x="11" y="352"/>
                </a:lnTo>
                <a:lnTo>
                  <a:pt x="17" y="346"/>
                </a:lnTo>
                <a:lnTo>
                  <a:pt x="17" y="340"/>
                </a:lnTo>
                <a:lnTo>
                  <a:pt x="23" y="340"/>
                </a:lnTo>
                <a:lnTo>
                  <a:pt x="23" y="329"/>
                </a:lnTo>
                <a:lnTo>
                  <a:pt x="17" y="329"/>
                </a:lnTo>
                <a:lnTo>
                  <a:pt x="23" y="329"/>
                </a:lnTo>
                <a:lnTo>
                  <a:pt x="23" y="323"/>
                </a:lnTo>
                <a:lnTo>
                  <a:pt x="34" y="323"/>
                </a:lnTo>
                <a:lnTo>
                  <a:pt x="40" y="317"/>
                </a:lnTo>
                <a:lnTo>
                  <a:pt x="51" y="323"/>
                </a:lnTo>
                <a:lnTo>
                  <a:pt x="57" y="323"/>
                </a:lnTo>
                <a:lnTo>
                  <a:pt x="62" y="329"/>
                </a:lnTo>
                <a:lnTo>
                  <a:pt x="68" y="329"/>
                </a:lnTo>
                <a:lnTo>
                  <a:pt x="68" y="334"/>
                </a:lnTo>
                <a:lnTo>
                  <a:pt x="74" y="334"/>
                </a:lnTo>
                <a:lnTo>
                  <a:pt x="79" y="323"/>
                </a:lnTo>
                <a:lnTo>
                  <a:pt x="79" y="317"/>
                </a:lnTo>
                <a:lnTo>
                  <a:pt x="79" y="312"/>
                </a:lnTo>
                <a:lnTo>
                  <a:pt x="79" y="306"/>
                </a:lnTo>
                <a:lnTo>
                  <a:pt x="79" y="300"/>
                </a:lnTo>
                <a:lnTo>
                  <a:pt x="85" y="289"/>
                </a:lnTo>
                <a:lnTo>
                  <a:pt x="91" y="278"/>
                </a:lnTo>
                <a:lnTo>
                  <a:pt x="96" y="272"/>
                </a:lnTo>
                <a:lnTo>
                  <a:pt x="96" y="266"/>
                </a:lnTo>
                <a:lnTo>
                  <a:pt x="96" y="261"/>
                </a:lnTo>
                <a:lnTo>
                  <a:pt x="96" y="249"/>
                </a:lnTo>
                <a:lnTo>
                  <a:pt x="96" y="244"/>
                </a:lnTo>
                <a:lnTo>
                  <a:pt x="96" y="238"/>
                </a:lnTo>
                <a:lnTo>
                  <a:pt x="96" y="232"/>
                </a:lnTo>
                <a:lnTo>
                  <a:pt x="96" y="227"/>
                </a:lnTo>
                <a:lnTo>
                  <a:pt x="91" y="227"/>
                </a:lnTo>
                <a:lnTo>
                  <a:pt x="85" y="221"/>
                </a:lnTo>
                <a:lnTo>
                  <a:pt x="79" y="215"/>
                </a:lnTo>
                <a:lnTo>
                  <a:pt x="74" y="210"/>
                </a:lnTo>
                <a:lnTo>
                  <a:pt x="74" y="204"/>
                </a:lnTo>
                <a:lnTo>
                  <a:pt x="68" y="198"/>
                </a:lnTo>
                <a:lnTo>
                  <a:pt x="68" y="193"/>
                </a:lnTo>
                <a:lnTo>
                  <a:pt x="62" y="193"/>
                </a:lnTo>
                <a:lnTo>
                  <a:pt x="62" y="187"/>
                </a:lnTo>
                <a:lnTo>
                  <a:pt x="62" y="181"/>
                </a:lnTo>
                <a:lnTo>
                  <a:pt x="62" y="176"/>
                </a:lnTo>
                <a:lnTo>
                  <a:pt x="68" y="164"/>
                </a:lnTo>
                <a:lnTo>
                  <a:pt x="68" y="159"/>
                </a:lnTo>
                <a:lnTo>
                  <a:pt x="68" y="153"/>
                </a:lnTo>
                <a:lnTo>
                  <a:pt x="68" y="147"/>
                </a:lnTo>
                <a:lnTo>
                  <a:pt x="68" y="142"/>
                </a:lnTo>
                <a:lnTo>
                  <a:pt x="68" y="136"/>
                </a:lnTo>
                <a:lnTo>
                  <a:pt x="62" y="125"/>
                </a:lnTo>
                <a:lnTo>
                  <a:pt x="62" y="119"/>
                </a:lnTo>
                <a:lnTo>
                  <a:pt x="57" y="113"/>
                </a:lnTo>
                <a:lnTo>
                  <a:pt x="51" y="113"/>
                </a:lnTo>
                <a:lnTo>
                  <a:pt x="51" y="108"/>
                </a:lnTo>
                <a:lnTo>
                  <a:pt x="51" y="102"/>
                </a:lnTo>
                <a:lnTo>
                  <a:pt x="51" y="96"/>
                </a:lnTo>
                <a:lnTo>
                  <a:pt x="51" y="91"/>
                </a:lnTo>
                <a:lnTo>
                  <a:pt x="62" y="85"/>
                </a:lnTo>
                <a:lnTo>
                  <a:pt x="68" y="91"/>
                </a:lnTo>
                <a:lnTo>
                  <a:pt x="68" y="96"/>
                </a:lnTo>
                <a:lnTo>
                  <a:pt x="74" y="96"/>
                </a:lnTo>
                <a:lnTo>
                  <a:pt x="79" y="96"/>
                </a:lnTo>
                <a:lnTo>
                  <a:pt x="79" y="102"/>
                </a:lnTo>
                <a:lnTo>
                  <a:pt x="85" y="102"/>
                </a:lnTo>
                <a:lnTo>
                  <a:pt x="85" y="108"/>
                </a:lnTo>
                <a:lnTo>
                  <a:pt x="91" y="108"/>
                </a:lnTo>
                <a:lnTo>
                  <a:pt x="96" y="108"/>
                </a:lnTo>
                <a:lnTo>
                  <a:pt x="102" y="108"/>
                </a:lnTo>
                <a:lnTo>
                  <a:pt x="102" y="113"/>
                </a:lnTo>
                <a:lnTo>
                  <a:pt x="108" y="113"/>
                </a:lnTo>
                <a:lnTo>
                  <a:pt x="113" y="113"/>
                </a:lnTo>
                <a:lnTo>
                  <a:pt x="113" y="119"/>
                </a:lnTo>
                <a:lnTo>
                  <a:pt x="125" y="125"/>
                </a:lnTo>
                <a:lnTo>
                  <a:pt x="136" y="130"/>
                </a:lnTo>
                <a:lnTo>
                  <a:pt x="153" y="130"/>
                </a:lnTo>
                <a:lnTo>
                  <a:pt x="159" y="130"/>
                </a:lnTo>
                <a:lnTo>
                  <a:pt x="164" y="130"/>
                </a:lnTo>
                <a:lnTo>
                  <a:pt x="170" y="130"/>
                </a:lnTo>
                <a:lnTo>
                  <a:pt x="181" y="130"/>
                </a:lnTo>
                <a:lnTo>
                  <a:pt x="187" y="130"/>
                </a:lnTo>
                <a:lnTo>
                  <a:pt x="193" y="125"/>
                </a:lnTo>
                <a:lnTo>
                  <a:pt x="198" y="125"/>
                </a:lnTo>
                <a:lnTo>
                  <a:pt x="204" y="119"/>
                </a:lnTo>
                <a:lnTo>
                  <a:pt x="210" y="119"/>
                </a:lnTo>
                <a:lnTo>
                  <a:pt x="215" y="119"/>
                </a:lnTo>
                <a:lnTo>
                  <a:pt x="221" y="119"/>
                </a:lnTo>
                <a:lnTo>
                  <a:pt x="221" y="125"/>
                </a:lnTo>
                <a:lnTo>
                  <a:pt x="227" y="125"/>
                </a:lnTo>
                <a:lnTo>
                  <a:pt x="232" y="125"/>
                </a:lnTo>
                <a:lnTo>
                  <a:pt x="238" y="125"/>
                </a:lnTo>
                <a:lnTo>
                  <a:pt x="244" y="125"/>
                </a:lnTo>
                <a:lnTo>
                  <a:pt x="244" y="130"/>
                </a:lnTo>
                <a:lnTo>
                  <a:pt x="249" y="130"/>
                </a:lnTo>
                <a:lnTo>
                  <a:pt x="255" y="136"/>
                </a:lnTo>
                <a:lnTo>
                  <a:pt x="255" y="142"/>
                </a:lnTo>
                <a:lnTo>
                  <a:pt x="261" y="142"/>
                </a:lnTo>
                <a:lnTo>
                  <a:pt x="266" y="142"/>
                </a:lnTo>
                <a:lnTo>
                  <a:pt x="266" y="147"/>
                </a:lnTo>
                <a:lnTo>
                  <a:pt x="266" y="153"/>
                </a:lnTo>
                <a:lnTo>
                  <a:pt x="272" y="153"/>
                </a:lnTo>
                <a:lnTo>
                  <a:pt x="272" y="159"/>
                </a:lnTo>
                <a:lnTo>
                  <a:pt x="278" y="159"/>
                </a:lnTo>
                <a:lnTo>
                  <a:pt x="283" y="164"/>
                </a:lnTo>
                <a:lnTo>
                  <a:pt x="289" y="164"/>
                </a:lnTo>
                <a:lnTo>
                  <a:pt x="295" y="170"/>
                </a:lnTo>
                <a:lnTo>
                  <a:pt x="300" y="170"/>
                </a:lnTo>
                <a:lnTo>
                  <a:pt x="300" y="176"/>
                </a:lnTo>
                <a:lnTo>
                  <a:pt x="312" y="176"/>
                </a:lnTo>
                <a:lnTo>
                  <a:pt x="317" y="176"/>
                </a:lnTo>
                <a:lnTo>
                  <a:pt x="323" y="176"/>
                </a:lnTo>
                <a:lnTo>
                  <a:pt x="323" y="181"/>
                </a:lnTo>
                <a:lnTo>
                  <a:pt x="329" y="181"/>
                </a:lnTo>
                <a:lnTo>
                  <a:pt x="334" y="181"/>
                </a:lnTo>
                <a:lnTo>
                  <a:pt x="340" y="181"/>
                </a:lnTo>
                <a:lnTo>
                  <a:pt x="346" y="181"/>
                </a:lnTo>
                <a:lnTo>
                  <a:pt x="351" y="181"/>
                </a:lnTo>
                <a:lnTo>
                  <a:pt x="357" y="181"/>
                </a:lnTo>
                <a:lnTo>
                  <a:pt x="363" y="181"/>
                </a:lnTo>
                <a:lnTo>
                  <a:pt x="368" y="176"/>
                </a:lnTo>
                <a:lnTo>
                  <a:pt x="368" y="170"/>
                </a:lnTo>
                <a:lnTo>
                  <a:pt x="374" y="170"/>
                </a:lnTo>
                <a:lnTo>
                  <a:pt x="380" y="170"/>
                </a:lnTo>
                <a:lnTo>
                  <a:pt x="380" y="164"/>
                </a:lnTo>
                <a:lnTo>
                  <a:pt x="385" y="164"/>
                </a:lnTo>
                <a:lnTo>
                  <a:pt x="397" y="164"/>
                </a:lnTo>
                <a:lnTo>
                  <a:pt x="402" y="164"/>
                </a:lnTo>
                <a:lnTo>
                  <a:pt x="408" y="164"/>
                </a:lnTo>
                <a:lnTo>
                  <a:pt x="408" y="170"/>
                </a:lnTo>
                <a:lnTo>
                  <a:pt x="408" y="176"/>
                </a:lnTo>
                <a:lnTo>
                  <a:pt x="408" y="181"/>
                </a:lnTo>
                <a:lnTo>
                  <a:pt x="408" y="187"/>
                </a:lnTo>
                <a:lnTo>
                  <a:pt x="408" y="204"/>
                </a:lnTo>
                <a:lnTo>
                  <a:pt x="408" y="221"/>
                </a:lnTo>
                <a:lnTo>
                  <a:pt x="408" y="232"/>
                </a:lnTo>
                <a:lnTo>
                  <a:pt x="402" y="232"/>
                </a:lnTo>
                <a:lnTo>
                  <a:pt x="402" y="238"/>
                </a:lnTo>
                <a:lnTo>
                  <a:pt x="397" y="238"/>
                </a:lnTo>
                <a:lnTo>
                  <a:pt x="397" y="244"/>
                </a:lnTo>
                <a:lnTo>
                  <a:pt x="397" y="249"/>
                </a:lnTo>
                <a:lnTo>
                  <a:pt x="391" y="249"/>
                </a:lnTo>
                <a:lnTo>
                  <a:pt x="385" y="255"/>
                </a:lnTo>
                <a:lnTo>
                  <a:pt x="385" y="261"/>
                </a:lnTo>
                <a:lnTo>
                  <a:pt x="380" y="261"/>
                </a:lnTo>
                <a:lnTo>
                  <a:pt x="374" y="261"/>
                </a:lnTo>
                <a:lnTo>
                  <a:pt x="368" y="266"/>
                </a:lnTo>
                <a:lnTo>
                  <a:pt x="363" y="266"/>
                </a:lnTo>
                <a:lnTo>
                  <a:pt x="357" y="272"/>
                </a:lnTo>
                <a:lnTo>
                  <a:pt x="351" y="278"/>
                </a:lnTo>
                <a:lnTo>
                  <a:pt x="346" y="278"/>
                </a:lnTo>
                <a:lnTo>
                  <a:pt x="346" y="283"/>
                </a:lnTo>
                <a:lnTo>
                  <a:pt x="340" y="283"/>
                </a:lnTo>
                <a:lnTo>
                  <a:pt x="340" y="289"/>
                </a:lnTo>
                <a:lnTo>
                  <a:pt x="334" y="295"/>
                </a:lnTo>
                <a:lnTo>
                  <a:pt x="329" y="295"/>
                </a:lnTo>
                <a:lnTo>
                  <a:pt x="329" y="300"/>
                </a:lnTo>
                <a:lnTo>
                  <a:pt x="329" y="306"/>
                </a:lnTo>
                <a:lnTo>
                  <a:pt x="329" y="312"/>
                </a:lnTo>
                <a:lnTo>
                  <a:pt x="323" y="323"/>
                </a:lnTo>
                <a:lnTo>
                  <a:pt x="323" y="329"/>
                </a:lnTo>
                <a:lnTo>
                  <a:pt x="323" y="340"/>
                </a:lnTo>
                <a:lnTo>
                  <a:pt x="323" y="346"/>
                </a:lnTo>
                <a:lnTo>
                  <a:pt x="323" y="352"/>
                </a:lnTo>
                <a:lnTo>
                  <a:pt x="329" y="357"/>
                </a:lnTo>
                <a:lnTo>
                  <a:pt x="329" y="363"/>
                </a:lnTo>
                <a:lnTo>
                  <a:pt x="329" y="369"/>
                </a:lnTo>
                <a:lnTo>
                  <a:pt x="329" y="374"/>
                </a:lnTo>
                <a:lnTo>
                  <a:pt x="334" y="374"/>
                </a:lnTo>
                <a:lnTo>
                  <a:pt x="340" y="380"/>
                </a:lnTo>
                <a:lnTo>
                  <a:pt x="340" y="386"/>
                </a:lnTo>
                <a:lnTo>
                  <a:pt x="346" y="386"/>
                </a:lnTo>
                <a:lnTo>
                  <a:pt x="351" y="391"/>
                </a:lnTo>
                <a:lnTo>
                  <a:pt x="351" y="397"/>
                </a:lnTo>
                <a:lnTo>
                  <a:pt x="351" y="403"/>
                </a:lnTo>
                <a:lnTo>
                  <a:pt x="351" y="408"/>
                </a:lnTo>
                <a:lnTo>
                  <a:pt x="351" y="414"/>
                </a:lnTo>
                <a:lnTo>
                  <a:pt x="351" y="420"/>
                </a:lnTo>
                <a:lnTo>
                  <a:pt x="351" y="425"/>
                </a:lnTo>
                <a:lnTo>
                  <a:pt x="357" y="431"/>
                </a:lnTo>
                <a:lnTo>
                  <a:pt x="368" y="431"/>
                </a:lnTo>
                <a:lnTo>
                  <a:pt x="374" y="431"/>
                </a:lnTo>
                <a:lnTo>
                  <a:pt x="380" y="431"/>
                </a:lnTo>
                <a:lnTo>
                  <a:pt x="385" y="431"/>
                </a:lnTo>
                <a:lnTo>
                  <a:pt x="391" y="425"/>
                </a:lnTo>
                <a:lnTo>
                  <a:pt x="397" y="425"/>
                </a:lnTo>
                <a:lnTo>
                  <a:pt x="397" y="420"/>
                </a:lnTo>
                <a:lnTo>
                  <a:pt x="397" y="414"/>
                </a:lnTo>
                <a:lnTo>
                  <a:pt x="397" y="403"/>
                </a:lnTo>
                <a:lnTo>
                  <a:pt x="397" y="397"/>
                </a:lnTo>
                <a:lnTo>
                  <a:pt x="397" y="391"/>
                </a:lnTo>
                <a:lnTo>
                  <a:pt x="397" y="386"/>
                </a:lnTo>
                <a:lnTo>
                  <a:pt x="402" y="386"/>
                </a:lnTo>
                <a:lnTo>
                  <a:pt x="402" y="380"/>
                </a:lnTo>
                <a:lnTo>
                  <a:pt x="408" y="380"/>
                </a:lnTo>
                <a:lnTo>
                  <a:pt x="414" y="380"/>
                </a:lnTo>
                <a:lnTo>
                  <a:pt x="431" y="386"/>
                </a:lnTo>
                <a:lnTo>
                  <a:pt x="436" y="386"/>
                </a:lnTo>
                <a:lnTo>
                  <a:pt x="442" y="386"/>
                </a:lnTo>
                <a:lnTo>
                  <a:pt x="448" y="386"/>
                </a:lnTo>
                <a:lnTo>
                  <a:pt x="453" y="386"/>
                </a:lnTo>
                <a:lnTo>
                  <a:pt x="459" y="386"/>
                </a:lnTo>
                <a:lnTo>
                  <a:pt x="465" y="386"/>
                </a:lnTo>
                <a:lnTo>
                  <a:pt x="471" y="386"/>
                </a:lnTo>
                <a:lnTo>
                  <a:pt x="471" y="380"/>
                </a:lnTo>
                <a:lnTo>
                  <a:pt x="476" y="380"/>
                </a:lnTo>
                <a:lnTo>
                  <a:pt x="482" y="374"/>
                </a:lnTo>
                <a:lnTo>
                  <a:pt x="482" y="369"/>
                </a:lnTo>
                <a:lnTo>
                  <a:pt x="482" y="363"/>
                </a:lnTo>
                <a:lnTo>
                  <a:pt x="482" y="357"/>
                </a:lnTo>
                <a:lnTo>
                  <a:pt x="482" y="352"/>
                </a:lnTo>
                <a:lnTo>
                  <a:pt x="482" y="346"/>
                </a:lnTo>
                <a:lnTo>
                  <a:pt x="476" y="346"/>
                </a:lnTo>
                <a:lnTo>
                  <a:pt x="471" y="340"/>
                </a:lnTo>
                <a:lnTo>
                  <a:pt x="471" y="329"/>
                </a:lnTo>
                <a:lnTo>
                  <a:pt x="471" y="323"/>
                </a:lnTo>
                <a:lnTo>
                  <a:pt x="465" y="323"/>
                </a:lnTo>
                <a:lnTo>
                  <a:pt x="465" y="317"/>
                </a:lnTo>
                <a:lnTo>
                  <a:pt x="459" y="317"/>
                </a:lnTo>
                <a:lnTo>
                  <a:pt x="453" y="317"/>
                </a:lnTo>
                <a:lnTo>
                  <a:pt x="453" y="312"/>
                </a:lnTo>
                <a:lnTo>
                  <a:pt x="453" y="306"/>
                </a:lnTo>
                <a:lnTo>
                  <a:pt x="453" y="300"/>
                </a:lnTo>
                <a:lnTo>
                  <a:pt x="453" y="289"/>
                </a:lnTo>
                <a:lnTo>
                  <a:pt x="453" y="278"/>
                </a:lnTo>
                <a:lnTo>
                  <a:pt x="453" y="266"/>
                </a:lnTo>
                <a:lnTo>
                  <a:pt x="453" y="261"/>
                </a:lnTo>
                <a:lnTo>
                  <a:pt x="448" y="255"/>
                </a:lnTo>
                <a:lnTo>
                  <a:pt x="442" y="244"/>
                </a:lnTo>
                <a:lnTo>
                  <a:pt x="442" y="232"/>
                </a:lnTo>
                <a:lnTo>
                  <a:pt x="442" y="221"/>
                </a:lnTo>
                <a:lnTo>
                  <a:pt x="442" y="215"/>
                </a:lnTo>
                <a:lnTo>
                  <a:pt x="448" y="215"/>
                </a:lnTo>
                <a:lnTo>
                  <a:pt x="453" y="221"/>
                </a:lnTo>
                <a:lnTo>
                  <a:pt x="459" y="221"/>
                </a:lnTo>
                <a:lnTo>
                  <a:pt x="465" y="221"/>
                </a:lnTo>
                <a:lnTo>
                  <a:pt x="471" y="227"/>
                </a:lnTo>
                <a:lnTo>
                  <a:pt x="482" y="227"/>
                </a:lnTo>
                <a:lnTo>
                  <a:pt x="493" y="221"/>
                </a:lnTo>
                <a:lnTo>
                  <a:pt x="505" y="221"/>
                </a:lnTo>
                <a:lnTo>
                  <a:pt x="510" y="221"/>
                </a:lnTo>
                <a:lnTo>
                  <a:pt x="510" y="215"/>
                </a:lnTo>
                <a:lnTo>
                  <a:pt x="516" y="215"/>
                </a:lnTo>
                <a:lnTo>
                  <a:pt x="522" y="210"/>
                </a:lnTo>
                <a:lnTo>
                  <a:pt x="527" y="210"/>
                </a:lnTo>
                <a:lnTo>
                  <a:pt x="539" y="210"/>
                </a:lnTo>
                <a:lnTo>
                  <a:pt x="550" y="204"/>
                </a:lnTo>
                <a:lnTo>
                  <a:pt x="550" y="198"/>
                </a:lnTo>
                <a:lnTo>
                  <a:pt x="556" y="198"/>
                </a:lnTo>
                <a:lnTo>
                  <a:pt x="556" y="193"/>
                </a:lnTo>
                <a:lnTo>
                  <a:pt x="556" y="187"/>
                </a:lnTo>
                <a:lnTo>
                  <a:pt x="550" y="181"/>
                </a:lnTo>
                <a:lnTo>
                  <a:pt x="544" y="181"/>
                </a:lnTo>
                <a:lnTo>
                  <a:pt x="539" y="181"/>
                </a:lnTo>
                <a:lnTo>
                  <a:pt x="539" y="176"/>
                </a:lnTo>
                <a:lnTo>
                  <a:pt x="533" y="176"/>
                </a:lnTo>
                <a:lnTo>
                  <a:pt x="527" y="176"/>
                </a:lnTo>
                <a:lnTo>
                  <a:pt x="527" y="170"/>
                </a:lnTo>
                <a:lnTo>
                  <a:pt x="522" y="170"/>
                </a:lnTo>
                <a:lnTo>
                  <a:pt x="522" y="164"/>
                </a:lnTo>
                <a:lnTo>
                  <a:pt x="527" y="164"/>
                </a:lnTo>
                <a:lnTo>
                  <a:pt x="533" y="164"/>
                </a:lnTo>
                <a:lnTo>
                  <a:pt x="533" y="153"/>
                </a:lnTo>
                <a:lnTo>
                  <a:pt x="539" y="147"/>
                </a:lnTo>
                <a:lnTo>
                  <a:pt x="539" y="142"/>
                </a:lnTo>
                <a:lnTo>
                  <a:pt x="539" y="136"/>
                </a:lnTo>
                <a:lnTo>
                  <a:pt x="533" y="125"/>
                </a:lnTo>
                <a:lnTo>
                  <a:pt x="533" y="113"/>
                </a:lnTo>
                <a:lnTo>
                  <a:pt x="533" y="108"/>
                </a:lnTo>
                <a:lnTo>
                  <a:pt x="527" y="108"/>
                </a:lnTo>
                <a:lnTo>
                  <a:pt x="527" y="102"/>
                </a:lnTo>
                <a:lnTo>
                  <a:pt x="522" y="102"/>
                </a:lnTo>
                <a:lnTo>
                  <a:pt x="522" y="96"/>
                </a:lnTo>
                <a:lnTo>
                  <a:pt x="516" y="96"/>
                </a:lnTo>
                <a:lnTo>
                  <a:pt x="505" y="96"/>
                </a:lnTo>
                <a:lnTo>
                  <a:pt x="493" y="96"/>
                </a:lnTo>
                <a:lnTo>
                  <a:pt x="488" y="96"/>
                </a:lnTo>
                <a:lnTo>
                  <a:pt x="482" y="96"/>
                </a:lnTo>
                <a:lnTo>
                  <a:pt x="482" y="91"/>
                </a:lnTo>
                <a:lnTo>
                  <a:pt x="476" y="85"/>
                </a:lnTo>
                <a:lnTo>
                  <a:pt x="471" y="79"/>
                </a:lnTo>
                <a:lnTo>
                  <a:pt x="465" y="79"/>
                </a:lnTo>
                <a:lnTo>
                  <a:pt x="459" y="79"/>
                </a:lnTo>
                <a:lnTo>
                  <a:pt x="453" y="74"/>
                </a:lnTo>
                <a:lnTo>
                  <a:pt x="448" y="68"/>
                </a:lnTo>
                <a:lnTo>
                  <a:pt x="442" y="68"/>
                </a:lnTo>
                <a:lnTo>
                  <a:pt x="436" y="62"/>
                </a:lnTo>
                <a:lnTo>
                  <a:pt x="436" y="57"/>
                </a:lnTo>
                <a:lnTo>
                  <a:pt x="425" y="57"/>
                </a:lnTo>
                <a:lnTo>
                  <a:pt x="425" y="51"/>
                </a:lnTo>
                <a:lnTo>
                  <a:pt x="419" y="51"/>
                </a:lnTo>
                <a:lnTo>
                  <a:pt x="419" y="45"/>
                </a:lnTo>
                <a:lnTo>
                  <a:pt x="419" y="40"/>
                </a:lnTo>
                <a:lnTo>
                  <a:pt x="419" y="34"/>
                </a:lnTo>
                <a:lnTo>
                  <a:pt x="425" y="34"/>
                </a:lnTo>
                <a:lnTo>
                  <a:pt x="431" y="28"/>
                </a:lnTo>
                <a:lnTo>
                  <a:pt x="436" y="28"/>
                </a:lnTo>
                <a:lnTo>
                  <a:pt x="442" y="28"/>
                </a:lnTo>
                <a:lnTo>
                  <a:pt x="442" y="23"/>
                </a:lnTo>
                <a:lnTo>
                  <a:pt x="448" y="23"/>
                </a:lnTo>
                <a:lnTo>
                  <a:pt x="448" y="17"/>
                </a:lnTo>
                <a:lnTo>
                  <a:pt x="453" y="17"/>
                </a:lnTo>
                <a:lnTo>
                  <a:pt x="459" y="17"/>
                </a:lnTo>
                <a:lnTo>
                  <a:pt x="465" y="17"/>
                </a:lnTo>
                <a:lnTo>
                  <a:pt x="465" y="11"/>
                </a:lnTo>
                <a:lnTo>
                  <a:pt x="476" y="11"/>
                </a:lnTo>
                <a:lnTo>
                  <a:pt x="505" y="11"/>
                </a:lnTo>
                <a:lnTo>
                  <a:pt x="510" y="6"/>
                </a:lnTo>
                <a:lnTo>
                  <a:pt x="522" y="6"/>
                </a:lnTo>
                <a:lnTo>
                  <a:pt x="533" y="0"/>
                </a:lnTo>
                <a:lnTo>
                  <a:pt x="539" y="0"/>
                </a:lnTo>
                <a:lnTo>
                  <a:pt x="561" y="0"/>
                </a:lnTo>
                <a:lnTo>
                  <a:pt x="573" y="0"/>
                </a:lnTo>
                <a:lnTo>
                  <a:pt x="578" y="0"/>
                </a:lnTo>
                <a:lnTo>
                  <a:pt x="584" y="0"/>
                </a:lnTo>
                <a:lnTo>
                  <a:pt x="590" y="0"/>
                </a:lnTo>
                <a:lnTo>
                  <a:pt x="601" y="0"/>
                </a:lnTo>
                <a:lnTo>
                  <a:pt x="607" y="0"/>
                </a:lnTo>
                <a:lnTo>
                  <a:pt x="612" y="6"/>
                </a:lnTo>
                <a:lnTo>
                  <a:pt x="618" y="6"/>
                </a:lnTo>
                <a:lnTo>
                  <a:pt x="624" y="11"/>
                </a:lnTo>
                <a:lnTo>
                  <a:pt x="624" y="17"/>
                </a:lnTo>
                <a:lnTo>
                  <a:pt x="629" y="17"/>
                </a:lnTo>
                <a:lnTo>
                  <a:pt x="635" y="28"/>
                </a:lnTo>
                <a:lnTo>
                  <a:pt x="635" y="34"/>
                </a:lnTo>
                <a:lnTo>
                  <a:pt x="635" y="40"/>
                </a:lnTo>
                <a:lnTo>
                  <a:pt x="635" y="45"/>
                </a:lnTo>
                <a:lnTo>
                  <a:pt x="641" y="51"/>
                </a:lnTo>
                <a:lnTo>
                  <a:pt x="641" y="57"/>
                </a:lnTo>
                <a:lnTo>
                  <a:pt x="646" y="68"/>
                </a:lnTo>
                <a:lnTo>
                  <a:pt x="646" y="79"/>
                </a:lnTo>
                <a:lnTo>
                  <a:pt x="646" y="91"/>
                </a:lnTo>
                <a:lnTo>
                  <a:pt x="652" y="96"/>
                </a:lnTo>
                <a:lnTo>
                  <a:pt x="652" y="108"/>
                </a:lnTo>
                <a:lnTo>
                  <a:pt x="663" y="113"/>
                </a:lnTo>
                <a:lnTo>
                  <a:pt x="663" y="119"/>
                </a:lnTo>
                <a:lnTo>
                  <a:pt x="669" y="119"/>
                </a:lnTo>
                <a:lnTo>
                  <a:pt x="675" y="125"/>
                </a:lnTo>
                <a:lnTo>
                  <a:pt x="680" y="125"/>
                </a:lnTo>
                <a:lnTo>
                  <a:pt x="686" y="125"/>
                </a:lnTo>
                <a:lnTo>
                  <a:pt x="686" y="130"/>
                </a:lnTo>
                <a:lnTo>
                  <a:pt x="692" y="130"/>
                </a:lnTo>
                <a:lnTo>
                  <a:pt x="703" y="136"/>
                </a:lnTo>
                <a:lnTo>
                  <a:pt x="714" y="136"/>
                </a:lnTo>
                <a:lnTo>
                  <a:pt x="726" y="136"/>
                </a:lnTo>
                <a:lnTo>
                  <a:pt x="743" y="136"/>
                </a:lnTo>
                <a:lnTo>
                  <a:pt x="760" y="136"/>
                </a:lnTo>
                <a:lnTo>
                  <a:pt x="765" y="136"/>
                </a:lnTo>
                <a:lnTo>
                  <a:pt x="777" y="136"/>
                </a:lnTo>
                <a:lnTo>
                  <a:pt x="782" y="136"/>
                </a:lnTo>
                <a:lnTo>
                  <a:pt x="799" y="130"/>
                </a:lnTo>
                <a:lnTo>
                  <a:pt x="816" y="125"/>
                </a:lnTo>
                <a:lnTo>
                  <a:pt x="822" y="125"/>
                </a:lnTo>
                <a:lnTo>
                  <a:pt x="828" y="119"/>
                </a:lnTo>
                <a:lnTo>
                  <a:pt x="833" y="119"/>
                </a:lnTo>
                <a:lnTo>
                  <a:pt x="833" y="113"/>
                </a:lnTo>
                <a:lnTo>
                  <a:pt x="839" y="113"/>
                </a:lnTo>
                <a:lnTo>
                  <a:pt x="845" y="113"/>
                </a:lnTo>
                <a:lnTo>
                  <a:pt x="845" y="108"/>
                </a:lnTo>
                <a:lnTo>
                  <a:pt x="850" y="108"/>
                </a:lnTo>
                <a:lnTo>
                  <a:pt x="856" y="102"/>
                </a:lnTo>
                <a:lnTo>
                  <a:pt x="862" y="96"/>
                </a:lnTo>
                <a:lnTo>
                  <a:pt x="867" y="96"/>
                </a:lnTo>
                <a:lnTo>
                  <a:pt x="867" y="91"/>
                </a:lnTo>
                <a:lnTo>
                  <a:pt x="873" y="91"/>
                </a:lnTo>
                <a:lnTo>
                  <a:pt x="879" y="91"/>
                </a:lnTo>
                <a:lnTo>
                  <a:pt x="879" y="96"/>
                </a:lnTo>
                <a:lnTo>
                  <a:pt x="890" y="108"/>
                </a:lnTo>
                <a:lnTo>
                  <a:pt x="890" y="113"/>
                </a:lnTo>
                <a:lnTo>
                  <a:pt x="896" y="113"/>
                </a:lnTo>
                <a:lnTo>
                  <a:pt x="896" y="119"/>
                </a:lnTo>
                <a:lnTo>
                  <a:pt x="901" y="125"/>
                </a:lnTo>
                <a:lnTo>
                  <a:pt x="901" y="130"/>
                </a:lnTo>
                <a:lnTo>
                  <a:pt x="901" y="136"/>
                </a:lnTo>
                <a:lnTo>
                  <a:pt x="907" y="136"/>
                </a:lnTo>
                <a:lnTo>
                  <a:pt x="907" y="142"/>
                </a:lnTo>
                <a:lnTo>
                  <a:pt x="913" y="142"/>
                </a:lnTo>
                <a:lnTo>
                  <a:pt x="918" y="147"/>
                </a:lnTo>
                <a:lnTo>
                  <a:pt x="918" y="153"/>
                </a:lnTo>
                <a:lnTo>
                  <a:pt x="918" y="159"/>
                </a:lnTo>
                <a:lnTo>
                  <a:pt x="924" y="164"/>
                </a:lnTo>
                <a:lnTo>
                  <a:pt x="924" y="170"/>
                </a:lnTo>
                <a:lnTo>
                  <a:pt x="930" y="176"/>
                </a:lnTo>
                <a:lnTo>
                  <a:pt x="924" y="176"/>
                </a:lnTo>
                <a:lnTo>
                  <a:pt x="918" y="181"/>
                </a:lnTo>
                <a:lnTo>
                  <a:pt x="918" y="187"/>
                </a:lnTo>
                <a:lnTo>
                  <a:pt x="913" y="193"/>
                </a:lnTo>
                <a:lnTo>
                  <a:pt x="907" y="198"/>
                </a:lnTo>
                <a:lnTo>
                  <a:pt x="907" y="204"/>
                </a:lnTo>
                <a:lnTo>
                  <a:pt x="907" y="210"/>
                </a:lnTo>
                <a:lnTo>
                  <a:pt x="907" y="215"/>
                </a:lnTo>
                <a:lnTo>
                  <a:pt x="907" y="221"/>
                </a:lnTo>
                <a:lnTo>
                  <a:pt x="901" y="227"/>
                </a:lnTo>
                <a:lnTo>
                  <a:pt x="901" y="232"/>
                </a:lnTo>
                <a:lnTo>
                  <a:pt x="901" y="238"/>
                </a:lnTo>
                <a:lnTo>
                  <a:pt x="907" y="238"/>
                </a:lnTo>
                <a:lnTo>
                  <a:pt x="907" y="244"/>
                </a:lnTo>
                <a:lnTo>
                  <a:pt x="907" y="249"/>
                </a:lnTo>
                <a:lnTo>
                  <a:pt x="913" y="249"/>
                </a:lnTo>
                <a:lnTo>
                  <a:pt x="913" y="261"/>
                </a:lnTo>
                <a:lnTo>
                  <a:pt x="907" y="261"/>
                </a:lnTo>
                <a:lnTo>
                  <a:pt x="907" y="266"/>
                </a:lnTo>
                <a:lnTo>
                  <a:pt x="913" y="278"/>
                </a:lnTo>
                <a:lnTo>
                  <a:pt x="913" y="283"/>
                </a:lnTo>
                <a:lnTo>
                  <a:pt x="907" y="283"/>
                </a:lnTo>
                <a:lnTo>
                  <a:pt x="907" y="289"/>
                </a:lnTo>
                <a:lnTo>
                  <a:pt x="901" y="295"/>
                </a:lnTo>
                <a:lnTo>
                  <a:pt x="901" y="300"/>
                </a:lnTo>
                <a:lnTo>
                  <a:pt x="901" y="306"/>
                </a:lnTo>
                <a:lnTo>
                  <a:pt x="901" y="312"/>
                </a:lnTo>
                <a:lnTo>
                  <a:pt x="901" y="317"/>
                </a:lnTo>
                <a:lnTo>
                  <a:pt x="901" y="323"/>
                </a:lnTo>
                <a:lnTo>
                  <a:pt x="907" y="323"/>
                </a:lnTo>
                <a:lnTo>
                  <a:pt x="913" y="323"/>
                </a:lnTo>
                <a:lnTo>
                  <a:pt x="913" y="329"/>
                </a:lnTo>
                <a:lnTo>
                  <a:pt x="918" y="329"/>
                </a:lnTo>
                <a:lnTo>
                  <a:pt x="918" y="334"/>
                </a:lnTo>
                <a:lnTo>
                  <a:pt x="918" y="340"/>
                </a:lnTo>
                <a:lnTo>
                  <a:pt x="918" y="346"/>
                </a:lnTo>
                <a:lnTo>
                  <a:pt x="918" y="352"/>
                </a:lnTo>
                <a:lnTo>
                  <a:pt x="924" y="352"/>
                </a:lnTo>
                <a:lnTo>
                  <a:pt x="930" y="352"/>
                </a:lnTo>
                <a:lnTo>
                  <a:pt x="935" y="352"/>
                </a:lnTo>
                <a:lnTo>
                  <a:pt x="941" y="352"/>
                </a:lnTo>
                <a:lnTo>
                  <a:pt x="947" y="352"/>
                </a:lnTo>
                <a:lnTo>
                  <a:pt x="947" y="346"/>
                </a:lnTo>
                <a:lnTo>
                  <a:pt x="952" y="346"/>
                </a:lnTo>
                <a:lnTo>
                  <a:pt x="958" y="334"/>
                </a:lnTo>
                <a:lnTo>
                  <a:pt x="958" y="329"/>
                </a:lnTo>
                <a:lnTo>
                  <a:pt x="964" y="329"/>
                </a:lnTo>
                <a:lnTo>
                  <a:pt x="964" y="323"/>
                </a:lnTo>
                <a:lnTo>
                  <a:pt x="964" y="317"/>
                </a:lnTo>
                <a:lnTo>
                  <a:pt x="969" y="317"/>
                </a:lnTo>
                <a:lnTo>
                  <a:pt x="975" y="317"/>
                </a:lnTo>
                <a:lnTo>
                  <a:pt x="975" y="312"/>
                </a:lnTo>
                <a:lnTo>
                  <a:pt x="981" y="312"/>
                </a:lnTo>
                <a:lnTo>
                  <a:pt x="981" y="306"/>
                </a:lnTo>
                <a:lnTo>
                  <a:pt x="986" y="306"/>
                </a:lnTo>
                <a:lnTo>
                  <a:pt x="992" y="306"/>
                </a:lnTo>
                <a:lnTo>
                  <a:pt x="992" y="300"/>
                </a:lnTo>
                <a:lnTo>
                  <a:pt x="992" y="295"/>
                </a:lnTo>
                <a:lnTo>
                  <a:pt x="998" y="295"/>
                </a:lnTo>
                <a:lnTo>
                  <a:pt x="1009" y="289"/>
                </a:lnTo>
                <a:lnTo>
                  <a:pt x="1009" y="283"/>
                </a:lnTo>
                <a:lnTo>
                  <a:pt x="1015" y="283"/>
                </a:lnTo>
                <a:lnTo>
                  <a:pt x="1015" y="278"/>
                </a:lnTo>
                <a:lnTo>
                  <a:pt x="1020" y="278"/>
                </a:lnTo>
                <a:lnTo>
                  <a:pt x="1026" y="278"/>
                </a:lnTo>
                <a:lnTo>
                  <a:pt x="1026" y="272"/>
                </a:lnTo>
                <a:lnTo>
                  <a:pt x="1032" y="272"/>
                </a:lnTo>
                <a:lnTo>
                  <a:pt x="1032" y="266"/>
                </a:lnTo>
                <a:lnTo>
                  <a:pt x="1037" y="266"/>
                </a:lnTo>
                <a:lnTo>
                  <a:pt x="1043" y="266"/>
                </a:lnTo>
                <a:lnTo>
                  <a:pt x="1043" y="272"/>
                </a:lnTo>
                <a:lnTo>
                  <a:pt x="1049" y="272"/>
                </a:lnTo>
                <a:lnTo>
                  <a:pt x="1049" y="278"/>
                </a:lnTo>
                <a:lnTo>
                  <a:pt x="1049" y="283"/>
                </a:lnTo>
                <a:lnTo>
                  <a:pt x="1054" y="289"/>
                </a:lnTo>
                <a:lnTo>
                  <a:pt x="1060" y="295"/>
                </a:lnTo>
                <a:lnTo>
                  <a:pt x="1066" y="289"/>
                </a:lnTo>
                <a:lnTo>
                  <a:pt x="1071" y="289"/>
                </a:lnTo>
                <a:lnTo>
                  <a:pt x="1077" y="289"/>
                </a:lnTo>
                <a:lnTo>
                  <a:pt x="1083" y="289"/>
                </a:lnTo>
                <a:lnTo>
                  <a:pt x="1083" y="283"/>
                </a:lnTo>
                <a:lnTo>
                  <a:pt x="1088" y="283"/>
                </a:lnTo>
                <a:lnTo>
                  <a:pt x="1100" y="283"/>
                </a:lnTo>
                <a:lnTo>
                  <a:pt x="1100" y="278"/>
                </a:lnTo>
                <a:lnTo>
                  <a:pt x="1111" y="278"/>
                </a:lnTo>
                <a:lnTo>
                  <a:pt x="1128" y="278"/>
                </a:lnTo>
                <a:lnTo>
                  <a:pt x="1128" y="272"/>
                </a:lnTo>
                <a:lnTo>
                  <a:pt x="1122" y="266"/>
                </a:lnTo>
                <a:lnTo>
                  <a:pt x="1117" y="266"/>
                </a:lnTo>
                <a:lnTo>
                  <a:pt x="1117" y="261"/>
                </a:lnTo>
                <a:lnTo>
                  <a:pt x="1122" y="261"/>
                </a:lnTo>
                <a:lnTo>
                  <a:pt x="1128" y="261"/>
                </a:lnTo>
                <a:lnTo>
                  <a:pt x="1128" y="255"/>
                </a:lnTo>
                <a:lnTo>
                  <a:pt x="1134" y="255"/>
                </a:lnTo>
                <a:lnTo>
                  <a:pt x="1145" y="255"/>
                </a:lnTo>
                <a:lnTo>
                  <a:pt x="1151" y="261"/>
                </a:lnTo>
                <a:lnTo>
                  <a:pt x="1156" y="261"/>
                </a:lnTo>
                <a:lnTo>
                  <a:pt x="1162" y="261"/>
                </a:lnTo>
                <a:lnTo>
                  <a:pt x="1162" y="266"/>
                </a:lnTo>
                <a:lnTo>
                  <a:pt x="1168" y="272"/>
                </a:lnTo>
                <a:lnTo>
                  <a:pt x="1168" y="278"/>
                </a:lnTo>
                <a:lnTo>
                  <a:pt x="1162" y="278"/>
                </a:lnTo>
                <a:lnTo>
                  <a:pt x="1162" y="283"/>
                </a:lnTo>
                <a:lnTo>
                  <a:pt x="1162" y="289"/>
                </a:lnTo>
                <a:lnTo>
                  <a:pt x="1162" y="295"/>
                </a:lnTo>
                <a:lnTo>
                  <a:pt x="1168" y="295"/>
                </a:lnTo>
                <a:lnTo>
                  <a:pt x="1173" y="295"/>
                </a:lnTo>
                <a:lnTo>
                  <a:pt x="1185" y="295"/>
                </a:lnTo>
                <a:lnTo>
                  <a:pt x="1190" y="295"/>
                </a:lnTo>
                <a:lnTo>
                  <a:pt x="1190" y="300"/>
                </a:lnTo>
                <a:lnTo>
                  <a:pt x="1196" y="306"/>
                </a:lnTo>
                <a:lnTo>
                  <a:pt x="1202" y="306"/>
                </a:lnTo>
                <a:lnTo>
                  <a:pt x="1202" y="317"/>
                </a:lnTo>
                <a:lnTo>
                  <a:pt x="1202" y="323"/>
                </a:lnTo>
                <a:lnTo>
                  <a:pt x="1202" y="329"/>
                </a:lnTo>
                <a:lnTo>
                  <a:pt x="1196" y="334"/>
                </a:lnTo>
                <a:lnTo>
                  <a:pt x="1196" y="340"/>
                </a:lnTo>
                <a:lnTo>
                  <a:pt x="1190" y="346"/>
                </a:lnTo>
                <a:lnTo>
                  <a:pt x="1190" y="352"/>
                </a:lnTo>
                <a:lnTo>
                  <a:pt x="1196" y="352"/>
                </a:lnTo>
                <a:lnTo>
                  <a:pt x="1202" y="357"/>
                </a:lnTo>
                <a:lnTo>
                  <a:pt x="1207" y="357"/>
                </a:lnTo>
                <a:lnTo>
                  <a:pt x="1213" y="357"/>
                </a:lnTo>
                <a:lnTo>
                  <a:pt x="1219" y="357"/>
                </a:lnTo>
                <a:lnTo>
                  <a:pt x="1224" y="357"/>
                </a:lnTo>
                <a:lnTo>
                  <a:pt x="1230" y="363"/>
                </a:lnTo>
                <a:lnTo>
                  <a:pt x="1236" y="369"/>
                </a:lnTo>
                <a:lnTo>
                  <a:pt x="1236" y="374"/>
                </a:lnTo>
                <a:lnTo>
                  <a:pt x="1241" y="374"/>
                </a:lnTo>
                <a:lnTo>
                  <a:pt x="1241" y="380"/>
                </a:lnTo>
                <a:lnTo>
                  <a:pt x="1236" y="386"/>
                </a:lnTo>
                <a:lnTo>
                  <a:pt x="1236" y="391"/>
                </a:lnTo>
                <a:lnTo>
                  <a:pt x="1230" y="391"/>
                </a:lnTo>
                <a:lnTo>
                  <a:pt x="1230" y="397"/>
                </a:lnTo>
                <a:lnTo>
                  <a:pt x="1224" y="397"/>
                </a:lnTo>
                <a:lnTo>
                  <a:pt x="1219" y="403"/>
                </a:lnTo>
                <a:lnTo>
                  <a:pt x="1213" y="408"/>
                </a:lnTo>
                <a:lnTo>
                  <a:pt x="1213" y="414"/>
                </a:lnTo>
                <a:lnTo>
                  <a:pt x="1207" y="414"/>
                </a:lnTo>
                <a:lnTo>
                  <a:pt x="1202" y="414"/>
                </a:lnTo>
                <a:lnTo>
                  <a:pt x="1202" y="420"/>
                </a:lnTo>
                <a:lnTo>
                  <a:pt x="1196" y="420"/>
                </a:lnTo>
                <a:lnTo>
                  <a:pt x="1196" y="425"/>
                </a:lnTo>
                <a:lnTo>
                  <a:pt x="1190" y="431"/>
                </a:lnTo>
                <a:lnTo>
                  <a:pt x="1185" y="431"/>
                </a:lnTo>
                <a:lnTo>
                  <a:pt x="1185" y="437"/>
                </a:lnTo>
                <a:lnTo>
                  <a:pt x="1185" y="442"/>
                </a:lnTo>
                <a:lnTo>
                  <a:pt x="1185" y="448"/>
                </a:lnTo>
                <a:lnTo>
                  <a:pt x="1190" y="448"/>
                </a:lnTo>
                <a:lnTo>
                  <a:pt x="1190" y="454"/>
                </a:lnTo>
                <a:lnTo>
                  <a:pt x="1202" y="459"/>
                </a:lnTo>
                <a:lnTo>
                  <a:pt x="1207" y="465"/>
                </a:lnTo>
                <a:lnTo>
                  <a:pt x="1213" y="471"/>
                </a:lnTo>
                <a:lnTo>
                  <a:pt x="1219" y="471"/>
                </a:lnTo>
                <a:lnTo>
                  <a:pt x="1224" y="471"/>
                </a:lnTo>
                <a:lnTo>
                  <a:pt x="1230" y="471"/>
                </a:lnTo>
                <a:lnTo>
                  <a:pt x="1241" y="471"/>
                </a:lnTo>
                <a:lnTo>
                  <a:pt x="1247" y="471"/>
                </a:lnTo>
                <a:lnTo>
                  <a:pt x="1258" y="476"/>
                </a:lnTo>
                <a:lnTo>
                  <a:pt x="1270" y="476"/>
                </a:lnTo>
                <a:lnTo>
                  <a:pt x="1275" y="476"/>
                </a:lnTo>
                <a:lnTo>
                  <a:pt x="1281" y="476"/>
                </a:lnTo>
                <a:lnTo>
                  <a:pt x="1287" y="476"/>
                </a:lnTo>
                <a:lnTo>
                  <a:pt x="1298" y="471"/>
                </a:lnTo>
                <a:lnTo>
                  <a:pt x="1304" y="471"/>
                </a:lnTo>
                <a:lnTo>
                  <a:pt x="1309" y="471"/>
                </a:lnTo>
                <a:lnTo>
                  <a:pt x="1315" y="476"/>
                </a:lnTo>
                <a:lnTo>
                  <a:pt x="1321" y="476"/>
                </a:lnTo>
                <a:lnTo>
                  <a:pt x="1321" y="482"/>
                </a:lnTo>
                <a:lnTo>
                  <a:pt x="1326" y="482"/>
                </a:lnTo>
                <a:lnTo>
                  <a:pt x="1326" y="488"/>
                </a:lnTo>
                <a:lnTo>
                  <a:pt x="1326" y="493"/>
                </a:lnTo>
                <a:lnTo>
                  <a:pt x="1321" y="505"/>
                </a:lnTo>
                <a:lnTo>
                  <a:pt x="1321" y="510"/>
                </a:lnTo>
                <a:lnTo>
                  <a:pt x="1326" y="516"/>
                </a:lnTo>
                <a:lnTo>
                  <a:pt x="1326" y="527"/>
                </a:lnTo>
                <a:lnTo>
                  <a:pt x="1326" y="539"/>
                </a:lnTo>
                <a:lnTo>
                  <a:pt x="1326" y="544"/>
                </a:lnTo>
                <a:lnTo>
                  <a:pt x="1326" y="550"/>
                </a:lnTo>
                <a:lnTo>
                  <a:pt x="1326" y="556"/>
                </a:lnTo>
                <a:lnTo>
                  <a:pt x="1321" y="556"/>
                </a:lnTo>
                <a:lnTo>
                  <a:pt x="1315" y="561"/>
                </a:lnTo>
                <a:lnTo>
                  <a:pt x="1309" y="567"/>
                </a:lnTo>
                <a:lnTo>
                  <a:pt x="1304" y="567"/>
                </a:lnTo>
                <a:lnTo>
                  <a:pt x="1298" y="567"/>
                </a:lnTo>
                <a:lnTo>
                  <a:pt x="1298" y="573"/>
                </a:lnTo>
                <a:lnTo>
                  <a:pt x="1298" y="578"/>
                </a:lnTo>
                <a:lnTo>
                  <a:pt x="1304" y="584"/>
                </a:lnTo>
                <a:lnTo>
                  <a:pt x="1309" y="584"/>
                </a:lnTo>
                <a:lnTo>
                  <a:pt x="1315" y="584"/>
                </a:lnTo>
                <a:lnTo>
                  <a:pt x="1321" y="584"/>
                </a:lnTo>
                <a:lnTo>
                  <a:pt x="1326" y="584"/>
                </a:lnTo>
                <a:lnTo>
                  <a:pt x="1326" y="590"/>
                </a:lnTo>
                <a:lnTo>
                  <a:pt x="1321" y="590"/>
                </a:lnTo>
                <a:lnTo>
                  <a:pt x="1321" y="595"/>
                </a:lnTo>
                <a:lnTo>
                  <a:pt x="1315" y="595"/>
                </a:lnTo>
                <a:lnTo>
                  <a:pt x="1315" y="601"/>
                </a:lnTo>
                <a:lnTo>
                  <a:pt x="1321" y="607"/>
                </a:lnTo>
                <a:lnTo>
                  <a:pt x="1326" y="607"/>
                </a:lnTo>
                <a:lnTo>
                  <a:pt x="1326" y="612"/>
                </a:lnTo>
                <a:lnTo>
                  <a:pt x="1332" y="612"/>
                </a:lnTo>
                <a:lnTo>
                  <a:pt x="1338" y="612"/>
                </a:lnTo>
                <a:lnTo>
                  <a:pt x="1338" y="618"/>
                </a:lnTo>
                <a:lnTo>
                  <a:pt x="1343" y="618"/>
                </a:lnTo>
                <a:lnTo>
                  <a:pt x="1343" y="624"/>
                </a:lnTo>
                <a:lnTo>
                  <a:pt x="1338" y="624"/>
                </a:lnTo>
                <a:lnTo>
                  <a:pt x="1332" y="624"/>
                </a:lnTo>
                <a:lnTo>
                  <a:pt x="1332" y="629"/>
                </a:lnTo>
                <a:lnTo>
                  <a:pt x="1326" y="635"/>
                </a:lnTo>
                <a:lnTo>
                  <a:pt x="1326" y="641"/>
                </a:lnTo>
                <a:lnTo>
                  <a:pt x="1326" y="646"/>
                </a:lnTo>
                <a:lnTo>
                  <a:pt x="1321" y="652"/>
                </a:lnTo>
                <a:lnTo>
                  <a:pt x="1315" y="652"/>
                </a:lnTo>
                <a:lnTo>
                  <a:pt x="1315" y="658"/>
                </a:lnTo>
                <a:lnTo>
                  <a:pt x="1309" y="658"/>
                </a:lnTo>
                <a:lnTo>
                  <a:pt x="1304" y="663"/>
                </a:lnTo>
                <a:lnTo>
                  <a:pt x="1304" y="669"/>
                </a:lnTo>
                <a:lnTo>
                  <a:pt x="1298" y="669"/>
                </a:lnTo>
                <a:lnTo>
                  <a:pt x="1298" y="675"/>
                </a:lnTo>
                <a:lnTo>
                  <a:pt x="1298" y="680"/>
                </a:lnTo>
                <a:lnTo>
                  <a:pt x="1298" y="686"/>
                </a:lnTo>
                <a:lnTo>
                  <a:pt x="1298" y="692"/>
                </a:lnTo>
                <a:lnTo>
                  <a:pt x="1298" y="697"/>
                </a:lnTo>
                <a:lnTo>
                  <a:pt x="1304" y="697"/>
                </a:lnTo>
                <a:lnTo>
                  <a:pt x="1315" y="697"/>
                </a:lnTo>
                <a:lnTo>
                  <a:pt x="1321" y="697"/>
                </a:lnTo>
                <a:lnTo>
                  <a:pt x="1321" y="703"/>
                </a:lnTo>
                <a:lnTo>
                  <a:pt x="1321" y="709"/>
                </a:lnTo>
                <a:lnTo>
                  <a:pt x="1315" y="714"/>
                </a:lnTo>
                <a:lnTo>
                  <a:pt x="1315" y="720"/>
                </a:lnTo>
                <a:lnTo>
                  <a:pt x="1309" y="720"/>
                </a:lnTo>
                <a:lnTo>
                  <a:pt x="1315" y="726"/>
                </a:lnTo>
                <a:lnTo>
                  <a:pt x="1321" y="726"/>
                </a:lnTo>
                <a:lnTo>
                  <a:pt x="1326" y="726"/>
                </a:lnTo>
                <a:lnTo>
                  <a:pt x="1332" y="726"/>
                </a:lnTo>
                <a:lnTo>
                  <a:pt x="1338" y="720"/>
                </a:lnTo>
                <a:lnTo>
                  <a:pt x="1343" y="720"/>
                </a:lnTo>
                <a:lnTo>
                  <a:pt x="1349" y="720"/>
                </a:lnTo>
                <a:lnTo>
                  <a:pt x="1355" y="720"/>
                </a:lnTo>
                <a:lnTo>
                  <a:pt x="1366" y="720"/>
                </a:lnTo>
                <a:lnTo>
                  <a:pt x="1361" y="726"/>
                </a:lnTo>
                <a:lnTo>
                  <a:pt x="1355" y="731"/>
                </a:lnTo>
                <a:lnTo>
                  <a:pt x="1292" y="811"/>
                </a:lnTo>
                <a:lnTo>
                  <a:pt x="1287" y="805"/>
                </a:lnTo>
                <a:lnTo>
                  <a:pt x="1270" y="794"/>
                </a:lnTo>
                <a:lnTo>
                  <a:pt x="1230" y="760"/>
                </a:lnTo>
                <a:lnTo>
                  <a:pt x="1224" y="760"/>
                </a:lnTo>
                <a:lnTo>
                  <a:pt x="1207" y="760"/>
                </a:lnTo>
                <a:lnTo>
                  <a:pt x="1173" y="754"/>
                </a:lnTo>
                <a:lnTo>
                  <a:pt x="1151" y="760"/>
                </a:lnTo>
                <a:lnTo>
                  <a:pt x="1151" y="782"/>
                </a:lnTo>
                <a:lnTo>
                  <a:pt x="1145" y="879"/>
                </a:lnTo>
                <a:lnTo>
                  <a:pt x="1139" y="1043"/>
                </a:lnTo>
                <a:lnTo>
                  <a:pt x="1162" y="1043"/>
                </a:lnTo>
                <a:lnTo>
                  <a:pt x="1162" y="1049"/>
                </a:lnTo>
                <a:lnTo>
                  <a:pt x="1162" y="1054"/>
                </a:lnTo>
                <a:lnTo>
                  <a:pt x="1162" y="1060"/>
                </a:lnTo>
                <a:lnTo>
                  <a:pt x="1156" y="1060"/>
                </a:lnTo>
                <a:lnTo>
                  <a:pt x="1156" y="1066"/>
                </a:lnTo>
                <a:lnTo>
                  <a:pt x="1156" y="1071"/>
                </a:lnTo>
                <a:lnTo>
                  <a:pt x="1151" y="1071"/>
                </a:lnTo>
                <a:lnTo>
                  <a:pt x="1145" y="1071"/>
                </a:lnTo>
                <a:lnTo>
                  <a:pt x="1145" y="1077"/>
                </a:lnTo>
                <a:lnTo>
                  <a:pt x="1145" y="1083"/>
                </a:lnTo>
                <a:lnTo>
                  <a:pt x="1139" y="1088"/>
                </a:lnTo>
                <a:lnTo>
                  <a:pt x="1134" y="1100"/>
                </a:lnTo>
                <a:lnTo>
                  <a:pt x="1128" y="1105"/>
                </a:lnTo>
                <a:lnTo>
                  <a:pt x="1128" y="1111"/>
                </a:lnTo>
                <a:lnTo>
                  <a:pt x="1122" y="1117"/>
                </a:lnTo>
                <a:lnTo>
                  <a:pt x="1117" y="1117"/>
                </a:lnTo>
                <a:lnTo>
                  <a:pt x="1111" y="1117"/>
                </a:lnTo>
                <a:lnTo>
                  <a:pt x="1105" y="1111"/>
                </a:lnTo>
                <a:lnTo>
                  <a:pt x="1100" y="1111"/>
                </a:lnTo>
                <a:lnTo>
                  <a:pt x="1100" y="1105"/>
                </a:lnTo>
                <a:lnTo>
                  <a:pt x="1100" y="1100"/>
                </a:lnTo>
                <a:lnTo>
                  <a:pt x="1094" y="1094"/>
                </a:lnTo>
                <a:lnTo>
                  <a:pt x="1088" y="1088"/>
                </a:lnTo>
                <a:lnTo>
                  <a:pt x="1083" y="1083"/>
                </a:lnTo>
                <a:lnTo>
                  <a:pt x="1077" y="1083"/>
                </a:lnTo>
                <a:lnTo>
                  <a:pt x="1077" y="1077"/>
                </a:lnTo>
                <a:lnTo>
                  <a:pt x="1071" y="1077"/>
                </a:lnTo>
                <a:lnTo>
                  <a:pt x="1071" y="1071"/>
                </a:lnTo>
                <a:lnTo>
                  <a:pt x="1066" y="1071"/>
                </a:lnTo>
                <a:lnTo>
                  <a:pt x="1060" y="1066"/>
                </a:lnTo>
                <a:lnTo>
                  <a:pt x="1054" y="1066"/>
                </a:lnTo>
                <a:lnTo>
                  <a:pt x="1054" y="1060"/>
                </a:lnTo>
                <a:lnTo>
                  <a:pt x="1049" y="1060"/>
                </a:lnTo>
                <a:lnTo>
                  <a:pt x="1043" y="1054"/>
                </a:lnTo>
                <a:lnTo>
                  <a:pt x="1037" y="1054"/>
                </a:lnTo>
                <a:lnTo>
                  <a:pt x="1037" y="1049"/>
                </a:lnTo>
                <a:lnTo>
                  <a:pt x="1032" y="1043"/>
                </a:lnTo>
                <a:lnTo>
                  <a:pt x="1026" y="1043"/>
                </a:lnTo>
                <a:lnTo>
                  <a:pt x="1026" y="1037"/>
                </a:lnTo>
                <a:lnTo>
                  <a:pt x="1020" y="1032"/>
                </a:lnTo>
                <a:lnTo>
                  <a:pt x="1020" y="1020"/>
                </a:lnTo>
                <a:lnTo>
                  <a:pt x="1020" y="1015"/>
                </a:lnTo>
                <a:lnTo>
                  <a:pt x="1015" y="1009"/>
                </a:lnTo>
                <a:lnTo>
                  <a:pt x="1015" y="1003"/>
                </a:lnTo>
                <a:lnTo>
                  <a:pt x="1009" y="1003"/>
                </a:lnTo>
                <a:lnTo>
                  <a:pt x="1009" y="998"/>
                </a:lnTo>
                <a:lnTo>
                  <a:pt x="1009" y="992"/>
                </a:lnTo>
                <a:lnTo>
                  <a:pt x="1009" y="986"/>
                </a:lnTo>
                <a:lnTo>
                  <a:pt x="1003" y="981"/>
                </a:lnTo>
                <a:lnTo>
                  <a:pt x="1003" y="975"/>
                </a:lnTo>
                <a:lnTo>
                  <a:pt x="1003" y="969"/>
                </a:lnTo>
                <a:lnTo>
                  <a:pt x="1003" y="964"/>
                </a:lnTo>
                <a:lnTo>
                  <a:pt x="998" y="964"/>
                </a:lnTo>
                <a:lnTo>
                  <a:pt x="998" y="958"/>
                </a:lnTo>
                <a:lnTo>
                  <a:pt x="992" y="958"/>
                </a:lnTo>
                <a:lnTo>
                  <a:pt x="992" y="952"/>
                </a:lnTo>
                <a:lnTo>
                  <a:pt x="986" y="952"/>
                </a:lnTo>
                <a:lnTo>
                  <a:pt x="981" y="947"/>
                </a:lnTo>
                <a:lnTo>
                  <a:pt x="975" y="941"/>
                </a:lnTo>
                <a:lnTo>
                  <a:pt x="964" y="935"/>
                </a:lnTo>
                <a:lnTo>
                  <a:pt x="958" y="935"/>
                </a:lnTo>
                <a:lnTo>
                  <a:pt x="952" y="935"/>
                </a:lnTo>
                <a:lnTo>
                  <a:pt x="947" y="935"/>
                </a:lnTo>
                <a:lnTo>
                  <a:pt x="935" y="941"/>
                </a:lnTo>
                <a:lnTo>
                  <a:pt x="935" y="935"/>
                </a:lnTo>
                <a:lnTo>
                  <a:pt x="935" y="941"/>
                </a:lnTo>
                <a:lnTo>
                  <a:pt x="930" y="941"/>
                </a:lnTo>
                <a:lnTo>
                  <a:pt x="924" y="941"/>
                </a:lnTo>
                <a:lnTo>
                  <a:pt x="918" y="935"/>
                </a:lnTo>
                <a:lnTo>
                  <a:pt x="913" y="935"/>
                </a:lnTo>
                <a:lnTo>
                  <a:pt x="907" y="935"/>
                </a:lnTo>
                <a:lnTo>
                  <a:pt x="907" y="930"/>
                </a:lnTo>
                <a:lnTo>
                  <a:pt x="901" y="930"/>
                </a:lnTo>
                <a:lnTo>
                  <a:pt x="896" y="930"/>
                </a:lnTo>
                <a:lnTo>
                  <a:pt x="890" y="924"/>
                </a:lnTo>
                <a:lnTo>
                  <a:pt x="884" y="924"/>
                </a:lnTo>
                <a:lnTo>
                  <a:pt x="879" y="930"/>
                </a:lnTo>
                <a:lnTo>
                  <a:pt x="867" y="930"/>
                </a:lnTo>
                <a:lnTo>
                  <a:pt x="862" y="930"/>
                </a:lnTo>
                <a:lnTo>
                  <a:pt x="850" y="935"/>
                </a:lnTo>
                <a:lnTo>
                  <a:pt x="845" y="935"/>
                </a:lnTo>
                <a:lnTo>
                  <a:pt x="839" y="930"/>
                </a:lnTo>
                <a:lnTo>
                  <a:pt x="822" y="930"/>
                </a:lnTo>
                <a:lnTo>
                  <a:pt x="822" y="935"/>
                </a:lnTo>
                <a:lnTo>
                  <a:pt x="799" y="935"/>
                </a:lnTo>
                <a:lnTo>
                  <a:pt x="794" y="930"/>
                </a:lnTo>
                <a:lnTo>
                  <a:pt x="782" y="930"/>
                </a:lnTo>
                <a:lnTo>
                  <a:pt x="777" y="930"/>
                </a:lnTo>
                <a:lnTo>
                  <a:pt x="777" y="924"/>
                </a:lnTo>
                <a:lnTo>
                  <a:pt x="777" y="918"/>
                </a:lnTo>
                <a:lnTo>
                  <a:pt x="771" y="918"/>
                </a:lnTo>
                <a:lnTo>
                  <a:pt x="771" y="913"/>
                </a:lnTo>
                <a:lnTo>
                  <a:pt x="765" y="913"/>
                </a:lnTo>
                <a:lnTo>
                  <a:pt x="765" y="907"/>
                </a:lnTo>
                <a:lnTo>
                  <a:pt x="754" y="901"/>
                </a:lnTo>
                <a:lnTo>
                  <a:pt x="748" y="901"/>
                </a:lnTo>
                <a:lnTo>
                  <a:pt x="737" y="901"/>
                </a:lnTo>
                <a:lnTo>
                  <a:pt x="731" y="896"/>
                </a:lnTo>
                <a:lnTo>
                  <a:pt x="726" y="896"/>
                </a:lnTo>
                <a:lnTo>
                  <a:pt x="726" y="890"/>
                </a:lnTo>
                <a:lnTo>
                  <a:pt x="720" y="890"/>
                </a:lnTo>
                <a:lnTo>
                  <a:pt x="714" y="884"/>
                </a:lnTo>
                <a:lnTo>
                  <a:pt x="709" y="879"/>
                </a:lnTo>
                <a:lnTo>
                  <a:pt x="692" y="867"/>
                </a:lnTo>
                <a:lnTo>
                  <a:pt x="686" y="867"/>
                </a:lnTo>
                <a:lnTo>
                  <a:pt x="680" y="862"/>
                </a:lnTo>
                <a:lnTo>
                  <a:pt x="675" y="856"/>
                </a:lnTo>
                <a:lnTo>
                  <a:pt x="669" y="856"/>
                </a:lnTo>
                <a:lnTo>
                  <a:pt x="663" y="850"/>
                </a:lnTo>
                <a:lnTo>
                  <a:pt x="658" y="850"/>
                </a:lnTo>
                <a:lnTo>
                  <a:pt x="652" y="845"/>
                </a:lnTo>
                <a:lnTo>
                  <a:pt x="635" y="845"/>
                </a:lnTo>
                <a:lnTo>
                  <a:pt x="624" y="839"/>
                </a:lnTo>
                <a:lnTo>
                  <a:pt x="618" y="839"/>
                </a:lnTo>
                <a:lnTo>
                  <a:pt x="601" y="833"/>
                </a:lnTo>
                <a:lnTo>
                  <a:pt x="595" y="833"/>
                </a:lnTo>
                <a:lnTo>
                  <a:pt x="590" y="833"/>
                </a:lnTo>
                <a:lnTo>
                  <a:pt x="584" y="833"/>
                </a:lnTo>
                <a:lnTo>
                  <a:pt x="578" y="828"/>
                </a:lnTo>
                <a:lnTo>
                  <a:pt x="573" y="822"/>
                </a:lnTo>
                <a:lnTo>
                  <a:pt x="567" y="816"/>
                </a:lnTo>
                <a:lnTo>
                  <a:pt x="567" y="811"/>
                </a:lnTo>
                <a:lnTo>
                  <a:pt x="567" y="805"/>
                </a:lnTo>
                <a:lnTo>
                  <a:pt x="561" y="805"/>
                </a:lnTo>
                <a:lnTo>
                  <a:pt x="556" y="805"/>
                </a:lnTo>
                <a:lnTo>
                  <a:pt x="556" y="799"/>
                </a:lnTo>
                <a:lnTo>
                  <a:pt x="550" y="794"/>
                </a:lnTo>
                <a:lnTo>
                  <a:pt x="544" y="794"/>
                </a:lnTo>
                <a:lnTo>
                  <a:pt x="539" y="794"/>
                </a:lnTo>
                <a:lnTo>
                  <a:pt x="539" y="788"/>
                </a:lnTo>
                <a:lnTo>
                  <a:pt x="539" y="782"/>
                </a:lnTo>
                <a:lnTo>
                  <a:pt x="533" y="782"/>
                </a:lnTo>
                <a:lnTo>
                  <a:pt x="527" y="777"/>
                </a:lnTo>
                <a:lnTo>
                  <a:pt x="522" y="777"/>
                </a:lnTo>
                <a:lnTo>
                  <a:pt x="516" y="771"/>
                </a:lnTo>
                <a:lnTo>
                  <a:pt x="510" y="765"/>
                </a:lnTo>
                <a:lnTo>
                  <a:pt x="499" y="765"/>
                </a:lnTo>
                <a:lnTo>
                  <a:pt x="488" y="765"/>
                </a:lnTo>
                <a:lnTo>
                  <a:pt x="488" y="771"/>
                </a:lnTo>
                <a:lnTo>
                  <a:pt x="482" y="771"/>
                </a:lnTo>
                <a:lnTo>
                  <a:pt x="482" y="777"/>
                </a:lnTo>
                <a:lnTo>
                  <a:pt x="476" y="777"/>
                </a:lnTo>
                <a:lnTo>
                  <a:pt x="471" y="777"/>
                </a:lnTo>
                <a:lnTo>
                  <a:pt x="465" y="777"/>
                </a:lnTo>
                <a:lnTo>
                  <a:pt x="442" y="788"/>
                </a:lnTo>
                <a:lnTo>
                  <a:pt x="436" y="788"/>
                </a:lnTo>
                <a:lnTo>
                  <a:pt x="431" y="788"/>
                </a:lnTo>
                <a:lnTo>
                  <a:pt x="425" y="782"/>
                </a:lnTo>
                <a:lnTo>
                  <a:pt x="425" y="777"/>
                </a:lnTo>
                <a:lnTo>
                  <a:pt x="419" y="777"/>
                </a:lnTo>
                <a:lnTo>
                  <a:pt x="419" y="771"/>
                </a:lnTo>
                <a:lnTo>
                  <a:pt x="419" y="765"/>
                </a:lnTo>
                <a:lnTo>
                  <a:pt x="414" y="754"/>
                </a:lnTo>
                <a:lnTo>
                  <a:pt x="414" y="748"/>
                </a:lnTo>
                <a:lnTo>
                  <a:pt x="414" y="743"/>
                </a:lnTo>
                <a:lnTo>
                  <a:pt x="408" y="737"/>
                </a:lnTo>
                <a:lnTo>
                  <a:pt x="402" y="737"/>
                </a:lnTo>
                <a:lnTo>
                  <a:pt x="397" y="737"/>
                </a:lnTo>
                <a:lnTo>
                  <a:pt x="391" y="731"/>
                </a:lnTo>
                <a:lnTo>
                  <a:pt x="385" y="731"/>
                </a:lnTo>
                <a:lnTo>
                  <a:pt x="385" y="726"/>
                </a:lnTo>
                <a:lnTo>
                  <a:pt x="380" y="726"/>
                </a:lnTo>
                <a:lnTo>
                  <a:pt x="374" y="726"/>
                </a:lnTo>
                <a:lnTo>
                  <a:pt x="368" y="726"/>
                </a:lnTo>
                <a:lnTo>
                  <a:pt x="368" y="720"/>
                </a:lnTo>
                <a:lnTo>
                  <a:pt x="357" y="714"/>
                </a:lnTo>
                <a:lnTo>
                  <a:pt x="351" y="709"/>
                </a:lnTo>
                <a:lnTo>
                  <a:pt x="346" y="709"/>
                </a:lnTo>
                <a:lnTo>
                  <a:pt x="340" y="697"/>
                </a:lnTo>
                <a:lnTo>
                  <a:pt x="334" y="692"/>
                </a:lnTo>
                <a:lnTo>
                  <a:pt x="329" y="686"/>
                </a:lnTo>
                <a:lnTo>
                  <a:pt x="329" y="680"/>
                </a:lnTo>
                <a:lnTo>
                  <a:pt x="323" y="680"/>
                </a:lnTo>
                <a:lnTo>
                  <a:pt x="317" y="680"/>
                </a:lnTo>
                <a:lnTo>
                  <a:pt x="317" y="675"/>
                </a:lnTo>
                <a:lnTo>
                  <a:pt x="312" y="669"/>
                </a:lnTo>
                <a:lnTo>
                  <a:pt x="312" y="663"/>
                </a:lnTo>
                <a:lnTo>
                  <a:pt x="306" y="658"/>
                </a:lnTo>
                <a:lnTo>
                  <a:pt x="300" y="658"/>
                </a:lnTo>
                <a:lnTo>
                  <a:pt x="289" y="641"/>
                </a:lnTo>
                <a:lnTo>
                  <a:pt x="283" y="641"/>
                </a:lnTo>
                <a:lnTo>
                  <a:pt x="272" y="629"/>
                </a:lnTo>
                <a:lnTo>
                  <a:pt x="272" y="624"/>
                </a:lnTo>
                <a:lnTo>
                  <a:pt x="266" y="624"/>
                </a:lnTo>
                <a:lnTo>
                  <a:pt x="261" y="612"/>
                </a:lnTo>
                <a:lnTo>
                  <a:pt x="255" y="612"/>
                </a:lnTo>
                <a:lnTo>
                  <a:pt x="255" y="607"/>
                </a:lnTo>
                <a:lnTo>
                  <a:pt x="255" y="601"/>
                </a:lnTo>
                <a:lnTo>
                  <a:pt x="244" y="595"/>
                </a:lnTo>
                <a:lnTo>
                  <a:pt x="232" y="584"/>
                </a:lnTo>
                <a:lnTo>
                  <a:pt x="232" y="578"/>
                </a:lnTo>
                <a:lnTo>
                  <a:pt x="227" y="573"/>
                </a:lnTo>
                <a:lnTo>
                  <a:pt x="221" y="567"/>
                </a:lnTo>
                <a:lnTo>
                  <a:pt x="215" y="567"/>
                </a:lnTo>
                <a:lnTo>
                  <a:pt x="215" y="561"/>
                </a:lnTo>
                <a:lnTo>
                  <a:pt x="215" y="556"/>
                </a:lnTo>
                <a:lnTo>
                  <a:pt x="210" y="556"/>
                </a:lnTo>
                <a:lnTo>
                  <a:pt x="210" y="550"/>
                </a:lnTo>
                <a:lnTo>
                  <a:pt x="204" y="544"/>
                </a:lnTo>
                <a:lnTo>
                  <a:pt x="204" y="539"/>
                </a:lnTo>
                <a:lnTo>
                  <a:pt x="198" y="539"/>
                </a:lnTo>
                <a:lnTo>
                  <a:pt x="193" y="539"/>
                </a:lnTo>
                <a:lnTo>
                  <a:pt x="193" y="533"/>
                </a:lnTo>
                <a:lnTo>
                  <a:pt x="193" y="527"/>
                </a:lnTo>
                <a:lnTo>
                  <a:pt x="187" y="527"/>
                </a:lnTo>
                <a:lnTo>
                  <a:pt x="187" y="533"/>
                </a:lnTo>
                <a:lnTo>
                  <a:pt x="181" y="539"/>
                </a:lnTo>
                <a:lnTo>
                  <a:pt x="181" y="544"/>
                </a:lnTo>
                <a:lnTo>
                  <a:pt x="176" y="544"/>
                </a:lnTo>
                <a:lnTo>
                  <a:pt x="170" y="539"/>
                </a:lnTo>
                <a:lnTo>
                  <a:pt x="164" y="539"/>
                </a:lnTo>
                <a:lnTo>
                  <a:pt x="159" y="539"/>
                </a:lnTo>
                <a:lnTo>
                  <a:pt x="159" y="527"/>
                </a:lnTo>
                <a:lnTo>
                  <a:pt x="153" y="527"/>
                </a:lnTo>
                <a:lnTo>
                  <a:pt x="147" y="527"/>
                </a:lnTo>
                <a:lnTo>
                  <a:pt x="142" y="527"/>
                </a:lnTo>
                <a:lnTo>
                  <a:pt x="136" y="527"/>
                </a:lnTo>
                <a:lnTo>
                  <a:pt x="130" y="522"/>
                </a:lnTo>
                <a:lnTo>
                  <a:pt x="130" y="516"/>
                </a:lnTo>
                <a:lnTo>
                  <a:pt x="125" y="516"/>
                </a:lnTo>
                <a:lnTo>
                  <a:pt x="130" y="516"/>
                </a:lnTo>
                <a:lnTo>
                  <a:pt x="130" y="510"/>
                </a:lnTo>
                <a:lnTo>
                  <a:pt x="136" y="516"/>
                </a:lnTo>
                <a:lnTo>
                  <a:pt x="142" y="516"/>
                </a:lnTo>
                <a:lnTo>
                  <a:pt x="142" y="510"/>
                </a:lnTo>
                <a:lnTo>
                  <a:pt x="142" y="505"/>
                </a:lnTo>
                <a:lnTo>
                  <a:pt x="136" y="505"/>
                </a:lnTo>
                <a:lnTo>
                  <a:pt x="130" y="505"/>
                </a:lnTo>
                <a:lnTo>
                  <a:pt x="130" y="499"/>
                </a:lnTo>
                <a:lnTo>
                  <a:pt x="130" y="493"/>
                </a:lnTo>
                <a:lnTo>
                  <a:pt x="125" y="488"/>
                </a:lnTo>
                <a:lnTo>
                  <a:pt x="119" y="493"/>
                </a:lnTo>
                <a:lnTo>
                  <a:pt x="113" y="493"/>
                </a:lnTo>
                <a:lnTo>
                  <a:pt x="108" y="488"/>
                </a:lnTo>
                <a:lnTo>
                  <a:pt x="113" y="482"/>
                </a:lnTo>
                <a:lnTo>
                  <a:pt x="113" y="476"/>
                </a:lnTo>
                <a:lnTo>
                  <a:pt x="119" y="476"/>
                </a:lnTo>
                <a:lnTo>
                  <a:pt x="113" y="471"/>
                </a:lnTo>
                <a:lnTo>
                  <a:pt x="108" y="471"/>
                </a:lnTo>
                <a:lnTo>
                  <a:pt x="102" y="459"/>
                </a:lnTo>
                <a:lnTo>
                  <a:pt x="96" y="454"/>
                </a:lnTo>
                <a:lnTo>
                  <a:pt x="96" y="459"/>
                </a:lnTo>
                <a:lnTo>
                  <a:pt x="91" y="459"/>
                </a:lnTo>
                <a:lnTo>
                  <a:pt x="91" y="465"/>
                </a:lnTo>
                <a:lnTo>
                  <a:pt x="91" y="471"/>
                </a:lnTo>
                <a:lnTo>
                  <a:pt x="85" y="471"/>
                </a:lnTo>
                <a:lnTo>
                  <a:pt x="85" y="476"/>
                </a:lnTo>
                <a:lnTo>
                  <a:pt x="79" y="476"/>
                </a:lnTo>
                <a:lnTo>
                  <a:pt x="74" y="476"/>
                </a:lnTo>
                <a:lnTo>
                  <a:pt x="74" y="471"/>
                </a:lnTo>
                <a:lnTo>
                  <a:pt x="68" y="471"/>
                </a:lnTo>
                <a:lnTo>
                  <a:pt x="68" y="465"/>
                </a:lnTo>
                <a:lnTo>
                  <a:pt x="62" y="459"/>
                </a:lnTo>
                <a:lnTo>
                  <a:pt x="57" y="459"/>
                </a:lnTo>
                <a:lnTo>
                  <a:pt x="34" y="459"/>
                </a:lnTo>
                <a:lnTo>
                  <a:pt x="28" y="459"/>
                </a:lnTo>
                <a:lnTo>
                  <a:pt x="23" y="454"/>
                </a:lnTo>
                <a:lnTo>
                  <a:pt x="17" y="448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6" name="Freeform 13"/>
          <p:cNvSpPr>
            <a:spLocks/>
          </p:cNvSpPr>
          <p:nvPr/>
        </p:nvSpPr>
        <p:spPr bwMode="gray">
          <a:xfrm>
            <a:off x="824500" y="4284226"/>
            <a:ext cx="1141987" cy="1017200"/>
          </a:xfrm>
          <a:custGeom>
            <a:avLst/>
            <a:gdLst>
              <a:gd name="T0" fmla="*/ 2147483647 w 674"/>
              <a:gd name="T1" fmla="*/ 2147483647 h 601"/>
              <a:gd name="T2" fmla="*/ 2147483647 w 674"/>
              <a:gd name="T3" fmla="*/ 2147483647 h 601"/>
              <a:gd name="T4" fmla="*/ 2147483647 w 674"/>
              <a:gd name="T5" fmla="*/ 2147483647 h 601"/>
              <a:gd name="T6" fmla="*/ 2147483647 w 674"/>
              <a:gd name="T7" fmla="*/ 2147483647 h 601"/>
              <a:gd name="T8" fmla="*/ 2147483647 w 674"/>
              <a:gd name="T9" fmla="*/ 2147483647 h 601"/>
              <a:gd name="T10" fmla="*/ 2147483647 w 674"/>
              <a:gd name="T11" fmla="*/ 2147483647 h 601"/>
              <a:gd name="T12" fmla="*/ 2147483647 w 674"/>
              <a:gd name="T13" fmla="*/ 2147483647 h 601"/>
              <a:gd name="T14" fmla="*/ 2147483647 w 674"/>
              <a:gd name="T15" fmla="*/ 2147483647 h 601"/>
              <a:gd name="T16" fmla="*/ 2147483647 w 674"/>
              <a:gd name="T17" fmla="*/ 2147483647 h 601"/>
              <a:gd name="T18" fmla="*/ 2147483647 w 674"/>
              <a:gd name="T19" fmla="*/ 2147483647 h 601"/>
              <a:gd name="T20" fmla="*/ 2147483647 w 674"/>
              <a:gd name="T21" fmla="*/ 2147483647 h 601"/>
              <a:gd name="T22" fmla="*/ 2147483647 w 674"/>
              <a:gd name="T23" fmla="*/ 2147483647 h 601"/>
              <a:gd name="T24" fmla="*/ 2147483647 w 674"/>
              <a:gd name="T25" fmla="*/ 0 h 601"/>
              <a:gd name="T26" fmla="*/ 2147483647 w 674"/>
              <a:gd name="T27" fmla="*/ 2147483647 h 601"/>
              <a:gd name="T28" fmla="*/ 2147483647 w 674"/>
              <a:gd name="T29" fmla="*/ 2147483647 h 601"/>
              <a:gd name="T30" fmla="*/ 2147483647 w 674"/>
              <a:gd name="T31" fmla="*/ 2147483647 h 601"/>
              <a:gd name="T32" fmla="*/ 2147483647 w 674"/>
              <a:gd name="T33" fmla="*/ 2147483647 h 601"/>
              <a:gd name="T34" fmla="*/ 2147483647 w 674"/>
              <a:gd name="T35" fmla="*/ 2147483647 h 601"/>
              <a:gd name="T36" fmla="*/ 2147483647 w 674"/>
              <a:gd name="T37" fmla="*/ 2147483647 h 601"/>
              <a:gd name="T38" fmla="*/ 2147483647 w 674"/>
              <a:gd name="T39" fmla="*/ 2147483647 h 601"/>
              <a:gd name="T40" fmla="*/ 2147483647 w 674"/>
              <a:gd name="T41" fmla="*/ 2147483647 h 601"/>
              <a:gd name="T42" fmla="*/ 2147483647 w 674"/>
              <a:gd name="T43" fmla="*/ 2147483647 h 601"/>
              <a:gd name="T44" fmla="*/ 2147483647 w 674"/>
              <a:gd name="T45" fmla="*/ 2147483647 h 601"/>
              <a:gd name="T46" fmla="*/ 2147483647 w 674"/>
              <a:gd name="T47" fmla="*/ 2147483647 h 601"/>
              <a:gd name="T48" fmla="*/ 2147483647 w 674"/>
              <a:gd name="T49" fmla="*/ 2147483647 h 601"/>
              <a:gd name="T50" fmla="*/ 2147483647 w 674"/>
              <a:gd name="T51" fmla="*/ 2147483647 h 601"/>
              <a:gd name="T52" fmla="*/ 2147483647 w 674"/>
              <a:gd name="T53" fmla="*/ 2147483647 h 601"/>
              <a:gd name="T54" fmla="*/ 2147483647 w 674"/>
              <a:gd name="T55" fmla="*/ 2147483647 h 601"/>
              <a:gd name="T56" fmla="*/ 2147483647 w 674"/>
              <a:gd name="T57" fmla="*/ 2147483647 h 601"/>
              <a:gd name="T58" fmla="*/ 2147483647 w 674"/>
              <a:gd name="T59" fmla="*/ 2147483647 h 601"/>
              <a:gd name="T60" fmla="*/ 2147483647 w 674"/>
              <a:gd name="T61" fmla="*/ 2147483647 h 601"/>
              <a:gd name="T62" fmla="*/ 2147483647 w 674"/>
              <a:gd name="T63" fmla="*/ 2147483647 h 601"/>
              <a:gd name="T64" fmla="*/ 2147483647 w 674"/>
              <a:gd name="T65" fmla="*/ 2147483647 h 601"/>
              <a:gd name="T66" fmla="*/ 2147483647 w 674"/>
              <a:gd name="T67" fmla="*/ 2147483647 h 601"/>
              <a:gd name="T68" fmla="*/ 2147483647 w 674"/>
              <a:gd name="T69" fmla="*/ 2147483647 h 601"/>
              <a:gd name="T70" fmla="*/ 2147483647 w 674"/>
              <a:gd name="T71" fmla="*/ 2147483647 h 601"/>
              <a:gd name="T72" fmla="*/ 2147483647 w 674"/>
              <a:gd name="T73" fmla="*/ 2147483647 h 601"/>
              <a:gd name="T74" fmla="*/ 2147483647 w 674"/>
              <a:gd name="T75" fmla="*/ 2147483647 h 601"/>
              <a:gd name="T76" fmla="*/ 2147483647 w 674"/>
              <a:gd name="T77" fmla="*/ 2147483647 h 601"/>
              <a:gd name="T78" fmla="*/ 2147483647 w 674"/>
              <a:gd name="T79" fmla="*/ 2147483647 h 601"/>
              <a:gd name="T80" fmla="*/ 2147483647 w 674"/>
              <a:gd name="T81" fmla="*/ 2147483647 h 601"/>
              <a:gd name="T82" fmla="*/ 2147483647 w 674"/>
              <a:gd name="T83" fmla="*/ 2147483647 h 601"/>
              <a:gd name="T84" fmla="*/ 2147483647 w 674"/>
              <a:gd name="T85" fmla="*/ 2147483647 h 601"/>
              <a:gd name="T86" fmla="*/ 2147483647 w 674"/>
              <a:gd name="T87" fmla="*/ 2147483647 h 601"/>
              <a:gd name="T88" fmla="*/ 2147483647 w 674"/>
              <a:gd name="T89" fmla="*/ 2147483647 h 601"/>
              <a:gd name="T90" fmla="*/ 2147483647 w 674"/>
              <a:gd name="T91" fmla="*/ 2147483647 h 601"/>
              <a:gd name="T92" fmla="*/ 2147483647 w 674"/>
              <a:gd name="T93" fmla="*/ 2147483647 h 601"/>
              <a:gd name="T94" fmla="*/ 2147483647 w 674"/>
              <a:gd name="T95" fmla="*/ 2147483647 h 601"/>
              <a:gd name="T96" fmla="*/ 2147483647 w 674"/>
              <a:gd name="T97" fmla="*/ 2147483647 h 601"/>
              <a:gd name="T98" fmla="*/ 2147483647 w 674"/>
              <a:gd name="T99" fmla="*/ 2147483647 h 601"/>
              <a:gd name="T100" fmla="*/ 2147483647 w 674"/>
              <a:gd name="T101" fmla="*/ 2147483647 h 601"/>
              <a:gd name="T102" fmla="*/ 2147483647 w 674"/>
              <a:gd name="T103" fmla="*/ 2147483647 h 601"/>
              <a:gd name="T104" fmla="*/ 2147483647 w 674"/>
              <a:gd name="T105" fmla="*/ 2147483647 h 601"/>
              <a:gd name="T106" fmla="*/ 2147483647 w 674"/>
              <a:gd name="T107" fmla="*/ 2147483647 h 601"/>
              <a:gd name="T108" fmla="*/ 2147483647 w 674"/>
              <a:gd name="T109" fmla="*/ 2147483647 h 601"/>
              <a:gd name="T110" fmla="*/ 2147483647 w 674"/>
              <a:gd name="T111" fmla="*/ 2147483647 h 601"/>
              <a:gd name="T112" fmla="*/ 2147483647 w 674"/>
              <a:gd name="T113" fmla="*/ 2147483647 h 601"/>
              <a:gd name="T114" fmla="*/ 2147483647 w 674"/>
              <a:gd name="T115" fmla="*/ 2147483647 h 601"/>
              <a:gd name="T116" fmla="*/ 2147483647 w 674"/>
              <a:gd name="T117" fmla="*/ 2147483647 h 601"/>
              <a:gd name="T118" fmla="*/ 2147483647 w 674"/>
              <a:gd name="T119" fmla="*/ 2147483647 h 601"/>
              <a:gd name="T120" fmla="*/ 2147483647 w 674"/>
              <a:gd name="T121" fmla="*/ 2147483647 h 601"/>
              <a:gd name="T122" fmla="*/ 2147483647 w 674"/>
              <a:gd name="T123" fmla="*/ 2147483647 h 601"/>
              <a:gd name="T124" fmla="*/ 2147483647 w 674"/>
              <a:gd name="T125" fmla="*/ 2147483647 h 60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74"/>
              <a:gd name="T190" fmla="*/ 0 h 601"/>
              <a:gd name="T191" fmla="*/ 674 w 674"/>
              <a:gd name="T192" fmla="*/ 601 h 60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74" h="601">
                <a:moveTo>
                  <a:pt x="17" y="533"/>
                </a:moveTo>
                <a:lnTo>
                  <a:pt x="17" y="527"/>
                </a:lnTo>
                <a:lnTo>
                  <a:pt x="17" y="522"/>
                </a:lnTo>
                <a:lnTo>
                  <a:pt x="17" y="516"/>
                </a:lnTo>
                <a:lnTo>
                  <a:pt x="23" y="510"/>
                </a:lnTo>
                <a:lnTo>
                  <a:pt x="28" y="510"/>
                </a:lnTo>
                <a:lnTo>
                  <a:pt x="28" y="505"/>
                </a:lnTo>
                <a:lnTo>
                  <a:pt x="23" y="499"/>
                </a:lnTo>
                <a:lnTo>
                  <a:pt x="23" y="488"/>
                </a:lnTo>
                <a:lnTo>
                  <a:pt x="23" y="482"/>
                </a:lnTo>
                <a:lnTo>
                  <a:pt x="28" y="471"/>
                </a:lnTo>
                <a:lnTo>
                  <a:pt x="28" y="465"/>
                </a:lnTo>
                <a:lnTo>
                  <a:pt x="34" y="465"/>
                </a:lnTo>
                <a:lnTo>
                  <a:pt x="40" y="459"/>
                </a:lnTo>
                <a:lnTo>
                  <a:pt x="40" y="448"/>
                </a:lnTo>
                <a:lnTo>
                  <a:pt x="40" y="442"/>
                </a:lnTo>
                <a:lnTo>
                  <a:pt x="40" y="437"/>
                </a:lnTo>
                <a:lnTo>
                  <a:pt x="34" y="437"/>
                </a:lnTo>
                <a:lnTo>
                  <a:pt x="28" y="437"/>
                </a:lnTo>
                <a:lnTo>
                  <a:pt x="23" y="437"/>
                </a:lnTo>
                <a:lnTo>
                  <a:pt x="23" y="431"/>
                </a:lnTo>
                <a:lnTo>
                  <a:pt x="17" y="425"/>
                </a:lnTo>
                <a:lnTo>
                  <a:pt x="17" y="420"/>
                </a:lnTo>
                <a:lnTo>
                  <a:pt x="28" y="408"/>
                </a:lnTo>
                <a:lnTo>
                  <a:pt x="23" y="403"/>
                </a:lnTo>
                <a:lnTo>
                  <a:pt x="28" y="391"/>
                </a:lnTo>
                <a:lnTo>
                  <a:pt x="28" y="386"/>
                </a:lnTo>
                <a:lnTo>
                  <a:pt x="28" y="380"/>
                </a:lnTo>
                <a:lnTo>
                  <a:pt x="28" y="374"/>
                </a:lnTo>
                <a:lnTo>
                  <a:pt x="17" y="374"/>
                </a:lnTo>
                <a:lnTo>
                  <a:pt x="17" y="357"/>
                </a:lnTo>
                <a:lnTo>
                  <a:pt x="17" y="352"/>
                </a:lnTo>
                <a:lnTo>
                  <a:pt x="23" y="346"/>
                </a:lnTo>
                <a:lnTo>
                  <a:pt x="28" y="346"/>
                </a:lnTo>
                <a:lnTo>
                  <a:pt x="34" y="340"/>
                </a:lnTo>
                <a:lnTo>
                  <a:pt x="40" y="340"/>
                </a:lnTo>
                <a:lnTo>
                  <a:pt x="40" y="335"/>
                </a:lnTo>
                <a:lnTo>
                  <a:pt x="40" y="329"/>
                </a:lnTo>
                <a:lnTo>
                  <a:pt x="34" y="329"/>
                </a:lnTo>
                <a:lnTo>
                  <a:pt x="28" y="323"/>
                </a:lnTo>
                <a:lnTo>
                  <a:pt x="23" y="318"/>
                </a:lnTo>
                <a:lnTo>
                  <a:pt x="28" y="312"/>
                </a:lnTo>
                <a:lnTo>
                  <a:pt x="34" y="306"/>
                </a:lnTo>
                <a:lnTo>
                  <a:pt x="40" y="295"/>
                </a:lnTo>
                <a:lnTo>
                  <a:pt x="40" y="289"/>
                </a:lnTo>
                <a:lnTo>
                  <a:pt x="40" y="284"/>
                </a:lnTo>
                <a:lnTo>
                  <a:pt x="40" y="278"/>
                </a:lnTo>
                <a:lnTo>
                  <a:pt x="34" y="267"/>
                </a:lnTo>
                <a:lnTo>
                  <a:pt x="34" y="261"/>
                </a:lnTo>
                <a:lnTo>
                  <a:pt x="28" y="261"/>
                </a:lnTo>
                <a:lnTo>
                  <a:pt x="28" y="255"/>
                </a:lnTo>
                <a:lnTo>
                  <a:pt x="28" y="244"/>
                </a:lnTo>
                <a:lnTo>
                  <a:pt x="28" y="238"/>
                </a:lnTo>
                <a:lnTo>
                  <a:pt x="28" y="221"/>
                </a:lnTo>
                <a:lnTo>
                  <a:pt x="28" y="204"/>
                </a:lnTo>
                <a:lnTo>
                  <a:pt x="34" y="204"/>
                </a:lnTo>
                <a:lnTo>
                  <a:pt x="40" y="204"/>
                </a:lnTo>
                <a:lnTo>
                  <a:pt x="45" y="199"/>
                </a:lnTo>
                <a:lnTo>
                  <a:pt x="45" y="193"/>
                </a:lnTo>
                <a:lnTo>
                  <a:pt x="45" y="182"/>
                </a:lnTo>
                <a:lnTo>
                  <a:pt x="40" y="176"/>
                </a:lnTo>
                <a:lnTo>
                  <a:pt x="34" y="170"/>
                </a:lnTo>
                <a:lnTo>
                  <a:pt x="34" y="165"/>
                </a:lnTo>
                <a:lnTo>
                  <a:pt x="28" y="165"/>
                </a:lnTo>
                <a:lnTo>
                  <a:pt x="28" y="159"/>
                </a:lnTo>
                <a:lnTo>
                  <a:pt x="28" y="153"/>
                </a:lnTo>
                <a:lnTo>
                  <a:pt x="23" y="148"/>
                </a:lnTo>
                <a:lnTo>
                  <a:pt x="23" y="142"/>
                </a:lnTo>
                <a:lnTo>
                  <a:pt x="17" y="136"/>
                </a:lnTo>
                <a:lnTo>
                  <a:pt x="17" y="131"/>
                </a:lnTo>
                <a:lnTo>
                  <a:pt x="17" y="119"/>
                </a:lnTo>
                <a:lnTo>
                  <a:pt x="23" y="102"/>
                </a:lnTo>
                <a:lnTo>
                  <a:pt x="23" y="91"/>
                </a:lnTo>
                <a:lnTo>
                  <a:pt x="17" y="85"/>
                </a:lnTo>
                <a:lnTo>
                  <a:pt x="23" y="74"/>
                </a:lnTo>
                <a:lnTo>
                  <a:pt x="23" y="68"/>
                </a:lnTo>
                <a:lnTo>
                  <a:pt x="17" y="62"/>
                </a:lnTo>
                <a:lnTo>
                  <a:pt x="11" y="62"/>
                </a:lnTo>
                <a:lnTo>
                  <a:pt x="11" y="57"/>
                </a:lnTo>
                <a:lnTo>
                  <a:pt x="11" y="51"/>
                </a:lnTo>
                <a:lnTo>
                  <a:pt x="6" y="45"/>
                </a:lnTo>
                <a:lnTo>
                  <a:pt x="0" y="34"/>
                </a:lnTo>
                <a:lnTo>
                  <a:pt x="6" y="23"/>
                </a:lnTo>
                <a:lnTo>
                  <a:pt x="6" y="17"/>
                </a:lnTo>
                <a:lnTo>
                  <a:pt x="11" y="17"/>
                </a:lnTo>
                <a:lnTo>
                  <a:pt x="11" y="11"/>
                </a:lnTo>
                <a:lnTo>
                  <a:pt x="11" y="6"/>
                </a:lnTo>
                <a:lnTo>
                  <a:pt x="11" y="0"/>
                </a:lnTo>
                <a:lnTo>
                  <a:pt x="17" y="0"/>
                </a:lnTo>
                <a:lnTo>
                  <a:pt x="23" y="0"/>
                </a:lnTo>
                <a:lnTo>
                  <a:pt x="28" y="0"/>
                </a:lnTo>
                <a:lnTo>
                  <a:pt x="34" y="0"/>
                </a:lnTo>
                <a:lnTo>
                  <a:pt x="40" y="0"/>
                </a:lnTo>
                <a:lnTo>
                  <a:pt x="45" y="0"/>
                </a:lnTo>
                <a:lnTo>
                  <a:pt x="51" y="0"/>
                </a:lnTo>
                <a:lnTo>
                  <a:pt x="62" y="6"/>
                </a:lnTo>
                <a:lnTo>
                  <a:pt x="57" y="11"/>
                </a:lnTo>
                <a:lnTo>
                  <a:pt x="62" y="11"/>
                </a:lnTo>
                <a:lnTo>
                  <a:pt x="62" y="17"/>
                </a:lnTo>
                <a:lnTo>
                  <a:pt x="68" y="23"/>
                </a:lnTo>
                <a:lnTo>
                  <a:pt x="68" y="28"/>
                </a:lnTo>
                <a:lnTo>
                  <a:pt x="68" y="34"/>
                </a:lnTo>
                <a:lnTo>
                  <a:pt x="68" y="45"/>
                </a:lnTo>
                <a:lnTo>
                  <a:pt x="68" y="51"/>
                </a:lnTo>
                <a:lnTo>
                  <a:pt x="68" y="57"/>
                </a:lnTo>
                <a:lnTo>
                  <a:pt x="68" y="62"/>
                </a:lnTo>
                <a:lnTo>
                  <a:pt x="68" y="68"/>
                </a:lnTo>
                <a:lnTo>
                  <a:pt x="68" y="74"/>
                </a:lnTo>
                <a:lnTo>
                  <a:pt x="74" y="74"/>
                </a:lnTo>
                <a:lnTo>
                  <a:pt x="79" y="74"/>
                </a:lnTo>
                <a:lnTo>
                  <a:pt x="79" y="68"/>
                </a:lnTo>
                <a:lnTo>
                  <a:pt x="79" y="62"/>
                </a:lnTo>
                <a:lnTo>
                  <a:pt x="85" y="57"/>
                </a:lnTo>
                <a:lnTo>
                  <a:pt x="85" y="45"/>
                </a:lnTo>
                <a:lnTo>
                  <a:pt x="91" y="40"/>
                </a:lnTo>
                <a:lnTo>
                  <a:pt x="96" y="40"/>
                </a:lnTo>
                <a:lnTo>
                  <a:pt x="102" y="45"/>
                </a:lnTo>
                <a:lnTo>
                  <a:pt x="108" y="51"/>
                </a:lnTo>
                <a:lnTo>
                  <a:pt x="108" y="57"/>
                </a:lnTo>
                <a:lnTo>
                  <a:pt x="108" y="62"/>
                </a:lnTo>
                <a:lnTo>
                  <a:pt x="108" y="68"/>
                </a:lnTo>
                <a:lnTo>
                  <a:pt x="108" y="74"/>
                </a:lnTo>
                <a:lnTo>
                  <a:pt x="102" y="74"/>
                </a:lnTo>
                <a:lnTo>
                  <a:pt x="102" y="80"/>
                </a:lnTo>
                <a:lnTo>
                  <a:pt x="102" y="85"/>
                </a:lnTo>
                <a:lnTo>
                  <a:pt x="102" y="91"/>
                </a:lnTo>
                <a:lnTo>
                  <a:pt x="96" y="97"/>
                </a:lnTo>
                <a:lnTo>
                  <a:pt x="96" y="108"/>
                </a:lnTo>
                <a:lnTo>
                  <a:pt x="96" y="114"/>
                </a:lnTo>
                <a:lnTo>
                  <a:pt x="102" y="119"/>
                </a:lnTo>
                <a:lnTo>
                  <a:pt x="102" y="125"/>
                </a:lnTo>
                <a:lnTo>
                  <a:pt x="102" y="131"/>
                </a:lnTo>
                <a:lnTo>
                  <a:pt x="108" y="131"/>
                </a:lnTo>
                <a:lnTo>
                  <a:pt x="108" y="136"/>
                </a:lnTo>
                <a:lnTo>
                  <a:pt x="108" y="142"/>
                </a:lnTo>
                <a:lnTo>
                  <a:pt x="113" y="142"/>
                </a:lnTo>
                <a:lnTo>
                  <a:pt x="113" y="148"/>
                </a:lnTo>
                <a:lnTo>
                  <a:pt x="113" y="153"/>
                </a:lnTo>
                <a:lnTo>
                  <a:pt x="119" y="153"/>
                </a:lnTo>
                <a:lnTo>
                  <a:pt x="125" y="153"/>
                </a:lnTo>
                <a:lnTo>
                  <a:pt x="125" y="159"/>
                </a:lnTo>
                <a:lnTo>
                  <a:pt x="125" y="165"/>
                </a:lnTo>
                <a:lnTo>
                  <a:pt x="130" y="165"/>
                </a:lnTo>
                <a:lnTo>
                  <a:pt x="130" y="170"/>
                </a:lnTo>
                <a:lnTo>
                  <a:pt x="136" y="170"/>
                </a:lnTo>
                <a:lnTo>
                  <a:pt x="136" y="182"/>
                </a:lnTo>
                <a:lnTo>
                  <a:pt x="142" y="182"/>
                </a:lnTo>
                <a:lnTo>
                  <a:pt x="142" y="187"/>
                </a:lnTo>
                <a:lnTo>
                  <a:pt x="142" y="193"/>
                </a:lnTo>
                <a:lnTo>
                  <a:pt x="147" y="193"/>
                </a:lnTo>
                <a:lnTo>
                  <a:pt x="153" y="199"/>
                </a:lnTo>
                <a:lnTo>
                  <a:pt x="159" y="210"/>
                </a:lnTo>
                <a:lnTo>
                  <a:pt x="164" y="210"/>
                </a:lnTo>
                <a:lnTo>
                  <a:pt x="164" y="216"/>
                </a:lnTo>
                <a:lnTo>
                  <a:pt x="170" y="216"/>
                </a:lnTo>
                <a:lnTo>
                  <a:pt x="170" y="221"/>
                </a:lnTo>
                <a:lnTo>
                  <a:pt x="181" y="227"/>
                </a:lnTo>
                <a:lnTo>
                  <a:pt x="187" y="227"/>
                </a:lnTo>
                <a:lnTo>
                  <a:pt x="193" y="227"/>
                </a:lnTo>
                <a:lnTo>
                  <a:pt x="198" y="227"/>
                </a:lnTo>
                <a:lnTo>
                  <a:pt x="204" y="227"/>
                </a:lnTo>
                <a:lnTo>
                  <a:pt x="210" y="227"/>
                </a:lnTo>
                <a:lnTo>
                  <a:pt x="215" y="227"/>
                </a:lnTo>
                <a:lnTo>
                  <a:pt x="221" y="221"/>
                </a:lnTo>
                <a:lnTo>
                  <a:pt x="227" y="216"/>
                </a:lnTo>
                <a:lnTo>
                  <a:pt x="232" y="210"/>
                </a:lnTo>
                <a:lnTo>
                  <a:pt x="232" y="204"/>
                </a:lnTo>
                <a:lnTo>
                  <a:pt x="238" y="199"/>
                </a:lnTo>
                <a:lnTo>
                  <a:pt x="238" y="193"/>
                </a:lnTo>
                <a:lnTo>
                  <a:pt x="238" y="182"/>
                </a:lnTo>
                <a:lnTo>
                  <a:pt x="244" y="182"/>
                </a:lnTo>
                <a:lnTo>
                  <a:pt x="244" y="176"/>
                </a:lnTo>
                <a:lnTo>
                  <a:pt x="249" y="176"/>
                </a:lnTo>
                <a:lnTo>
                  <a:pt x="255" y="176"/>
                </a:lnTo>
                <a:lnTo>
                  <a:pt x="255" y="182"/>
                </a:lnTo>
                <a:lnTo>
                  <a:pt x="261" y="182"/>
                </a:lnTo>
                <a:lnTo>
                  <a:pt x="261" y="187"/>
                </a:lnTo>
                <a:lnTo>
                  <a:pt x="261" y="193"/>
                </a:lnTo>
                <a:lnTo>
                  <a:pt x="266" y="193"/>
                </a:lnTo>
                <a:lnTo>
                  <a:pt x="266" y="199"/>
                </a:lnTo>
                <a:lnTo>
                  <a:pt x="272" y="199"/>
                </a:lnTo>
                <a:lnTo>
                  <a:pt x="278" y="199"/>
                </a:lnTo>
                <a:lnTo>
                  <a:pt x="283" y="199"/>
                </a:lnTo>
                <a:lnTo>
                  <a:pt x="295" y="193"/>
                </a:lnTo>
                <a:lnTo>
                  <a:pt x="306" y="193"/>
                </a:lnTo>
                <a:lnTo>
                  <a:pt x="312" y="193"/>
                </a:lnTo>
                <a:lnTo>
                  <a:pt x="317" y="193"/>
                </a:lnTo>
                <a:lnTo>
                  <a:pt x="323" y="199"/>
                </a:lnTo>
                <a:lnTo>
                  <a:pt x="329" y="199"/>
                </a:lnTo>
                <a:lnTo>
                  <a:pt x="334" y="199"/>
                </a:lnTo>
                <a:lnTo>
                  <a:pt x="340" y="199"/>
                </a:lnTo>
                <a:lnTo>
                  <a:pt x="340" y="204"/>
                </a:lnTo>
                <a:lnTo>
                  <a:pt x="346" y="204"/>
                </a:lnTo>
                <a:lnTo>
                  <a:pt x="346" y="210"/>
                </a:lnTo>
                <a:lnTo>
                  <a:pt x="346" y="216"/>
                </a:lnTo>
                <a:lnTo>
                  <a:pt x="351" y="216"/>
                </a:lnTo>
                <a:lnTo>
                  <a:pt x="351" y="221"/>
                </a:lnTo>
                <a:lnTo>
                  <a:pt x="351" y="227"/>
                </a:lnTo>
                <a:lnTo>
                  <a:pt x="351" y="233"/>
                </a:lnTo>
                <a:lnTo>
                  <a:pt x="357" y="238"/>
                </a:lnTo>
                <a:lnTo>
                  <a:pt x="363" y="238"/>
                </a:lnTo>
                <a:lnTo>
                  <a:pt x="363" y="244"/>
                </a:lnTo>
                <a:lnTo>
                  <a:pt x="363" y="250"/>
                </a:lnTo>
                <a:lnTo>
                  <a:pt x="368" y="250"/>
                </a:lnTo>
                <a:lnTo>
                  <a:pt x="374" y="250"/>
                </a:lnTo>
                <a:lnTo>
                  <a:pt x="374" y="261"/>
                </a:lnTo>
                <a:lnTo>
                  <a:pt x="374" y="267"/>
                </a:lnTo>
                <a:lnTo>
                  <a:pt x="374" y="272"/>
                </a:lnTo>
                <a:lnTo>
                  <a:pt x="374" y="278"/>
                </a:lnTo>
                <a:lnTo>
                  <a:pt x="374" y="284"/>
                </a:lnTo>
                <a:lnTo>
                  <a:pt x="374" y="289"/>
                </a:lnTo>
                <a:lnTo>
                  <a:pt x="374" y="295"/>
                </a:lnTo>
                <a:lnTo>
                  <a:pt x="374" y="301"/>
                </a:lnTo>
                <a:lnTo>
                  <a:pt x="374" y="306"/>
                </a:lnTo>
                <a:lnTo>
                  <a:pt x="368" y="312"/>
                </a:lnTo>
                <a:lnTo>
                  <a:pt x="363" y="312"/>
                </a:lnTo>
                <a:lnTo>
                  <a:pt x="363" y="318"/>
                </a:lnTo>
                <a:lnTo>
                  <a:pt x="363" y="323"/>
                </a:lnTo>
                <a:lnTo>
                  <a:pt x="368" y="323"/>
                </a:lnTo>
                <a:lnTo>
                  <a:pt x="374" y="323"/>
                </a:lnTo>
                <a:lnTo>
                  <a:pt x="385" y="329"/>
                </a:lnTo>
                <a:lnTo>
                  <a:pt x="391" y="329"/>
                </a:lnTo>
                <a:lnTo>
                  <a:pt x="397" y="329"/>
                </a:lnTo>
                <a:lnTo>
                  <a:pt x="402" y="329"/>
                </a:lnTo>
                <a:lnTo>
                  <a:pt x="408" y="329"/>
                </a:lnTo>
                <a:lnTo>
                  <a:pt x="419" y="329"/>
                </a:lnTo>
                <a:lnTo>
                  <a:pt x="431" y="323"/>
                </a:lnTo>
                <a:lnTo>
                  <a:pt x="436" y="323"/>
                </a:lnTo>
                <a:lnTo>
                  <a:pt x="442" y="318"/>
                </a:lnTo>
                <a:lnTo>
                  <a:pt x="448" y="318"/>
                </a:lnTo>
                <a:lnTo>
                  <a:pt x="448" y="323"/>
                </a:lnTo>
                <a:lnTo>
                  <a:pt x="453" y="323"/>
                </a:lnTo>
                <a:lnTo>
                  <a:pt x="459" y="318"/>
                </a:lnTo>
                <a:lnTo>
                  <a:pt x="465" y="318"/>
                </a:lnTo>
                <a:lnTo>
                  <a:pt x="465" y="312"/>
                </a:lnTo>
                <a:lnTo>
                  <a:pt x="470" y="306"/>
                </a:lnTo>
                <a:lnTo>
                  <a:pt x="476" y="306"/>
                </a:lnTo>
                <a:lnTo>
                  <a:pt x="482" y="301"/>
                </a:lnTo>
                <a:lnTo>
                  <a:pt x="487" y="301"/>
                </a:lnTo>
                <a:lnTo>
                  <a:pt x="487" y="295"/>
                </a:lnTo>
                <a:lnTo>
                  <a:pt x="493" y="295"/>
                </a:lnTo>
                <a:lnTo>
                  <a:pt x="499" y="289"/>
                </a:lnTo>
                <a:lnTo>
                  <a:pt x="504" y="289"/>
                </a:lnTo>
                <a:lnTo>
                  <a:pt x="510" y="295"/>
                </a:lnTo>
                <a:lnTo>
                  <a:pt x="516" y="295"/>
                </a:lnTo>
                <a:lnTo>
                  <a:pt x="516" y="306"/>
                </a:lnTo>
                <a:lnTo>
                  <a:pt x="521" y="312"/>
                </a:lnTo>
                <a:lnTo>
                  <a:pt x="527" y="318"/>
                </a:lnTo>
                <a:lnTo>
                  <a:pt x="527" y="323"/>
                </a:lnTo>
                <a:lnTo>
                  <a:pt x="527" y="329"/>
                </a:lnTo>
                <a:lnTo>
                  <a:pt x="533" y="335"/>
                </a:lnTo>
                <a:lnTo>
                  <a:pt x="538" y="340"/>
                </a:lnTo>
                <a:lnTo>
                  <a:pt x="544" y="340"/>
                </a:lnTo>
                <a:lnTo>
                  <a:pt x="550" y="335"/>
                </a:lnTo>
                <a:lnTo>
                  <a:pt x="555" y="335"/>
                </a:lnTo>
                <a:lnTo>
                  <a:pt x="561" y="335"/>
                </a:lnTo>
                <a:lnTo>
                  <a:pt x="561" y="329"/>
                </a:lnTo>
                <a:lnTo>
                  <a:pt x="567" y="323"/>
                </a:lnTo>
                <a:lnTo>
                  <a:pt x="572" y="323"/>
                </a:lnTo>
                <a:lnTo>
                  <a:pt x="578" y="329"/>
                </a:lnTo>
                <a:lnTo>
                  <a:pt x="584" y="329"/>
                </a:lnTo>
                <a:lnTo>
                  <a:pt x="584" y="335"/>
                </a:lnTo>
                <a:lnTo>
                  <a:pt x="584" y="340"/>
                </a:lnTo>
                <a:lnTo>
                  <a:pt x="589" y="346"/>
                </a:lnTo>
                <a:lnTo>
                  <a:pt x="589" y="352"/>
                </a:lnTo>
                <a:lnTo>
                  <a:pt x="601" y="357"/>
                </a:lnTo>
                <a:lnTo>
                  <a:pt x="601" y="363"/>
                </a:lnTo>
                <a:lnTo>
                  <a:pt x="606" y="363"/>
                </a:lnTo>
                <a:lnTo>
                  <a:pt x="612" y="363"/>
                </a:lnTo>
                <a:lnTo>
                  <a:pt x="629" y="357"/>
                </a:lnTo>
                <a:lnTo>
                  <a:pt x="629" y="352"/>
                </a:lnTo>
                <a:lnTo>
                  <a:pt x="635" y="352"/>
                </a:lnTo>
                <a:lnTo>
                  <a:pt x="640" y="352"/>
                </a:lnTo>
                <a:lnTo>
                  <a:pt x="652" y="352"/>
                </a:lnTo>
                <a:lnTo>
                  <a:pt x="657" y="352"/>
                </a:lnTo>
                <a:lnTo>
                  <a:pt x="663" y="352"/>
                </a:lnTo>
                <a:lnTo>
                  <a:pt x="669" y="352"/>
                </a:lnTo>
                <a:lnTo>
                  <a:pt x="663" y="363"/>
                </a:lnTo>
                <a:lnTo>
                  <a:pt x="663" y="374"/>
                </a:lnTo>
                <a:lnTo>
                  <a:pt x="657" y="380"/>
                </a:lnTo>
                <a:lnTo>
                  <a:pt x="657" y="391"/>
                </a:lnTo>
                <a:lnTo>
                  <a:pt x="657" y="403"/>
                </a:lnTo>
                <a:lnTo>
                  <a:pt x="657" y="408"/>
                </a:lnTo>
                <a:lnTo>
                  <a:pt x="657" y="414"/>
                </a:lnTo>
                <a:lnTo>
                  <a:pt x="646" y="420"/>
                </a:lnTo>
                <a:lnTo>
                  <a:pt x="640" y="420"/>
                </a:lnTo>
                <a:lnTo>
                  <a:pt x="635" y="425"/>
                </a:lnTo>
                <a:lnTo>
                  <a:pt x="629" y="431"/>
                </a:lnTo>
                <a:lnTo>
                  <a:pt x="623" y="431"/>
                </a:lnTo>
                <a:lnTo>
                  <a:pt x="618" y="437"/>
                </a:lnTo>
                <a:lnTo>
                  <a:pt x="606" y="442"/>
                </a:lnTo>
                <a:lnTo>
                  <a:pt x="601" y="448"/>
                </a:lnTo>
                <a:lnTo>
                  <a:pt x="601" y="454"/>
                </a:lnTo>
                <a:lnTo>
                  <a:pt x="601" y="471"/>
                </a:lnTo>
                <a:lnTo>
                  <a:pt x="595" y="471"/>
                </a:lnTo>
                <a:lnTo>
                  <a:pt x="595" y="476"/>
                </a:lnTo>
                <a:lnTo>
                  <a:pt x="601" y="482"/>
                </a:lnTo>
                <a:lnTo>
                  <a:pt x="601" y="488"/>
                </a:lnTo>
                <a:lnTo>
                  <a:pt x="606" y="493"/>
                </a:lnTo>
                <a:lnTo>
                  <a:pt x="612" y="499"/>
                </a:lnTo>
                <a:lnTo>
                  <a:pt x="618" y="499"/>
                </a:lnTo>
                <a:lnTo>
                  <a:pt x="629" y="499"/>
                </a:lnTo>
                <a:lnTo>
                  <a:pt x="635" y="499"/>
                </a:lnTo>
                <a:lnTo>
                  <a:pt x="640" y="499"/>
                </a:lnTo>
                <a:lnTo>
                  <a:pt x="646" y="499"/>
                </a:lnTo>
                <a:lnTo>
                  <a:pt x="652" y="493"/>
                </a:lnTo>
                <a:lnTo>
                  <a:pt x="657" y="488"/>
                </a:lnTo>
                <a:lnTo>
                  <a:pt x="669" y="482"/>
                </a:lnTo>
                <a:lnTo>
                  <a:pt x="669" y="476"/>
                </a:lnTo>
                <a:lnTo>
                  <a:pt x="674" y="476"/>
                </a:lnTo>
                <a:lnTo>
                  <a:pt x="674" y="482"/>
                </a:lnTo>
                <a:lnTo>
                  <a:pt x="674" y="488"/>
                </a:lnTo>
                <a:lnTo>
                  <a:pt x="674" y="493"/>
                </a:lnTo>
                <a:lnTo>
                  <a:pt x="674" y="499"/>
                </a:lnTo>
                <a:lnTo>
                  <a:pt x="674" y="505"/>
                </a:lnTo>
                <a:lnTo>
                  <a:pt x="674" y="516"/>
                </a:lnTo>
                <a:lnTo>
                  <a:pt x="674" y="522"/>
                </a:lnTo>
                <a:lnTo>
                  <a:pt x="674" y="527"/>
                </a:lnTo>
                <a:lnTo>
                  <a:pt x="674" y="533"/>
                </a:lnTo>
                <a:lnTo>
                  <a:pt x="669" y="533"/>
                </a:lnTo>
                <a:lnTo>
                  <a:pt x="663" y="539"/>
                </a:lnTo>
                <a:lnTo>
                  <a:pt x="657" y="544"/>
                </a:lnTo>
                <a:lnTo>
                  <a:pt x="657" y="550"/>
                </a:lnTo>
                <a:lnTo>
                  <a:pt x="657" y="556"/>
                </a:lnTo>
                <a:lnTo>
                  <a:pt x="646" y="556"/>
                </a:lnTo>
                <a:lnTo>
                  <a:pt x="640" y="556"/>
                </a:lnTo>
                <a:lnTo>
                  <a:pt x="635" y="556"/>
                </a:lnTo>
                <a:lnTo>
                  <a:pt x="635" y="561"/>
                </a:lnTo>
                <a:lnTo>
                  <a:pt x="635" y="567"/>
                </a:lnTo>
                <a:lnTo>
                  <a:pt x="640" y="567"/>
                </a:lnTo>
                <a:lnTo>
                  <a:pt x="646" y="567"/>
                </a:lnTo>
                <a:lnTo>
                  <a:pt x="652" y="567"/>
                </a:lnTo>
                <a:lnTo>
                  <a:pt x="657" y="567"/>
                </a:lnTo>
                <a:lnTo>
                  <a:pt x="669" y="567"/>
                </a:lnTo>
                <a:lnTo>
                  <a:pt x="674" y="573"/>
                </a:lnTo>
                <a:lnTo>
                  <a:pt x="674" y="578"/>
                </a:lnTo>
                <a:lnTo>
                  <a:pt x="674" y="584"/>
                </a:lnTo>
                <a:lnTo>
                  <a:pt x="669" y="595"/>
                </a:lnTo>
                <a:lnTo>
                  <a:pt x="663" y="595"/>
                </a:lnTo>
                <a:lnTo>
                  <a:pt x="657" y="601"/>
                </a:lnTo>
                <a:lnTo>
                  <a:pt x="657" y="595"/>
                </a:lnTo>
                <a:lnTo>
                  <a:pt x="652" y="595"/>
                </a:lnTo>
                <a:lnTo>
                  <a:pt x="629" y="584"/>
                </a:lnTo>
                <a:lnTo>
                  <a:pt x="623" y="584"/>
                </a:lnTo>
                <a:lnTo>
                  <a:pt x="618" y="578"/>
                </a:lnTo>
                <a:lnTo>
                  <a:pt x="606" y="578"/>
                </a:lnTo>
                <a:lnTo>
                  <a:pt x="601" y="573"/>
                </a:lnTo>
                <a:lnTo>
                  <a:pt x="589" y="573"/>
                </a:lnTo>
                <a:lnTo>
                  <a:pt x="578" y="573"/>
                </a:lnTo>
                <a:lnTo>
                  <a:pt x="578" y="556"/>
                </a:lnTo>
                <a:lnTo>
                  <a:pt x="578" y="544"/>
                </a:lnTo>
                <a:lnTo>
                  <a:pt x="572" y="544"/>
                </a:lnTo>
                <a:lnTo>
                  <a:pt x="561" y="544"/>
                </a:lnTo>
                <a:lnTo>
                  <a:pt x="550" y="544"/>
                </a:lnTo>
                <a:lnTo>
                  <a:pt x="544" y="544"/>
                </a:lnTo>
                <a:lnTo>
                  <a:pt x="538" y="539"/>
                </a:lnTo>
                <a:lnTo>
                  <a:pt x="533" y="533"/>
                </a:lnTo>
                <a:lnTo>
                  <a:pt x="521" y="533"/>
                </a:lnTo>
                <a:lnTo>
                  <a:pt x="516" y="527"/>
                </a:lnTo>
                <a:lnTo>
                  <a:pt x="516" y="522"/>
                </a:lnTo>
                <a:lnTo>
                  <a:pt x="521" y="516"/>
                </a:lnTo>
                <a:lnTo>
                  <a:pt x="527" y="516"/>
                </a:lnTo>
                <a:lnTo>
                  <a:pt x="533" y="516"/>
                </a:lnTo>
                <a:lnTo>
                  <a:pt x="538" y="516"/>
                </a:lnTo>
                <a:lnTo>
                  <a:pt x="538" y="510"/>
                </a:lnTo>
                <a:lnTo>
                  <a:pt x="544" y="505"/>
                </a:lnTo>
                <a:lnTo>
                  <a:pt x="544" y="499"/>
                </a:lnTo>
                <a:lnTo>
                  <a:pt x="538" y="499"/>
                </a:lnTo>
                <a:lnTo>
                  <a:pt x="538" y="493"/>
                </a:lnTo>
                <a:lnTo>
                  <a:pt x="533" y="493"/>
                </a:lnTo>
                <a:lnTo>
                  <a:pt x="527" y="499"/>
                </a:lnTo>
                <a:lnTo>
                  <a:pt x="521" y="499"/>
                </a:lnTo>
                <a:lnTo>
                  <a:pt x="516" y="499"/>
                </a:lnTo>
                <a:lnTo>
                  <a:pt x="510" y="499"/>
                </a:lnTo>
                <a:lnTo>
                  <a:pt x="504" y="505"/>
                </a:lnTo>
                <a:lnTo>
                  <a:pt x="499" y="505"/>
                </a:lnTo>
                <a:lnTo>
                  <a:pt x="493" y="505"/>
                </a:lnTo>
                <a:lnTo>
                  <a:pt x="493" y="499"/>
                </a:lnTo>
                <a:lnTo>
                  <a:pt x="487" y="488"/>
                </a:lnTo>
                <a:lnTo>
                  <a:pt x="487" y="482"/>
                </a:lnTo>
                <a:lnTo>
                  <a:pt x="493" y="482"/>
                </a:lnTo>
                <a:lnTo>
                  <a:pt x="493" y="476"/>
                </a:lnTo>
                <a:lnTo>
                  <a:pt x="504" y="471"/>
                </a:lnTo>
                <a:lnTo>
                  <a:pt x="510" y="471"/>
                </a:lnTo>
                <a:lnTo>
                  <a:pt x="510" y="465"/>
                </a:lnTo>
                <a:lnTo>
                  <a:pt x="516" y="465"/>
                </a:lnTo>
                <a:lnTo>
                  <a:pt x="516" y="459"/>
                </a:lnTo>
                <a:lnTo>
                  <a:pt x="510" y="459"/>
                </a:lnTo>
                <a:lnTo>
                  <a:pt x="487" y="459"/>
                </a:lnTo>
                <a:lnTo>
                  <a:pt x="448" y="459"/>
                </a:lnTo>
                <a:lnTo>
                  <a:pt x="380" y="459"/>
                </a:lnTo>
                <a:lnTo>
                  <a:pt x="368" y="459"/>
                </a:lnTo>
                <a:lnTo>
                  <a:pt x="363" y="459"/>
                </a:lnTo>
                <a:lnTo>
                  <a:pt x="266" y="459"/>
                </a:lnTo>
                <a:lnTo>
                  <a:pt x="261" y="459"/>
                </a:lnTo>
                <a:lnTo>
                  <a:pt x="261" y="465"/>
                </a:lnTo>
                <a:lnTo>
                  <a:pt x="261" y="471"/>
                </a:lnTo>
                <a:lnTo>
                  <a:pt x="255" y="471"/>
                </a:lnTo>
                <a:lnTo>
                  <a:pt x="249" y="471"/>
                </a:lnTo>
                <a:lnTo>
                  <a:pt x="244" y="471"/>
                </a:lnTo>
                <a:lnTo>
                  <a:pt x="238" y="471"/>
                </a:lnTo>
                <a:lnTo>
                  <a:pt x="232" y="465"/>
                </a:lnTo>
                <a:lnTo>
                  <a:pt x="227" y="459"/>
                </a:lnTo>
                <a:lnTo>
                  <a:pt x="227" y="454"/>
                </a:lnTo>
                <a:lnTo>
                  <a:pt x="221" y="454"/>
                </a:lnTo>
                <a:lnTo>
                  <a:pt x="210" y="454"/>
                </a:lnTo>
                <a:lnTo>
                  <a:pt x="198" y="454"/>
                </a:lnTo>
                <a:lnTo>
                  <a:pt x="198" y="459"/>
                </a:lnTo>
                <a:lnTo>
                  <a:pt x="193" y="459"/>
                </a:lnTo>
                <a:lnTo>
                  <a:pt x="193" y="465"/>
                </a:lnTo>
                <a:lnTo>
                  <a:pt x="193" y="471"/>
                </a:lnTo>
                <a:lnTo>
                  <a:pt x="187" y="476"/>
                </a:lnTo>
                <a:lnTo>
                  <a:pt x="187" y="482"/>
                </a:lnTo>
                <a:lnTo>
                  <a:pt x="181" y="482"/>
                </a:lnTo>
                <a:lnTo>
                  <a:pt x="181" y="488"/>
                </a:lnTo>
                <a:lnTo>
                  <a:pt x="181" y="493"/>
                </a:lnTo>
                <a:lnTo>
                  <a:pt x="176" y="505"/>
                </a:lnTo>
                <a:lnTo>
                  <a:pt x="170" y="505"/>
                </a:lnTo>
                <a:lnTo>
                  <a:pt x="164" y="510"/>
                </a:lnTo>
                <a:lnTo>
                  <a:pt x="164" y="516"/>
                </a:lnTo>
                <a:lnTo>
                  <a:pt x="159" y="516"/>
                </a:lnTo>
                <a:lnTo>
                  <a:pt x="153" y="516"/>
                </a:lnTo>
                <a:lnTo>
                  <a:pt x="147" y="516"/>
                </a:lnTo>
                <a:lnTo>
                  <a:pt x="142" y="516"/>
                </a:lnTo>
                <a:lnTo>
                  <a:pt x="136" y="516"/>
                </a:lnTo>
                <a:lnTo>
                  <a:pt x="130" y="516"/>
                </a:lnTo>
                <a:lnTo>
                  <a:pt x="125" y="516"/>
                </a:lnTo>
                <a:lnTo>
                  <a:pt x="119" y="516"/>
                </a:lnTo>
                <a:lnTo>
                  <a:pt x="113" y="516"/>
                </a:lnTo>
                <a:lnTo>
                  <a:pt x="108" y="516"/>
                </a:lnTo>
                <a:lnTo>
                  <a:pt x="102" y="516"/>
                </a:lnTo>
                <a:lnTo>
                  <a:pt x="96" y="516"/>
                </a:lnTo>
                <a:lnTo>
                  <a:pt x="91" y="516"/>
                </a:lnTo>
                <a:lnTo>
                  <a:pt x="85" y="516"/>
                </a:lnTo>
                <a:lnTo>
                  <a:pt x="79" y="510"/>
                </a:lnTo>
                <a:lnTo>
                  <a:pt x="74" y="510"/>
                </a:lnTo>
                <a:lnTo>
                  <a:pt x="68" y="510"/>
                </a:lnTo>
                <a:lnTo>
                  <a:pt x="62" y="516"/>
                </a:lnTo>
                <a:lnTo>
                  <a:pt x="57" y="522"/>
                </a:lnTo>
                <a:lnTo>
                  <a:pt x="57" y="527"/>
                </a:lnTo>
                <a:lnTo>
                  <a:pt x="51" y="527"/>
                </a:lnTo>
                <a:lnTo>
                  <a:pt x="45" y="527"/>
                </a:lnTo>
                <a:lnTo>
                  <a:pt x="40" y="533"/>
                </a:lnTo>
                <a:lnTo>
                  <a:pt x="34" y="527"/>
                </a:lnTo>
                <a:lnTo>
                  <a:pt x="28" y="527"/>
                </a:lnTo>
                <a:lnTo>
                  <a:pt x="17" y="527"/>
                </a:lnTo>
                <a:lnTo>
                  <a:pt x="17" y="53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7" name="Freeform 14"/>
          <p:cNvSpPr>
            <a:spLocks/>
          </p:cNvSpPr>
          <p:nvPr/>
        </p:nvSpPr>
        <p:spPr bwMode="gray">
          <a:xfrm>
            <a:off x="1832040" y="4216196"/>
            <a:ext cx="1036698" cy="1334670"/>
          </a:xfrm>
          <a:custGeom>
            <a:avLst/>
            <a:gdLst>
              <a:gd name="T0" fmla="*/ 2147483647 w 612"/>
              <a:gd name="T1" fmla="*/ 2147483647 h 788"/>
              <a:gd name="T2" fmla="*/ 2147483647 w 612"/>
              <a:gd name="T3" fmla="*/ 2147483647 h 788"/>
              <a:gd name="T4" fmla="*/ 2147483647 w 612"/>
              <a:gd name="T5" fmla="*/ 2147483647 h 788"/>
              <a:gd name="T6" fmla="*/ 2147483647 w 612"/>
              <a:gd name="T7" fmla="*/ 2147483647 h 788"/>
              <a:gd name="T8" fmla="*/ 2147483647 w 612"/>
              <a:gd name="T9" fmla="*/ 2147483647 h 788"/>
              <a:gd name="T10" fmla="*/ 2147483647 w 612"/>
              <a:gd name="T11" fmla="*/ 2147483647 h 788"/>
              <a:gd name="T12" fmla="*/ 2147483647 w 612"/>
              <a:gd name="T13" fmla="*/ 2147483647 h 788"/>
              <a:gd name="T14" fmla="*/ 2147483647 w 612"/>
              <a:gd name="T15" fmla="*/ 2147483647 h 788"/>
              <a:gd name="T16" fmla="*/ 2147483647 w 612"/>
              <a:gd name="T17" fmla="*/ 2147483647 h 788"/>
              <a:gd name="T18" fmla="*/ 2147483647 w 612"/>
              <a:gd name="T19" fmla="*/ 2147483647 h 788"/>
              <a:gd name="T20" fmla="*/ 2147483647 w 612"/>
              <a:gd name="T21" fmla="*/ 2147483647 h 788"/>
              <a:gd name="T22" fmla="*/ 2147483647 w 612"/>
              <a:gd name="T23" fmla="*/ 2147483647 h 788"/>
              <a:gd name="T24" fmla="*/ 2147483647 w 612"/>
              <a:gd name="T25" fmla="*/ 2147483647 h 788"/>
              <a:gd name="T26" fmla="*/ 2147483647 w 612"/>
              <a:gd name="T27" fmla="*/ 2147483647 h 788"/>
              <a:gd name="T28" fmla="*/ 2147483647 w 612"/>
              <a:gd name="T29" fmla="*/ 2147483647 h 788"/>
              <a:gd name="T30" fmla="*/ 2147483647 w 612"/>
              <a:gd name="T31" fmla="*/ 2147483647 h 788"/>
              <a:gd name="T32" fmla="*/ 2147483647 w 612"/>
              <a:gd name="T33" fmla="*/ 2147483647 h 788"/>
              <a:gd name="T34" fmla="*/ 2147483647 w 612"/>
              <a:gd name="T35" fmla="*/ 2147483647 h 788"/>
              <a:gd name="T36" fmla="*/ 2147483647 w 612"/>
              <a:gd name="T37" fmla="*/ 2147483647 h 788"/>
              <a:gd name="T38" fmla="*/ 2147483647 w 612"/>
              <a:gd name="T39" fmla="*/ 2147483647 h 788"/>
              <a:gd name="T40" fmla="*/ 2147483647 w 612"/>
              <a:gd name="T41" fmla="*/ 2147483647 h 788"/>
              <a:gd name="T42" fmla="*/ 2147483647 w 612"/>
              <a:gd name="T43" fmla="*/ 2147483647 h 788"/>
              <a:gd name="T44" fmla="*/ 2147483647 w 612"/>
              <a:gd name="T45" fmla="*/ 2147483647 h 788"/>
              <a:gd name="T46" fmla="*/ 2147483647 w 612"/>
              <a:gd name="T47" fmla="*/ 2147483647 h 788"/>
              <a:gd name="T48" fmla="*/ 2147483647 w 612"/>
              <a:gd name="T49" fmla="*/ 0 h 788"/>
              <a:gd name="T50" fmla="*/ 2147483647 w 612"/>
              <a:gd name="T51" fmla="*/ 2147483647 h 788"/>
              <a:gd name="T52" fmla="*/ 2147483647 w 612"/>
              <a:gd name="T53" fmla="*/ 2147483647 h 788"/>
              <a:gd name="T54" fmla="*/ 2147483647 w 612"/>
              <a:gd name="T55" fmla="*/ 2147483647 h 788"/>
              <a:gd name="T56" fmla="*/ 2147483647 w 612"/>
              <a:gd name="T57" fmla="*/ 2147483647 h 788"/>
              <a:gd name="T58" fmla="*/ 2147483647 w 612"/>
              <a:gd name="T59" fmla="*/ 2147483647 h 788"/>
              <a:gd name="T60" fmla="*/ 2147483647 w 612"/>
              <a:gd name="T61" fmla="*/ 2147483647 h 788"/>
              <a:gd name="T62" fmla="*/ 2147483647 w 612"/>
              <a:gd name="T63" fmla="*/ 2147483647 h 788"/>
              <a:gd name="T64" fmla="*/ 2147483647 w 612"/>
              <a:gd name="T65" fmla="*/ 2147483647 h 788"/>
              <a:gd name="T66" fmla="*/ 2147483647 w 612"/>
              <a:gd name="T67" fmla="*/ 2147483647 h 788"/>
              <a:gd name="T68" fmla="*/ 2147483647 w 612"/>
              <a:gd name="T69" fmla="*/ 2147483647 h 788"/>
              <a:gd name="T70" fmla="*/ 2147483647 w 612"/>
              <a:gd name="T71" fmla="*/ 2147483647 h 788"/>
              <a:gd name="T72" fmla="*/ 2147483647 w 612"/>
              <a:gd name="T73" fmla="*/ 2147483647 h 788"/>
              <a:gd name="T74" fmla="*/ 2147483647 w 612"/>
              <a:gd name="T75" fmla="*/ 2147483647 h 788"/>
              <a:gd name="T76" fmla="*/ 2147483647 w 612"/>
              <a:gd name="T77" fmla="*/ 2147483647 h 788"/>
              <a:gd name="T78" fmla="*/ 2147483647 w 612"/>
              <a:gd name="T79" fmla="*/ 2147483647 h 788"/>
              <a:gd name="T80" fmla="*/ 2147483647 w 612"/>
              <a:gd name="T81" fmla="*/ 2147483647 h 788"/>
              <a:gd name="T82" fmla="*/ 2147483647 w 612"/>
              <a:gd name="T83" fmla="*/ 2147483647 h 788"/>
              <a:gd name="T84" fmla="*/ 2147483647 w 612"/>
              <a:gd name="T85" fmla="*/ 2147483647 h 788"/>
              <a:gd name="T86" fmla="*/ 2147483647 w 612"/>
              <a:gd name="T87" fmla="*/ 2147483647 h 788"/>
              <a:gd name="T88" fmla="*/ 2147483647 w 612"/>
              <a:gd name="T89" fmla="*/ 2147483647 h 788"/>
              <a:gd name="T90" fmla="*/ 2147483647 w 612"/>
              <a:gd name="T91" fmla="*/ 2147483647 h 788"/>
              <a:gd name="T92" fmla="*/ 2147483647 w 612"/>
              <a:gd name="T93" fmla="*/ 2147483647 h 788"/>
              <a:gd name="T94" fmla="*/ 2147483647 w 612"/>
              <a:gd name="T95" fmla="*/ 2147483647 h 788"/>
              <a:gd name="T96" fmla="*/ 2147483647 w 612"/>
              <a:gd name="T97" fmla="*/ 2147483647 h 788"/>
              <a:gd name="T98" fmla="*/ 2147483647 w 612"/>
              <a:gd name="T99" fmla="*/ 2147483647 h 788"/>
              <a:gd name="T100" fmla="*/ 2147483647 w 612"/>
              <a:gd name="T101" fmla="*/ 2147483647 h 788"/>
              <a:gd name="T102" fmla="*/ 2147483647 w 612"/>
              <a:gd name="T103" fmla="*/ 2147483647 h 788"/>
              <a:gd name="T104" fmla="*/ 2147483647 w 612"/>
              <a:gd name="T105" fmla="*/ 2147483647 h 788"/>
              <a:gd name="T106" fmla="*/ 2147483647 w 612"/>
              <a:gd name="T107" fmla="*/ 2147483647 h 788"/>
              <a:gd name="T108" fmla="*/ 2147483647 w 612"/>
              <a:gd name="T109" fmla="*/ 2147483647 h 788"/>
              <a:gd name="T110" fmla="*/ 2147483647 w 612"/>
              <a:gd name="T111" fmla="*/ 2147483647 h 788"/>
              <a:gd name="T112" fmla="*/ 2147483647 w 612"/>
              <a:gd name="T113" fmla="*/ 2147483647 h 788"/>
              <a:gd name="T114" fmla="*/ 2147483647 w 612"/>
              <a:gd name="T115" fmla="*/ 2147483647 h 788"/>
              <a:gd name="T116" fmla="*/ 2147483647 w 612"/>
              <a:gd name="T117" fmla="*/ 2147483647 h 788"/>
              <a:gd name="T118" fmla="*/ 2147483647 w 612"/>
              <a:gd name="T119" fmla="*/ 2147483647 h 788"/>
              <a:gd name="T120" fmla="*/ 2147483647 w 612"/>
              <a:gd name="T121" fmla="*/ 2147483647 h 788"/>
              <a:gd name="T122" fmla="*/ 2147483647 w 612"/>
              <a:gd name="T123" fmla="*/ 2147483647 h 78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12"/>
              <a:gd name="T187" fmla="*/ 0 h 788"/>
              <a:gd name="T188" fmla="*/ 612 w 612"/>
              <a:gd name="T189" fmla="*/ 788 h 78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12" h="788">
                <a:moveTo>
                  <a:pt x="62" y="641"/>
                </a:moveTo>
                <a:lnTo>
                  <a:pt x="68" y="635"/>
                </a:lnTo>
                <a:lnTo>
                  <a:pt x="74" y="635"/>
                </a:lnTo>
                <a:lnTo>
                  <a:pt x="79" y="624"/>
                </a:lnTo>
                <a:lnTo>
                  <a:pt x="79" y="618"/>
                </a:lnTo>
                <a:lnTo>
                  <a:pt x="79" y="613"/>
                </a:lnTo>
                <a:lnTo>
                  <a:pt x="74" y="607"/>
                </a:lnTo>
                <a:lnTo>
                  <a:pt x="62" y="607"/>
                </a:lnTo>
                <a:lnTo>
                  <a:pt x="57" y="607"/>
                </a:lnTo>
                <a:lnTo>
                  <a:pt x="51" y="607"/>
                </a:lnTo>
                <a:lnTo>
                  <a:pt x="45" y="607"/>
                </a:lnTo>
                <a:lnTo>
                  <a:pt x="40" y="607"/>
                </a:lnTo>
                <a:lnTo>
                  <a:pt x="40" y="601"/>
                </a:lnTo>
                <a:lnTo>
                  <a:pt x="40" y="596"/>
                </a:lnTo>
                <a:lnTo>
                  <a:pt x="45" y="596"/>
                </a:lnTo>
                <a:lnTo>
                  <a:pt x="51" y="596"/>
                </a:lnTo>
                <a:lnTo>
                  <a:pt x="62" y="596"/>
                </a:lnTo>
                <a:lnTo>
                  <a:pt x="62" y="590"/>
                </a:lnTo>
                <a:lnTo>
                  <a:pt x="62" y="584"/>
                </a:lnTo>
                <a:lnTo>
                  <a:pt x="68" y="579"/>
                </a:lnTo>
                <a:lnTo>
                  <a:pt x="74" y="573"/>
                </a:lnTo>
                <a:lnTo>
                  <a:pt x="79" y="573"/>
                </a:lnTo>
                <a:lnTo>
                  <a:pt x="79" y="567"/>
                </a:lnTo>
                <a:lnTo>
                  <a:pt x="79" y="562"/>
                </a:lnTo>
                <a:lnTo>
                  <a:pt x="79" y="556"/>
                </a:lnTo>
                <a:lnTo>
                  <a:pt x="79" y="545"/>
                </a:lnTo>
                <a:lnTo>
                  <a:pt x="79" y="539"/>
                </a:lnTo>
                <a:lnTo>
                  <a:pt x="79" y="533"/>
                </a:lnTo>
                <a:lnTo>
                  <a:pt x="79" y="528"/>
                </a:lnTo>
                <a:lnTo>
                  <a:pt x="79" y="522"/>
                </a:lnTo>
                <a:lnTo>
                  <a:pt x="79" y="516"/>
                </a:lnTo>
                <a:lnTo>
                  <a:pt x="74" y="516"/>
                </a:lnTo>
                <a:lnTo>
                  <a:pt x="74" y="522"/>
                </a:lnTo>
                <a:lnTo>
                  <a:pt x="62" y="528"/>
                </a:lnTo>
                <a:lnTo>
                  <a:pt x="57" y="533"/>
                </a:lnTo>
                <a:lnTo>
                  <a:pt x="51" y="539"/>
                </a:lnTo>
                <a:lnTo>
                  <a:pt x="45" y="539"/>
                </a:lnTo>
                <a:lnTo>
                  <a:pt x="40" y="539"/>
                </a:lnTo>
                <a:lnTo>
                  <a:pt x="34" y="539"/>
                </a:lnTo>
                <a:lnTo>
                  <a:pt x="23" y="539"/>
                </a:lnTo>
                <a:lnTo>
                  <a:pt x="17" y="539"/>
                </a:lnTo>
                <a:lnTo>
                  <a:pt x="11" y="533"/>
                </a:lnTo>
                <a:lnTo>
                  <a:pt x="6" y="528"/>
                </a:lnTo>
                <a:lnTo>
                  <a:pt x="6" y="522"/>
                </a:lnTo>
                <a:lnTo>
                  <a:pt x="0" y="516"/>
                </a:lnTo>
                <a:lnTo>
                  <a:pt x="0" y="511"/>
                </a:lnTo>
                <a:lnTo>
                  <a:pt x="6" y="511"/>
                </a:lnTo>
                <a:lnTo>
                  <a:pt x="6" y="494"/>
                </a:lnTo>
                <a:lnTo>
                  <a:pt x="6" y="488"/>
                </a:lnTo>
                <a:lnTo>
                  <a:pt x="11" y="482"/>
                </a:lnTo>
                <a:lnTo>
                  <a:pt x="23" y="477"/>
                </a:lnTo>
                <a:lnTo>
                  <a:pt x="28" y="471"/>
                </a:lnTo>
                <a:lnTo>
                  <a:pt x="34" y="471"/>
                </a:lnTo>
                <a:lnTo>
                  <a:pt x="40" y="465"/>
                </a:lnTo>
                <a:lnTo>
                  <a:pt x="45" y="460"/>
                </a:lnTo>
                <a:lnTo>
                  <a:pt x="51" y="460"/>
                </a:lnTo>
                <a:lnTo>
                  <a:pt x="62" y="454"/>
                </a:lnTo>
                <a:lnTo>
                  <a:pt x="62" y="448"/>
                </a:lnTo>
                <a:lnTo>
                  <a:pt x="62" y="443"/>
                </a:lnTo>
                <a:lnTo>
                  <a:pt x="62" y="431"/>
                </a:lnTo>
                <a:lnTo>
                  <a:pt x="62" y="420"/>
                </a:lnTo>
                <a:lnTo>
                  <a:pt x="68" y="414"/>
                </a:lnTo>
                <a:lnTo>
                  <a:pt x="68" y="403"/>
                </a:lnTo>
                <a:lnTo>
                  <a:pt x="74" y="392"/>
                </a:lnTo>
                <a:lnTo>
                  <a:pt x="74" y="386"/>
                </a:lnTo>
                <a:lnTo>
                  <a:pt x="79" y="375"/>
                </a:lnTo>
                <a:lnTo>
                  <a:pt x="79" y="369"/>
                </a:lnTo>
                <a:lnTo>
                  <a:pt x="85" y="363"/>
                </a:lnTo>
                <a:lnTo>
                  <a:pt x="91" y="358"/>
                </a:lnTo>
                <a:lnTo>
                  <a:pt x="91" y="352"/>
                </a:lnTo>
                <a:lnTo>
                  <a:pt x="102" y="346"/>
                </a:lnTo>
                <a:lnTo>
                  <a:pt x="108" y="341"/>
                </a:lnTo>
                <a:lnTo>
                  <a:pt x="108" y="335"/>
                </a:lnTo>
                <a:lnTo>
                  <a:pt x="113" y="335"/>
                </a:lnTo>
                <a:lnTo>
                  <a:pt x="119" y="329"/>
                </a:lnTo>
                <a:lnTo>
                  <a:pt x="125" y="329"/>
                </a:lnTo>
                <a:lnTo>
                  <a:pt x="125" y="324"/>
                </a:lnTo>
                <a:lnTo>
                  <a:pt x="130" y="318"/>
                </a:lnTo>
                <a:lnTo>
                  <a:pt x="136" y="318"/>
                </a:lnTo>
                <a:lnTo>
                  <a:pt x="136" y="312"/>
                </a:lnTo>
                <a:lnTo>
                  <a:pt x="142" y="312"/>
                </a:lnTo>
                <a:lnTo>
                  <a:pt x="153" y="312"/>
                </a:lnTo>
                <a:lnTo>
                  <a:pt x="159" y="307"/>
                </a:lnTo>
                <a:lnTo>
                  <a:pt x="164" y="307"/>
                </a:lnTo>
                <a:lnTo>
                  <a:pt x="170" y="307"/>
                </a:lnTo>
                <a:lnTo>
                  <a:pt x="170" y="301"/>
                </a:lnTo>
                <a:lnTo>
                  <a:pt x="170" y="295"/>
                </a:lnTo>
                <a:lnTo>
                  <a:pt x="170" y="290"/>
                </a:lnTo>
                <a:lnTo>
                  <a:pt x="170" y="284"/>
                </a:lnTo>
                <a:lnTo>
                  <a:pt x="170" y="278"/>
                </a:lnTo>
                <a:lnTo>
                  <a:pt x="170" y="267"/>
                </a:lnTo>
                <a:lnTo>
                  <a:pt x="170" y="261"/>
                </a:lnTo>
                <a:lnTo>
                  <a:pt x="176" y="261"/>
                </a:lnTo>
                <a:lnTo>
                  <a:pt x="181" y="261"/>
                </a:lnTo>
                <a:lnTo>
                  <a:pt x="187" y="261"/>
                </a:lnTo>
                <a:lnTo>
                  <a:pt x="193" y="261"/>
                </a:lnTo>
                <a:lnTo>
                  <a:pt x="199" y="261"/>
                </a:lnTo>
                <a:lnTo>
                  <a:pt x="204" y="261"/>
                </a:lnTo>
                <a:lnTo>
                  <a:pt x="210" y="256"/>
                </a:lnTo>
                <a:lnTo>
                  <a:pt x="216" y="256"/>
                </a:lnTo>
                <a:lnTo>
                  <a:pt x="216" y="250"/>
                </a:lnTo>
                <a:lnTo>
                  <a:pt x="216" y="244"/>
                </a:lnTo>
                <a:lnTo>
                  <a:pt x="216" y="239"/>
                </a:lnTo>
                <a:lnTo>
                  <a:pt x="210" y="239"/>
                </a:lnTo>
                <a:lnTo>
                  <a:pt x="204" y="233"/>
                </a:lnTo>
                <a:lnTo>
                  <a:pt x="204" y="227"/>
                </a:lnTo>
                <a:lnTo>
                  <a:pt x="204" y="222"/>
                </a:lnTo>
                <a:lnTo>
                  <a:pt x="204" y="210"/>
                </a:lnTo>
                <a:lnTo>
                  <a:pt x="204" y="205"/>
                </a:lnTo>
                <a:lnTo>
                  <a:pt x="204" y="199"/>
                </a:lnTo>
                <a:lnTo>
                  <a:pt x="204" y="193"/>
                </a:lnTo>
                <a:lnTo>
                  <a:pt x="199" y="188"/>
                </a:lnTo>
                <a:lnTo>
                  <a:pt x="199" y="176"/>
                </a:lnTo>
                <a:lnTo>
                  <a:pt x="199" y="165"/>
                </a:lnTo>
                <a:lnTo>
                  <a:pt x="199" y="159"/>
                </a:lnTo>
                <a:lnTo>
                  <a:pt x="199" y="148"/>
                </a:lnTo>
                <a:lnTo>
                  <a:pt x="199" y="142"/>
                </a:lnTo>
                <a:lnTo>
                  <a:pt x="204" y="142"/>
                </a:lnTo>
                <a:lnTo>
                  <a:pt x="204" y="137"/>
                </a:lnTo>
                <a:lnTo>
                  <a:pt x="204" y="125"/>
                </a:lnTo>
                <a:lnTo>
                  <a:pt x="204" y="120"/>
                </a:lnTo>
                <a:lnTo>
                  <a:pt x="204" y="114"/>
                </a:lnTo>
                <a:lnTo>
                  <a:pt x="199" y="108"/>
                </a:lnTo>
                <a:lnTo>
                  <a:pt x="199" y="97"/>
                </a:lnTo>
                <a:lnTo>
                  <a:pt x="199" y="91"/>
                </a:lnTo>
                <a:lnTo>
                  <a:pt x="204" y="85"/>
                </a:lnTo>
                <a:lnTo>
                  <a:pt x="204" y="80"/>
                </a:lnTo>
                <a:lnTo>
                  <a:pt x="204" y="74"/>
                </a:lnTo>
                <a:lnTo>
                  <a:pt x="210" y="74"/>
                </a:lnTo>
                <a:lnTo>
                  <a:pt x="210" y="68"/>
                </a:lnTo>
                <a:lnTo>
                  <a:pt x="216" y="68"/>
                </a:lnTo>
                <a:lnTo>
                  <a:pt x="216" y="63"/>
                </a:lnTo>
                <a:lnTo>
                  <a:pt x="221" y="63"/>
                </a:lnTo>
                <a:lnTo>
                  <a:pt x="221" y="57"/>
                </a:lnTo>
                <a:lnTo>
                  <a:pt x="227" y="57"/>
                </a:lnTo>
                <a:lnTo>
                  <a:pt x="233" y="57"/>
                </a:lnTo>
                <a:lnTo>
                  <a:pt x="233" y="51"/>
                </a:lnTo>
                <a:lnTo>
                  <a:pt x="238" y="51"/>
                </a:lnTo>
                <a:lnTo>
                  <a:pt x="244" y="51"/>
                </a:lnTo>
                <a:lnTo>
                  <a:pt x="244" y="46"/>
                </a:lnTo>
                <a:lnTo>
                  <a:pt x="250" y="40"/>
                </a:lnTo>
                <a:lnTo>
                  <a:pt x="250" y="34"/>
                </a:lnTo>
                <a:lnTo>
                  <a:pt x="250" y="29"/>
                </a:lnTo>
                <a:lnTo>
                  <a:pt x="255" y="29"/>
                </a:lnTo>
                <a:lnTo>
                  <a:pt x="255" y="23"/>
                </a:lnTo>
                <a:lnTo>
                  <a:pt x="261" y="23"/>
                </a:lnTo>
                <a:lnTo>
                  <a:pt x="267" y="29"/>
                </a:lnTo>
                <a:lnTo>
                  <a:pt x="272" y="29"/>
                </a:lnTo>
                <a:lnTo>
                  <a:pt x="278" y="29"/>
                </a:lnTo>
                <a:lnTo>
                  <a:pt x="278" y="23"/>
                </a:lnTo>
                <a:lnTo>
                  <a:pt x="284" y="23"/>
                </a:lnTo>
                <a:lnTo>
                  <a:pt x="289" y="17"/>
                </a:lnTo>
                <a:lnTo>
                  <a:pt x="295" y="17"/>
                </a:lnTo>
                <a:lnTo>
                  <a:pt x="301" y="17"/>
                </a:lnTo>
                <a:lnTo>
                  <a:pt x="301" y="23"/>
                </a:lnTo>
                <a:lnTo>
                  <a:pt x="306" y="29"/>
                </a:lnTo>
                <a:lnTo>
                  <a:pt x="312" y="29"/>
                </a:lnTo>
                <a:lnTo>
                  <a:pt x="312" y="34"/>
                </a:lnTo>
                <a:lnTo>
                  <a:pt x="318" y="40"/>
                </a:lnTo>
                <a:lnTo>
                  <a:pt x="323" y="40"/>
                </a:lnTo>
                <a:lnTo>
                  <a:pt x="329" y="40"/>
                </a:lnTo>
                <a:lnTo>
                  <a:pt x="335" y="46"/>
                </a:lnTo>
                <a:lnTo>
                  <a:pt x="340" y="46"/>
                </a:lnTo>
                <a:lnTo>
                  <a:pt x="352" y="46"/>
                </a:lnTo>
                <a:lnTo>
                  <a:pt x="357" y="40"/>
                </a:lnTo>
                <a:lnTo>
                  <a:pt x="363" y="40"/>
                </a:lnTo>
                <a:lnTo>
                  <a:pt x="369" y="34"/>
                </a:lnTo>
                <a:lnTo>
                  <a:pt x="369" y="29"/>
                </a:lnTo>
                <a:lnTo>
                  <a:pt x="369" y="23"/>
                </a:lnTo>
                <a:lnTo>
                  <a:pt x="369" y="12"/>
                </a:lnTo>
                <a:lnTo>
                  <a:pt x="374" y="12"/>
                </a:lnTo>
                <a:lnTo>
                  <a:pt x="374" y="6"/>
                </a:lnTo>
                <a:lnTo>
                  <a:pt x="380" y="6"/>
                </a:lnTo>
                <a:lnTo>
                  <a:pt x="386" y="0"/>
                </a:lnTo>
                <a:lnTo>
                  <a:pt x="391" y="0"/>
                </a:lnTo>
                <a:lnTo>
                  <a:pt x="397" y="0"/>
                </a:lnTo>
                <a:lnTo>
                  <a:pt x="403" y="0"/>
                </a:lnTo>
                <a:lnTo>
                  <a:pt x="408" y="0"/>
                </a:lnTo>
                <a:lnTo>
                  <a:pt x="408" y="6"/>
                </a:lnTo>
                <a:lnTo>
                  <a:pt x="414" y="6"/>
                </a:lnTo>
                <a:lnTo>
                  <a:pt x="420" y="12"/>
                </a:lnTo>
                <a:lnTo>
                  <a:pt x="425" y="17"/>
                </a:lnTo>
                <a:lnTo>
                  <a:pt x="425" y="23"/>
                </a:lnTo>
                <a:lnTo>
                  <a:pt x="420" y="29"/>
                </a:lnTo>
                <a:lnTo>
                  <a:pt x="420" y="40"/>
                </a:lnTo>
                <a:lnTo>
                  <a:pt x="425" y="40"/>
                </a:lnTo>
                <a:lnTo>
                  <a:pt x="425" y="34"/>
                </a:lnTo>
                <a:lnTo>
                  <a:pt x="431" y="34"/>
                </a:lnTo>
                <a:lnTo>
                  <a:pt x="437" y="34"/>
                </a:lnTo>
                <a:lnTo>
                  <a:pt x="437" y="29"/>
                </a:lnTo>
                <a:lnTo>
                  <a:pt x="442" y="29"/>
                </a:lnTo>
                <a:lnTo>
                  <a:pt x="448" y="29"/>
                </a:lnTo>
                <a:lnTo>
                  <a:pt x="454" y="29"/>
                </a:lnTo>
                <a:lnTo>
                  <a:pt x="454" y="23"/>
                </a:lnTo>
                <a:lnTo>
                  <a:pt x="459" y="23"/>
                </a:lnTo>
                <a:lnTo>
                  <a:pt x="465" y="23"/>
                </a:lnTo>
                <a:lnTo>
                  <a:pt x="465" y="29"/>
                </a:lnTo>
                <a:lnTo>
                  <a:pt x="471" y="29"/>
                </a:lnTo>
                <a:lnTo>
                  <a:pt x="471" y="40"/>
                </a:lnTo>
                <a:lnTo>
                  <a:pt x="465" y="46"/>
                </a:lnTo>
                <a:lnTo>
                  <a:pt x="459" y="46"/>
                </a:lnTo>
                <a:lnTo>
                  <a:pt x="459" y="51"/>
                </a:lnTo>
                <a:lnTo>
                  <a:pt x="454" y="51"/>
                </a:lnTo>
                <a:lnTo>
                  <a:pt x="454" y="57"/>
                </a:lnTo>
                <a:lnTo>
                  <a:pt x="448" y="57"/>
                </a:lnTo>
                <a:lnTo>
                  <a:pt x="448" y="63"/>
                </a:lnTo>
                <a:lnTo>
                  <a:pt x="448" y="68"/>
                </a:lnTo>
                <a:lnTo>
                  <a:pt x="448" y="74"/>
                </a:lnTo>
                <a:lnTo>
                  <a:pt x="448" y="80"/>
                </a:lnTo>
                <a:lnTo>
                  <a:pt x="454" y="85"/>
                </a:lnTo>
                <a:lnTo>
                  <a:pt x="454" y="91"/>
                </a:lnTo>
                <a:lnTo>
                  <a:pt x="459" y="91"/>
                </a:lnTo>
                <a:lnTo>
                  <a:pt x="465" y="97"/>
                </a:lnTo>
                <a:lnTo>
                  <a:pt x="471" y="97"/>
                </a:lnTo>
                <a:lnTo>
                  <a:pt x="476" y="97"/>
                </a:lnTo>
                <a:lnTo>
                  <a:pt x="476" y="102"/>
                </a:lnTo>
                <a:lnTo>
                  <a:pt x="482" y="102"/>
                </a:lnTo>
                <a:lnTo>
                  <a:pt x="482" y="108"/>
                </a:lnTo>
                <a:lnTo>
                  <a:pt x="488" y="108"/>
                </a:lnTo>
                <a:lnTo>
                  <a:pt x="493" y="108"/>
                </a:lnTo>
                <a:lnTo>
                  <a:pt x="499" y="108"/>
                </a:lnTo>
                <a:lnTo>
                  <a:pt x="505" y="108"/>
                </a:lnTo>
                <a:lnTo>
                  <a:pt x="505" y="114"/>
                </a:lnTo>
                <a:lnTo>
                  <a:pt x="510" y="114"/>
                </a:lnTo>
                <a:lnTo>
                  <a:pt x="522" y="114"/>
                </a:lnTo>
                <a:lnTo>
                  <a:pt x="522" y="120"/>
                </a:lnTo>
                <a:lnTo>
                  <a:pt x="527" y="120"/>
                </a:lnTo>
                <a:lnTo>
                  <a:pt x="539" y="114"/>
                </a:lnTo>
                <a:lnTo>
                  <a:pt x="556" y="114"/>
                </a:lnTo>
                <a:lnTo>
                  <a:pt x="561" y="114"/>
                </a:lnTo>
                <a:lnTo>
                  <a:pt x="567" y="114"/>
                </a:lnTo>
                <a:lnTo>
                  <a:pt x="567" y="120"/>
                </a:lnTo>
                <a:lnTo>
                  <a:pt x="567" y="125"/>
                </a:lnTo>
                <a:lnTo>
                  <a:pt x="561" y="137"/>
                </a:lnTo>
                <a:lnTo>
                  <a:pt x="561" y="142"/>
                </a:lnTo>
                <a:lnTo>
                  <a:pt x="567" y="148"/>
                </a:lnTo>
                <a:lnTo>
                  <a:pt x="567" y="154"/>
                </a:lnTo>
                <a:lnTo>
                  <a:pt x="573" y="154"/>
                </a:lnTo>
                <a:lnTo>
                  <a:pt x="578" y="159"/>
                </a:lnTo>
                <a:lnTo>
                  <a:pt x="578" y="165"/>
                </a:lnTo>
                <a:lnTo>
                  <a:pt x="584" y="165"/>
                </a:lnTo>
                <a:lnTo>
                  <a:pt x="584" y="171"/>
                </a:lnTo>
                <a:lnTo>
                  <a:pt x="590" y="176"/>
                </a:lnTo>
                <a:lnTo>
                  <a:pt x="595" y="176"/>
                </a:lnTo>
                <a:lnTo>
                  <a:pt x="595" y="182"/>
                </a:lnTo>
                <a:lnTo>
                  <a:pt x="601" y="182"/>
                </a:lnTo>
                <a:lnTo>
                  <a:pt x="612" y="188"/>
                </a:lnTo>
                <a:lnTo>
                  <a:pt x="607" y="188"/>
                </a:lnTo>
                <a:lnTo>
                  <a:pt x="607" y="193"/>
                </a:lnTo>
                <a:lnTo>
                  <a:pt x="601" y="193"/>
                </a:lnTo>
                <a:lnTo>
                  <a:pt x="601" y="199"/>
                </a:lnTo>
                <a:lnTo>
                  <a:pt x="595" y="205"/>
                </a:lnTo>
                <a:lnTo>
                  <a:pt x="590" y="205"/>
                </a:lnTo>
                <a:lnTo>
                  <a:pt x="584" y="205"/>
                </a:lnTo>
                <a:lnTo>
                  <a:pt x="584" y="210"/>
                </a:lnTo>
                <a:lnTo>
                  <a:pt x="578" y="210"/>
                </a:lnTo>
                <a:lnTo>
                  <a:pt x="578" y="216"/>
                </a:lnTo>
                <a:lnTo>
                  <a:pt x="578" y="222"/>
                </a:lnTo>
                <a:lnTo>
                  <a:pt x="578" y="227"/>
                </a:lnTo>
                <a:lnTo>
                  <a:pt x="584" y="227"/>
                </a:lnTo>
                <a:lnTo>
                  <a:pt x="584" y="233"/>
                </a:lnTo>
                <a:lnTo>
                  <a:pt x="590" y="233"/>
                </a:lnTo>
                <a:lnTo>
                  <a:pt x="590" y="239"/>
                </a:lnTo>
                <a:lnTo>
                  <a:pt x="584" y="239"/>
                </a:lnTo>
                <a:lnTo>
                  <a:pt x="584" y="244"/>
                </a:lnTo>
                <a:lnTo>
                  <a:pt x="584" y="250"/>
                </a:lnTo>
                <a:lnTo>
                  <a:pt x="584" y="256"/>
                </a:lnTo>
                <a:lnTo>
                  <a:pt x="584" y="261"/>
                </a:lnTo>
                <a:lnTo>
                  <a:pt x="584" y="267"/>
                </a:lnTo>
                <a:lnTo>
                  <a:pt x="584" y="273"/>
                </a:lnTo>
                <a:lnTo>
                  <a:pt x="578" y="273"/>
                </a:lnTo>
                <a:lnTo>
                  <a:pt x="573" y="278"/>
                </a:lnTo>
                <a:lnTo>
                  <a:pt x="567" y="278"/>
                </a:lnTo>
                <a:lnTo>
                  <a:pt x="567" y="284"/>
                </a:lnTo>
                <a:lnTo>
                  <a:pt x="567" y="290"/>
                </a:lnTo>
                <a:lnTo>
                  <a:pt x="561" y="301"/>
                </a:lnTo>
                <a:lnTo>
                  <a:pt x="556" y="301"/>
                </a:lnTo>
                <a:lnTo>
                  <a:pt x="556" y="307"/>
                </a:lnTo>
                <a:lnTo>
                  <a:pt x="556" y="312"/>
                </a:lnTo>
                <a:lnTo>
                  <a:pt x="556" y="318"/>
                </a:lnTo>
                <a:lnTo>
                  <a:pt x="556" y="324"/>
                </a:lnTo>
                <a:lnTo>
                  <a:pt x="550" y="329"/>
                </a:lnTo>
                <a:lnTo>
                  <a:pt x="550" y="335"/>
                </a:lnTo>
                <a:lnTo>
                  <a:pt x="550" y="341"/>
                </a:lnTo>
                <a:lnTo>
                  <a:pt x="544" y="352"/>
                </a:lnTo>
                <a:lnTo>
                  <a:pt x="544" y="358"/>
                </a:lnTo>
                <a:lnTo>
                  <a:pt x="539" y="358"/>
                </a:lnTo>
                <a:lnTo>
                  <a:pt x="539" y="363"/>
                </a:lnTo>
                <a:lnTo>
                  <a:pt x="533" y="369"/>
                </a:lnTo>
                <a:lnTo>
                  <a:pt x="533" y="375"/>
                </a:lnTo>
                <a:lnTo>
                  <a:pt x="527" y="375"/>
                </a:lnTo>
                <a:lnTo>
                  <a:pt x="527" y="380"/>
                </a:lnTo>
                <a:lnTo>
                  <a:pt x="522" y="386"/>
                </a:lnTo>
                <a:lnTo>
                  <a:pt x="522" y="392"/>
                </a:lnTo>
                <a:lnTo>
                  <a:pt x="522" y="397"/>
                </a:lnTo>
                <a:lnTo>
                  <a:pt x="522" y="403"/>
                </a:lnTo>
                <a:lnTo>
                  <a:pt x="522" y="409"/>
                </a:lnTo>
                <a:lnTo>
                  <a:pt x="522" y="414"/>
                </a:lnTo>
                <a:lnTo>
                  <a:pt x="522" y="420"/>
                </a:lnTo>
                <a:lnTo>
                  <a:pt x="516" y="426"/>
                </a:lnTo>
                <a:lnTo>
                  <a:pt x="510" y="431"/>
                </a:lnTo>
                <a:lnTo>
                  <a:pt x="510" y="437"/>
                </a:lnTo>
                <a:lnTo>
                  <a:pt x="510" y="443"/>
                </a:lnTo>
                <a:lnTo>
                  <a:pt x="505" y="443"/>
                </a:lnTo>
                <a:lnTo>
                  <a:pt x="499" y="443"/>
                </a:lnTo>
                <a:lnTo>
                  <a:pt x="499" y="448"/>
                </a:lnTo>
                <a:lnTo>
                  <a:pt x="499" y="454"/>
                </a:lnTo>
                <a:lnTo>
                  <a:pt x="499" y="460"/>
                </a:lnTo>
                <a:lnTo>
                  <a:pt x="499" y="465"/>
                </a:lnTo>
                <a:lnTo>
                  <a:pt x="499" y="471"/>
                </a:lnTo>
                <a:lnTo>
                  <a:pt x="493" y="471"/>
                </a:lnTo>
                <a:lnTo>
                  <a:pt x="493" y="477"/>
                </a:lnTo>
                <a:lnTo>
                  <a:pt x="488" y="482"/>
                </a:lnTo>
                <a:lnTo>
                  <a:pt x="482" y="488"/>
                </a:lnTo>
                <a:lnTo>
                  <a:pt x="476" y="488"/>
                </a:lnTo>
                <a:lnTo>
                  <a:pt x="471" y="482"/>
                </a:lnTo>
                <a:lnTo>
                  <a:pt x="465" y="477"/>
                </a:lnTo>
                <a:lnTo>
                  <a:pt x="459" y="482"/>
                </a:lnTo>
                <a:lnTo>
                  <a:pt x="454" y="482"/>
                </a:lnTo>
                <a:lnTo>
                  <a:pt x="448" y="482"/>
                </a:lnTo>
                <a:lnTo>
                  <a:pt x="448" y="488"/>
                </a:lnTo>
                <a:lnTo>
                  <a:pt x="442" y="488"/>
                </a:lnTo>
                <a:lnTo>
                  <a:pt x="442" y="494"/>
                </a:lnTo>
                <a:lnTo>
                  <a:pt x="437" y="494"/>
                </a:lnTo>
                <a:lnTo>
                  <a:pt x="437" y="488"/>
                </a:lnTo>
                <a:lnTo>
                  <a:pt x="431" y="482"/>
                </a:lnTo>
                <a:lnTo>
                  <a:pt x="431" y="477"/>
                </a:lnTo>
                <a:lnTo>
                  <a:pt x="425" y="471"/>
                </a:lnTo>
                <a:lnTo>
                  <a:pt x="425" y="465"/>
                </a:lnTo>
                <a:lnTo>
                  <a:pt x="420" y="460"/>
                </a:lnTo>
                <a:lnTo>
                  <a:pt x="420" y="454"/>
                </a:lnTo>
                <a:lnTo>
                  <a:pt x="425" y="454"/>
                </a:lnTo>
                <a:lnTo>
                  <a:pt x="437" y="454"/>
                </a:lnTo>
                <a:lnTo>
                  <a:pt x="437" y="448"/>
                </a:lnTo>
                <a:lnTo>
                  <a:pt x="437" y="443"/>
                </a:lnTo>
                <a:lnTo>
                  <a:pt x="431" y="443"/>
                </a:lnTo>
                <a:lnTo>
                  <a:pt x="425" y="443"/>
                </a:lnTo>
                <a:lnTo>
                  <a:pt x="425" y="437"/>
                </a:lnTo>
                <a:lnTo>
                  <a:pt x="414" y="437"/>
                </a:lnTo>
                <a:lnTo>
                  <a:pt x="403" y="437"/>
                </a:lnTo>
                <a:lnTo>
                  <a:pt x="397" y="437"/>
                </a:lnTo>
                <a:lnTo>
                  <a:pt x="386" y="437"/>
                </a:lnTo>
                <a:lnTo>
                  <a:pt x="374" y="437"/>
                </a:lnTo>
                <a:lnTo>
                  <a:pt x="346" y="431"/>
                </a:lnTo>
                <a:lnTo>
                  <a:pt x="335" y="431"/>
                </a:lnTo>
                <a:lnTo>
                  <a:pt x="329" y="431"/>
                </a:lnTo>
                <a:lnTo>
                  <a:pt x="323" y="431"/>
                </a:lnTo>
                <a:lnTo>
                  <a:pt x="318" y="443"/>
                </a:lnTo>
                <a:lnTo>
                  <a:pt x="312" y="448"/>
                </a:lnTo>
                <a:lnTo>
                  <a:pt x="312" y="454"/>
                </a:lnTo>
                <a:lnTo>
                  <a:pt x="306" y="460"/>
                </a:lnTo>
                <a:lnTo>
                  <a:pt x="301" y="460"/>
                </a:lnTo>
                <a:lnTo>
                  <a:pt x="301" y="471"/>
                </a:lnTo>
                <a:lnTo>
                  <a:pt x="301" y="477"/>
                </a:lnTo>
                <a:lnTo>
                  <a:pt x="295" y="477"/>
                </a:lnTo>
                <a:lnTo>
                  <a:pt x="295" y="482"/>
                </a:lnTo>
                <a:lnTo>
                  <a:pt x="289" y="482"/>
                </a:lnTo>
                <a:lnTo>
                  <a:pt x="284" y="482"/>
                </a:lnTo>
                <a:lnTo>
                  <a:pt x="284" y="488"/>
                </a:lnTo>
                <a:lnTo>
                  <a:pt x="284" y="499"/>
                </a:lnTo>
                <a:lnTo>
                  <a:pt x="278" y="499"/>
                </a:lnTo>
                <a:lnTo>
                  <a:pt x="278" y="511"/>
                </a:lnTo>
                <a:lnTo>
                  <a:pt x="272" y="516"/>
                </a:lnTo>
                <a:lnTo>
                  <a:pt x="272" y="528"/>
                </a:lnTo>
                <a:lnTo>
                  <a:pt x="272" y="533"/>
                </a:lnTo>
                <a:lnTo>
                  <a:pt x="278" y="539"/>
                </a:lnTo>
                <a:lnTo>
                  <a:pt x="284" y="539"/>
                </a:lnTo>
                <a:lnTo>
                  <a:pt x="284" y="545"/>
                </a:lnTo>
                <a:lnTo>
                  <a:pt x="289" y="545"/>
                </a:lnTo>
                <a:lnTo>
                  <a:pt x="289" y="550"/>
                </a:lnTo>
                <a:lnTo>
                  <a:pt x="289" y="556"/>
                </a:lnTo>
                <a:lnTo>
                  <a:pt x="289" y="562"/>
                </a:lnTo>
                <a:lnTo>
                  <a:pt x="284" y="567"/>
                </a:lnTo>
                <a:lnTo>
                  <a:pt x="284" y="573"/>
                </a:lnTo>
                <a:lnTo>
                  <a:pt x="278" y="579"/>
                </a:lnTo>
                <a:lnTo>
                  <a:pt x="272" y="584"/>
                </a:lnTo>
                <a:lnTo>
                  <a:pt x="272" y="590"/>
                </a:lnTo>
                <a:lnTo>
                  <a:pt x="267" y="596"/>
                </a:lnTo>
                <a:lnTo>
                  <a:pt x="267" y="601"/>
                </a:lnTo>
                <a:lnTo>
                  <a:pt x="267" y="607"/>
                </a:lnTo>
                <a:lnTo>
                  <a:pt x="261" y="613"/>
                </a:lnTo>
                <a:lnTo>
                  <a:pt x="261" y="618"/>
                </a:lnTo>
                <a:lnTo>
                  <a:pt x="255" y="618"/>
                </a:lnTo>
                <a:lnTo>
                  <a:pt x="244" y="618"/>
                </a:lnTo>
                <a:lnTo>
                  <a:pt x="244" y="624"/>
                </a:lnTo>
                <a:lnTo>
                  <a:pt x="244" y="630"/>
                </a:lnTo>
                <a:lnTo>
                  <a:pt x="244" y="635"/>
                </a:lnTo>
                <a:lnTo>
                  <a:pt x="238" y="635"/>
                </a:lnTo>
                <a:lnTo>
                  <a:pt x="238" y="641"/>
                </a:lnTo>
                <a:lnTo>
                  <a:pt x="238" y="647"/>
                </a:lnTo>
                <a:lnTo>
                  <a:pt x="238" y="652"/>
                </a:lnTo>
                <a:lnTo>
                  <a:pt x="244" y="658"/>
                </a:lnTo>
                <a:lnTo>
                  <a:pt x="244" y="664"/>
                </a:lnTo>
                <a:lnTo>
                  <a:pt x="250" y="664"/>
                </a:lnTo>
                <a:lnTo>
                  <a:pt x="250" y="669"/>
                </a:lnTo>
                <a:lnTo>
                  <a:pt x="255" y="669"/>
                </a:lnTo>
                <a:lnTo>
                  <a:pt x="261" y="669"/>
                </a:lnTo>
                <a:lnTo>
                  <a:pt x="267" y="675"/>
                </a:lnTo>
                <a:lnTo>
                  <a:pt x="272" y="681"/>
                </a:lnTo>
                <a:lnTo>
                  <a:pt x="278" y="686"/>
                </a:lnTo>
                <a:lnTo>
                  <a:pt x="278" y="692"/>
                </a:lnTo>
                <a:lnTo>
                  <a:pt x="272" y="692"/>
                </a:lnTo>
                <a:lnTo>
                  <a:pt x="272" y="698"/>
                </a:lnTo>
                <a:lnTo>
                  <a:pt x="267" y="698"/>
                </a:lnTo>
                <a:lnTo>
                  <a:pt x="267" y="703"/>
                </a:lnTo>
                <a:lnTo>
                  <a:pt x="261" y="703"/>
                </a:lnTo>
                <a:lnTo>
                  <a:pt x="261" y="709"/>
                </a:lnTo>
                <a:lnTo>
                  <a:pt x="261" y="720"/>
                </a:lnTo>
                <a:lnTo>
                  <a:pt x="255" y="720"/>
                </a:lnTo>
                <a:lnTo>
                  <a:pt x="255" y="726"/>
                </a:lnTo>
                <a:lnTo>
                  <a:pt x="250" y="732"/>
                </a:lnTo>
                <a:lnTo>
                  <a:pt x="250" y="737"/>
                </a:lnTo>
                <a:lnTo>
                  <a:pt x="250" y="743"/>
                </a:lnTo>
                <a:lnTo>
                  <a:pt x="244" y="749"/>
                </a:lnTo>
                <a:lnTo>
                  <a:pt x="238" y="754"/>
                </a:lnTo>
                <a:lnTo>
                  <a:pt x="238" y="760"/>
                </a:lnTo>
                <a:lnTo>
                  <a:pt x="238" y="766"/>
                </a:lnTo>
                <a:lnTo>
                  <a:pt x="233" y="771"/>
                </a:lnTo>
                <a:lnTo>
                  <a:pt x="221" y="783"/>
                </a:lnTo>
                <a:lnTo>
                  <a:pt x="221" y="788"/>
                </a:lnTo>
                <a:lnTo>
                  <a:pt x="216" y="777"/>
                </a:lnTo>
                <a:lnTo>
                  <a:pt x="204" y="766"/>
                </a:lnTo>
                <a:lnTo>
                  <a:pt x="204" y="760"/>
                </a:lnTo>
                <a:lnTo>
                  <a:pt x="199" y="754"/>
                </a:lnTo>
                <a:lnTo>
                  <a:pt x="187" y="743"/>
                </a:lnTo>
                <a:lnTo>
                  <a:pt x="176" y="732"/>
                </a:lnTo>
                <a:lnTo>
                  <a:pt x="170" y="726"/>
                </a:lnTo>
                <a:lnTo>
                  <a:pt x="159" y="715"/>
                </a:lnTo>
                <a:lnTo>
                  <a:pt x="153" y="715"/>
                </a:lnTo>
                <a:lnTo>
                  <a:pt x="147" y="703"/>
                </a:lnTo>
                <a:lnTo>
                  <a:pt x="142" y="703"/>
                </a:lnTo>
                <a:lnTo>
                  <a:pt x="142" y="698"/>
                </a:lnTo>
                <a:lnTo>
                  <a:pt x="119" y="681"/>
                </a:lnTo>
                <a:lnTo>
                  <a:pt x="108" y="669"/>
                </a:lnTo>
                <a:lnTo>
                  <a:pt x="102" y="664"/>
                </a:lnTo>
                <a:lnTo>
                  <a:pt x="91" y="664"/>
                </a:lnTo>
                <a:lnTo>
                  <a:pt x="85" y="658"/>
                </a:lnTo>
                <a:lnTo>
                  <a:pt x="79" y="652"/>
                </a:lnTo>
                <a:lnTo>
                  <a:pt x="74" y="647"/>
                </a:lnTo>
                <a:lnTo>
                  <a:pt x="62" y="64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8" name="Freeform 15"/>
          <p:cNvSpPr>
            <a:spLocks/>
          </p:cNvSpPr>
          <p:nvPr/>
        </p:nvSpPr>
        <p:spPr bwMode="gray">
          <a:xfrm>
            <a:off x="1621461" y="4216197"/>
            <a:ext cx="643076" cy="683532"/>
          </a:xfrm>
          <a:custGeom>
            <a:avLst/>
            <a:gdLst>
              <a:gd name="T0" fmla="*/ 2147483647 w 380"/>
              <a:gd name="T1" fmla="*/ 2147483647 h 403"/>
              <a:gd name="T2" fmla="*/ 2147483647 w 380"/>
              <a:gd name="T3" fmla="*/ 2147483647 h 403"/>
              <a:gd name="T4" fmla="*/ 2147483647 w 380"/>
              <a:gd name="T5" fmla="*/ 2147483647 h 403"/>
              <a:gd name="T6" fmla="*/ 2147483647 w 380"/>
              <a:gd name="T7" fmla="*/ 2147483647 h 403"/>
              <a:gd name="T8" fmla="*/ 2147483647 w 380"/>
              <a:gd name="T9" fmla="*/ 2147483647 h 403"/>
              <a:gd name="T10" fmla="*/ 2147483647 w 380"/>
              <a:gd name="T11" fmla="*/ 2147483647 h 403"/>
              <a:gd name="T12" fmla="*/ 0 w 380"/>
              <a:gd name="T13" fmla="*/ 2147483647 h 403"/>
              <a:gd name="T14" fmla="*/ 2147483647 w 380"/>
              <a:gd name="T15" fmla="*/ 2147483647 h 403"/>
              <a:gd name="T16" fmla="*/ 2147483647 w 380"/>
              <a:gd name="T17" fmla="*/ 2147483647 h 403"/>
              <a:gd name="T18" fmla="*/ 2147483647 w 380"/>
              <a:gd name="T19" fmla="*/ 2147483647 h 403"/>
              <a:gd name="T20" fmla="*/ 2147483647 w 380"/>
              <a:gd name="T21" fmla="*/ 2147483647 h 403"/>
              <a:gd name="T22" fmla="*/ 2147483647 w 380"/>
              <a:gd name="T23" fmla="*/ 2147483647 h 403"/>
              <a:gd name="T24" fmla="*/ 2147483647 w 380"/>
              <a:gd name="T25" fmla="*/ 2147483647 h 403"/>
              <a:gd name="T26" fmla="*/ 2147483647 w 380"/>
              <a:gd name="T27" fmla="*/ 2147483647 h 403"/>
              <a:gd name="T28" fmla="*/ 2147483647 w 380"/>
              <a:gd name="T29" fmla="*/ 2147483647 h 403"/>
              <a:gd name="T30" fmla="*/ 2147483647 w 380"/>
              <a:gd name="T31" fmla="*/ 2147483647 h 403"/>
              <a:gd name="T32" fmla="*/ 2147483647 w 380"/>
              <a:gd name="T33" fmla="*/ 2147483647 h 403"/>
              <a:gd name="T34" fmla="*/ 2147483647 w 380"/>
              <a:gd name="T35" fmla="*/ 2147483647 h 403"/>
              <a:gd name="T36" fmla="*/ 2147483647 w 380"/>
              <a:gd name="T37" fmla="*/ 2147483647 h 403"/>
              <a:gd name="T38" fmla="*/ 2147483647 w 380"/>
              <a:gd name="T39" fmla="*/ 2147483647 h 403"/>
              <a:gd name="T40" fmla="*/ 2147483647 w 380"/>
              <a:gd name="T41" fmla="*/ 2147483647 h 403"/>
              <a:gd name="T42" fmla="*/ 2147483647 w 380"/>
              <a:gd name="T43" fmla="*/ 2147483647 h 403"/>
              <a:gd name="T44" fmla="*/ 2147483647 w 380"/>
              <a:gd name="T45" fmla="*/ 2147483647 h 403"/>
              <a:gd name="T46" fmla="*/ 2147483647 w 380"/>
              <a:gd name="T47" fmla="*/ 2147483647 h 403"/>
              <a:gd name="T48" fmla="*/ 2147483647 w 380"/>
              <a:gd name="T49" fmla="*/ 2147483647 h 403"/>
              <a:gd name="T50" fmla="*/ 2147483647 w 380"/>
              <a:gd name="T51" fmla="*/ 2147483647 h 403"/>
              <a:gd name="T52" fmla="*/ 2147483647 w 380"/>
              <a:gd name="T53" fmla="*/ 0 h 403"/>
              <a:gd name="T54" fmla="*/ 2147483647 w 380"/>
              <a:gd name="T55" fmla="*/ 2147483647 h 403"/>
              <a:gd name="T56" fmla="*/ 2147483647 w 380"/>
              <a:gd name="T57" fmla="*/ 2147483647 h 403"/>
              <a:gd name="T58" fmla="*/ 2147483647 w 380"/>
              <a:gd name="T59" fmla="*/ 2147483647 h 403"/>
              <a:gd name="T60" fmla="*/ 2147483647 w 380"/>
              <a:gd name="T61" fmla="*/ 2147483647 h 403"/>
              <a:gd name="T62" fmla="*/ 2147483647 w 380"/>
              <a:gd name="T63" fmla="*/ 2147483647 h 403"/>
              <a:gd name="T64" fmla="*/ 2147483647 w 380"/>
              <a:gd name="T65" fmla="*/ 2147483647 h 403"/>
              <a:gd name="T66" fmla="*/ 2147483647 w 380"/>
              <a:gd name="T67" fmla="*/ 2147483647 h 403"/>
              <a:gd name="T68" fmla="*/ 2147483647 w 380"/>
              <a:gd name="T69" fmla="*/ 2147483647 h 403"/>
              <a:gd name="T70" fmla="*/ 2147483647 w 380"/>
              <a:gd name="T71" fmla="*/ 2147483647 h 403"/>
              <a:gd name="T72" fmla="*/ 2147483647 w 380"/>
              <a:gd name="T73" fmla="*/ 2147483647 h 403"/>
              <a:gd name="T74" fmla="*/ 2147483647 w 380"/>
              <a:gd name="T75" fmla="*/ 2147483647 h 403"/>
              <a:gd name="T76" fmla="*/ 2147483647 w 380"/>
              <a:gd name="T77" fmla="*/ 2147483647 h 403"/>
              <a:gd name="T78" fmla="*/ 2147483647 w 380"/>
              <a:gd name="T79" fmla="*/ 2147483647 h 403"/>
              <a:gd name="T80" fmla="*/ 2147483647 w 380"/>
              <a:gd name="T81" fmla="*/ 2147483647 h 403"/>
              <a:gd name="T82" fmla="*/ 2147483647 w 380"/>
              <a:gd name="T83" fmla="*/ 2147483647 h 403"/>
              <a:gd name="T84" fmla="*/ 2147483647 w 380"/>
              <a:gd name="T85" fmla="*/ 2147483647 h 403"/>
              <a:gd name="T86" fmla="*/ 2147483647 w 380"/>
              <a:gd name="T87" fmla="*/ 2147483647 h 403"/>
              <a:gd name="T88" fmla="*/ 2147483647 w 380"/>
              <a:gd name="T89" fmla="*/ 2147483647 h 403"/>
              <a:gd name="T90" fmla="*/ 2147483647 w 380"/>
              <a:gd name="T91" fmla="*/ 2147483647 h 403"/>
              <a:gd name="T92" fmla="*/ 2147483647 w 380"/>
              <a:gd name="T93" fmla="*/ 2147483647 h 403"/>
              <a:gd name="T94" fmla="*/ 2147483647 w 380"/>
              <a:gd name="T95" fmla="*/ 2147483647 h 403"/>
              <a:gd name="T96" fmla="*/ 2147483647 w 380"/>
              <a:gd name="T97" fmla="*/ 2147483647 h 403"/>
              <a:gd name="T98" fmla="*/ 2147483647 w 380"/>
              <a:gd name="T99" fmla="*/ 2147483647 h 403"/>
              <a:gd name="T100" fmla="*/ 2147483647 w 380"/>
              <a:gd name="T101" fmla="*/ 2147483647 h 40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80"/>
              <a:gd name="T154" fmla="*/ 0 h 403"/>
              <a:gd name="T155" fmla="*/ 380 w 380"/>
              <a:gd name="T156" fmla="*/ 403 h 40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80" h="403">
                <a:moveTo>
                  <a:pt x="46" y="346"/>
                </a:moveTo>
                <a:lnTo>
                  <a:pt x="51" y="341"/>
                </a:lnTo>
                <a:lnTo>
                  <a:pt x="51" y="335"/>
                </a:lnTo>
                <a:lnTo>
                  <a:pt x="57" y="335"/>
                </a:lnTo>
                <a:lnTo>
                  <a:pt x="57" y="329"/>
                </a:lnTo>
                <a:lnTo>
                  <a:pt x="51" y="318"/>
                </a:lnTo>
                <a:lnTo>
                  <a:pt x="46" y="307"/>
                </a:lnTo>
                <a:lnTo>
                  <a:pt x="40" y="301"/>
                </a:lnTo>
                <a:lnTo>
                  <a:pt x="34" y="290"/>
                </a:lnTo>
                <a:lnTo>
                  <a:pt x="34" y="284"/>
                </a:lnTo>
                <a:lnTo>
                  <a:pt x="34" y="278"/>
                </a:lnTo>
                <a:lnTo>
                  <a:pt x="34" y="273"/>
                </a:lnTo>
                <a:lnTo>
                  <a:pt x="40" y="267"/>
                </a:lnTo>
                <a:lnTo>
                  <a:pt x="34" y="267"/>
                </a:lnTo>
                <a:lnTo>
                  <a:pt x="34" y="256"/>
                </a:lnTo>
                <a:lnTo>
                  <a:pt x="34" y="250"/>
                </a:lnTo>
                <a:lnTo>
                  <a:pt x="34" y="244"/>
                </a:lnTo>
                <a:lnTo>
                  <a:pt x="34" y="239"/>
                </a:lnTo>
                <a:lnTo>
                  <a:pt x="40" y="239"/>
                </a:lnTo>
                <a:lnTo>
                  <a:pt x="40" y="233"/>
                </a:lnTo>
                <a:lnTo>
                  <a:pt x="40" y="222"/>
                </a:lnTo>
                <a:lnTo>
                  <a:pt x="46" y="216"/>
                </a:lnTo>
                <a:lnTo>
                  <a:pt x="46" y="210"/>
                </a:lnTo>
                <a:lnTo>
                  <a:pt x="40" y="205"/>
                </a:lnTo>
                <a:lnTo>
                  <a:pt x="34" y="205"/>
                </a:lnTo>
                <a:lnTo>
                  <a:pt x="34" y="199"/>
                </a:lnTo>
                <a:lnTo>
                  <a:pt x="34" y="193"/>
                </a:lnTo>
                <a:lnTo>
                  <a:pt x="29" y="188"/>
                </a:lnTo>
                <a:lnTo>
                  <a:pt x="29" y="182"/>
                </a:lnTo>
                <a:lnTo>
                  <a:pt x="23" y="182"/>
                </a:lnTo>
                <a:lnTo>
                  <a:pt x="23" y="176"/>
                </a:lnTo>
                <a:lnTo>
                  <a:pt x="17" y="176"/>
                </a:lnTo>
                <a:lnTo>
                  <a:pt x="12" y="165"/>
                </a:lnTo>
                <a:lnTo>
                  <a:pt x="6" y="165"/>
                </a:lnTo>
                <a:lnTo>
                  <a:pt x="0" y="159"/>
                </a:lnTo>
                <a:lnTo>
                  <a:pt x="0" y="154"/>
                </a:lnTo>
                <a:lnTo>
                  <a:pt x="0" y="148"/>
                </a:lnTo>
                <a:lnTo>
                  <a:pt x="6" y="148"/>
                </a:lnTo>
                <a:lnTo>
                  <a:pt x="6" y="142"/>
                </a:lnTo>
                <a:lnTo>
                  <a:pt x="6" y="137"/>
                </a:lnTo>
                <a:lnTo>
                  <a:pt x="12" y="137"/>
                </a:lnTo>
                <a:lnTo>
                  <a:pt x="12" y="131"/>
                </a:lnTo>
                <a:lnTo>
                  <a:pt x="12" y="125"/>
                </a:lnTo>
                <a:lnTo>
                  <a:pt x="12" y="120"/>
                </a:lnTo>
                <a:lnTo>
                  <a:pt x="12" y="114"/>
                </a:lnTo>
                <a:lnTo>
                  <a:pt x="12" y="108"/>
                </a:lnTo>
                <a:lnTo>
                  <a:pt x="17" y="97"/>
                </a:lnTo>
                <a:lnTo>
                  <a:pt x="17" y="91"/>
                </a:lnTo>
                <a:lnTo>
                  <a:pt x="17" y="85"/>
                </a:lnTo>
                <a:lnTo>
                  <a:pt x="23" y="85"/>
                </a:lnTo>
                <a:lnTo>
                  <a:pt x="29" y="85"/>
                </a:lnTo>
                <a:lnTo>
                  <a:pt x="29" y="91"/>
                </a:lnTo>
                <a:lnTo>
                  <a:pt x="34" y="97"/>
                </a:lnTo>
                <a:lnTo>
                  <a:pt x="40" y="97"/>
                </a:lnTo>
                <a:lnTo>
                  <a:pt x="46" y="97"/>
                </a:lnTo>
                <a:lnTo>
                  <a:pt x="51" y="91"/>
                </a:lnTo>
                <a:lnTo>
                  <a:pt x="57" y="91"/>
                </a:lnTo>
                <a:lnTo>
                  <a:pt x="63" y="85"/>
                </a:lnTo>
                <a:lnTo>
                  <a:pt x="63" y="80"/>
                </a:lnTo>
                <a:lnTo>
                  <a:pt x="63" y="74"/>
                </a:lnTo>
                <a:lnTo>
                  <a:pt x="63" y="68"/>
                </a:lnTo>
                <a:lnTo>
                  <a:pt x="68" y="68"/>
                </a:lnTo>
                <a:lnTo>
                  <a:pt x="74" y="68"/>
                </a:lnTo>
                <a:lnTo>
                  <a:pt x="74" y="63"/>
                </a:lnTo>
                <a:lnTo>
                  <a:pt x="74" y="57"/>
                </a:lnTo>
                <a:lnTo>
                  <a:pt x="80" y="57"/>
                </a:lnTo>
                <a:lnTo>
                  <a:pt x="85" y="57"/>
                </a:lnTo>
                <a:lnTo>
                  <a:pt x="85" y="51"/>
                </a:lnTo>
                <a:lnTo>
                  <a:pt x="91" y="51"/>
                </a:lnTo>
                <a:lnTo>
                  <a:pt x="97" y="57"/>
                </a:lnTo>
                <a:lnTo>
                  <a:pt x="102" y="57"/>
                </a:lnTo>
                <a:lnTo>
                  <a:pt x="108" y="57"/>
                </a:lnTo>
                <a:lnTo>
                  <a:pt x="108" y="63"/>
                </a:lnTo>
                <a:lnTo>
                  <a:pt x="114" y="57"/>
                </a:lnTo>
                <a:lnTo>
                  <a:pt x="114" y="63"/>
                </a:lnTo>
                <a:lnTo>
                  <a:pt x="114" y="68"/>
                </a:lnTo>
                <a:lnTo>
                  <a:pt x="119" y="68"/>
                </a:lnTo>
                <a:lnTo>
                  <a:pt x="119" y="74"/>
                </a:lnTo>
                <a:lnTo>
                  <a:pt x="119" y="80"/>
                </a:lnTo>
                <a:lnTo>
                  <a:pt x="119" y="85"/>
                </a:lnTo>
                <a:lnTo>
                  <a:pt x="119" y="91"/>
                </a:lnTo>
                <a:lnTo>
                  <a:pt x="125" y="91"/>
                </a:lnTo>
                <a:lnTo>
                  <a:pt x="125" y="85"/>
                </a:lnTo>
                <a:lnTo>
                  <a:pt x="131" y="85"/>
                </a:lnTo>
                <a:lnTo>
                  <a:pt x="131" y="80"/>
                </a:lnTo>
                <a:lnTo>
                  <a:pt x="136" y="80"/>
                </a:lnTo>
                <a:lnTo>
                  <a:pt x="142" y="80"/>
                </a:lnTo>
                <a:lnTo>
                  <a:pt x="142" y="85"/>
                </a:lnTo>
                <a:lnTo>
                  <a:pt x="148" y="91"/>
                </a:lnTo>
                <a:lnTo>
                  <a:pt x="148" y="97"/>
                </a:lnTo>
                <a:lnTo>
                  <a:pt x="148" y="102"/>
                </a:lnTo>
                <a:lnTo>
                  <a:pt x="159" y="108"/>
                </a:lnTo>
                <a:lnTo>
                  <a:pt x="159" y="114"/>
                </a:lnTo>
                <a:lnTo>
                  <a:pt x="165" y="108"/>
                </a:lnTo>
                <a:lnTo>
                  <a:pt x="170" y="108"/>
                </a:lnTo>
                <a:lnTo>
                  <a:pt x="170" y="102"/>
                </a:lnTo>
                <a:lnTo>
                  <a:pt x="182" y="97"/>
                </a:lnTo>
                <a:lnTo>
                  <a:pt x="187" y="91"/>
                </a:lnTo>
                <a:lnTo>
                  <a:pt x="187" y="85"/>
                </a:lnTo>
                <a:lnTo>
                  <a:pt x="187" y="74"/>
                </a:lnTo>
                <a:lnTo>
                  <a:pt x="187" y="63"/>
                </a:lnTo>
                <a:lnTo>
                  <a:pt x="182" y="57"/>
                </a:lnTo>
                <a:lnTo>
                  <a:pt x="182" y="51"/>
                </a:lnTo>
                <a:lnTo>
                  <a:pt x="187" y="51"/>
                </a:lnTo>
                <a:lnTo>
                  <a:pt x="187" y="40"/>
                </a:lnTo>
                <a:lnTo>
                  <a:pt x="187" y="29"/>
                </a:lnTo>
                <a:lnTo>
                  <a:pt x="193" y="29"/>
                </a:lnTo>
                <a:lnTo>
                  <a:pt x="193" y="23"/>
                </a:lnTo>
                <a:lnTo>
                  <a:pt x="199" y="23"/>
                </a:lnTo>
                <a:lnTo>
                  <a:pt x="199" y="17"/>
                </a:lnTo>
                <a:lnTo>
                  <a:pt x="204" y="17"/>
                </a:lnTo>
                <a:lnTo>
                  <a:pt x="210" y="17"/>
                </a:lnTo>
                <a:lnTo>
                  <a:pt x="216" y="17"/>
                </a:lnTo>
                <a:lnTo>
                  <a:pt x="227" y="17"/>
                </a:lnTo>
                <a:lnTo>
                  <a:pt x="233" y="17"/>
                </a:lnTo>
                <a:lnTo>
                  <a:pt x="238" y="12"/>
                </a:lnTo>
                <a:lnTo>
                  <a:pt x="238" y="17"/>
                </a:lnTo>
                <a:lnTo>
                  <a:pt x="244" y="17"/>
                </a:lnTo>
                <a:lnTo>
                  <a:pt x="250" y="17"/>
                </a:lnTo>
                <a:lnTo>
                  <a:pt x="255" y="17"/>
                </a:lnTo>
                <a:lnTo>
                  <a:pt x="255" y="23"/>
                </a:lnTo>
                <a:lnTo>
                  <a:pt x="267" y="17"/>
                </a:lnTo>
                <a:lnTo>
                  <a:pt x="272" y="17"/>
                </a:lnTo>
                <a:lnTo>
                  <a:pt x="272" y="12"/>
                </a:lnTo>
                <a:lnTo>
                  <a:pt x="278" y="12"/>
                </a:lnTo>
                <a:lnTo>
                  <a:pt x="284" y="12"/>
                </a:lnTo>
                <a:lnTo>
                  <a:pt x="289" y="12"/>
                </a:lnTo>
                <a:lnTo>
                  <a:pt x="295" y="12"/>
                </a:lnTo>
                <a:lnTo>
                  <a:pt x="301" y="12"/>
                </a:lnTo>
                <a:lnTo>
                  <a:pt x="306" y="12"/>
                </a:lnTo>
                <a:lnTo>
                  <a:pt x="312" y="12"/>
                </a:lnTo>
                <a:lnTo>
                  <a:pt x="312" y="6"/>
                </a:lnTo>
                <a:lnTo>
                  <a:pt x="318" y="0"/>
                </a:lnTo>
                <a:lnTo>
                  <a:pt x="324" y="0"/>
                </a:lnTo>
                <a:lnTo>
                  <a:pt x="329" y="0"/>
                </a:lnTo>
                <a:lnTo>
                  <a:pt x="335" y="6"/>
                </a:lnTo>
                <a:lnTo>
                  <a:pt x="341" y="6"/>
                </a:lnTo>
                <a:lnTo>
                  <a:pt x="346" y="12"/>
                </a:lnTo>
                <a:lnTo>
                  <a:pt x="352" y="17"/>
                </a:lnTo>
                <a:lnTo>
                  <a:pt x="352" y="23"/>
                </a:lnTo>
                <a:lnTo>
                  <a:pt x="358" y="23"/>
                </a:lnTo>
                <a:lnTo>
                  <a:pt x="369" y="23"/>
                </a:lnTo>
                <a:lnTo>
                  <a:pt x="375" y="23"/>
                </a:lnTo>
                <a:lnTo>
                  <a:pt x="380" y="23"/>
                </a:lnTo>
                <a:lnTo>
                  <a:pt x="380" y="29"/>
                </a:lnTo>
                <a:lnTo>
                  <a:pt x="375" y="29"/>
                </a:lnTo>
                <a:lnTo>
                  <a:pt x="375" y="34"/>
                </a:lnTo>
                <a:lnTo>
                  <a:pt x="375" y="40"/>
                </a:lnTo>
                <a:lnTo>
                  <a:pt x="369" y="46"/>
                </a:lnTo>
                <a:lnTo>
                  <a:pt x="369" y="51"/>
                </a:lnTo>
                <a:lnTo>
                  <a:pt x="363" y="51"/>
                </a:lnTo>
                <a:lnTo>
                  <a:pt x="358" y="51"/>
                </a:lnTo>
                <a:lnTo>
                  <a:pt x="358" y="57"/>
                </a:lnTo>
                <a:lnTo>
                  <a:pt x="352" y="57"/>
                </a:lnTo>
                <a:lnTo>
                  <a:pt x="346" y="57"/>
                </a:lnTo>
                <a:lnTo>
                  <a:pt x="346" y="63"/>
                </a:lnTo>
                <a:lnTo>
                  <a:pt x="341" y="63"/>
                </a:lnTo>
                <a:lnTo>
                  <a:pt x="341" y="68"/>
                </a:lnTo>
                <a:lnTo>
                  <a:pt x="335" y="68"/>
                </a:lnTo>
                <a:lnTo>
                  <a:pt x="335" y="74"/>
                </a:lnTo>
                <a:lnTo>
                  <a:pt x="329" y="74"/>
                </a:lnTo>
                <a:lnTo>
                  <a:pt x="329" y="80"/>
                </a:lnTo>
                <a:lnTo>
                  <a:pt x="329" y="85"/>
                </a:lnTo>
                <a:lnTo>
                  <a:pt x="324" y="91"/>
                </a:lnTo>
                <a:lnTo>
                  <a:pt x="324" y="97"/>
                </a:lnTo>
                <a:lnTo>
                  <a:pt x="324" y="108"/>
                </a:lnTo>
                <a:lnTo>
                  <a:pt x="329" y="114"/>
                </a:lnTo>
                <a:lnTo>
                  <a:pt x="329" y="120"/>
                </a:lnTo>
                <a:lnTo>
                  <a:pt x="329" y="125"/>
                </a:lnTo>
                <a:lnTo>
                  <a:pt x="329" y="137"/>
                </a:lnTo>
                <a:lnTo>
                  <a:pt x="329" y="142"/>
                </a:lnTo>
                <a:lnTo>
                  <a:pt x="324" y="142"/>
                </a:lnTo>
                <a:lnTo>
                  <a:pt x="324" y="148"/>
                </a:lnTo>
                <a:lnTo>
                  <a:pt x="324" y="159"/>
                </a:lnTo>
                <a:lnTo>
                  <a:pt x="324" y="165"/>
                </a:lnTo>
                <a:lnTo>
                  <a:pt x="324" y="176"/>
                </a:lnTo>
                <a:lnTo>
                  <a:pt x="324" y="188"/>
                </a:lnTo>
                <a:lnTo>
                  <a:pt x="329" y="193"/>
                </a:lnTo>
                <a:lnTo>
                  <a:pt x="329" y="199"/>
                </a:lnTo>
                <a:lnTo>
                  <a:pt x="329" y="205"/>
                </a:lnTo>
                <a:lnTo>
                  <a:pt x="329" y="210"/>
                </a:lnTo>
                <a:lnTo>
                  <a:pt x="329" y="222"/>
                </a:lnTo>
                <a:lnTo>
                  <a:pt x="329" y="227"/>
                </a:lnTo>
                <a:lnTo>
                  <a:pt x="329" y="233"/>
                </a:lnTo>
                <a:lnTo>
                  <a:pt x="335" y="239"/>
                </a:lnTo>
                <a:lnTo>
                  <a:pt x="341" y="239"/>
                </a:lnTo>
                <a:lnTo>
                  <a:pt x="341" y="244"/>
                </a:lnTo>
                <a:lnTo>
                  <a:pt x="341" y="250"/>
                </a:lnTo>
                <a:lnTo>
                  <a:pt x="341" y="256"/>
                </a:lnTo>
                <a:lnTo>
                  <a:pt x="335" y="256"/>
                </a:lnTo>
                <a:lnTo>
                  <a:pt x="329" y="261"/>
                </a:lnTo>
                <a:lnTo>
                  <a:pt x="324" y="261"/>
                </a:lnTo>
                <a:lnTo>
                  <a:pt x="318" y="261"/>
                </a:lnTo>
                <a:lnTo>
                  <a:pt x="312" y="261"/>
                </a:lnTo>
                <a:lnTo>
                  <a:pt x="306" y="261"/>
                </a:lnTo>
                <a:lnTo>
                  <a:pt x="301" y="261"/>
                </a:lnTo>
                <a:lnTo>
                  <a:pt x="295" y="261"/>
                </a:lnTo>
                <a:lnTo>
                  <a:pt x="295" y="267"/>
                </a:lnTo>
                <a:lnTo>
                  <a:pt x="295" y="278"/>
                </a:lnTo>
                <a:lnTo>
                  <a:pt x="295" y="284"/>
                </a:lnTo>
                <a:lnTo>
                  <a:pt x="295" y="290"/>
                </a:lnTo>
                <a:lnTo>
                  <a:pt x="295" y="295"/>
                </a:lnTo>
                <a:lnTo>
                  <a:pt x="295" y="301"/>
                </a:lnTo>
                <a:lnTo>
                  <a:pt x="295" y="307"/>
                </a:lnTo>
                <a:lnTo>
                  <a:pt x="289" y="307"/>
                </a:lnTo>
                <a:lnTo>
                  <a:pt x="284" y="307"/>
                </a:lnTo>
                <a:lnTo>
                  <a:pt x="278" y="312"/>
                </a:lnTo>
                <a:lnTo>
                  <a:pt x="267" y="312"/>
                </a:lnTo>
                <a:lnTo>
                  <a:pt x="261" y="312"/>
                </a:lnTo>
                <a:lnTo>
                  <a:pt x="261" y="318"/>
                </a:lnTo>
                <a:lnTo>
                  <a:pt x="255" y="318"/>
                </a:lnTo>
                <a:lnTo>
                  <a:pt x="250" y="324"/>
                </a:lnTo>
                <a:lnTo>
                  <a:pt x="250" y="329"/>
                </a:lnTo>
                <a:lnTo>
                  <a:pt x="244" y="329"/>
                </a:lnTo>
                <a:lnTo>
                  <a:pt x="238" y="335"/>
                </a:lnTo>
                <a:lnTo>
                  <a:pt x="233" y="335"/>
                </a:lnTo>
                <a:lnTo>
                  <a:pt x="233" y="341"/>
                </a:lnTo>
                <a:lnTo>
                  <a:pt x="227" y="346"/>
                </a:lnTo>
                <a:lnTo>
                  <a:pt x="216" y="352"/>
                </a:lnTo>
                <a:lnTo>
                  <a:pt x="216" y="358"/>
                </a:lnTo>
                <a:lnTo>
                  <a:pt x="210" y="363"/>
                </a:lnTo>
                <a:lnTo>
                  <a:pt x="204" y="369"/>
                </a:lnTo>
                <a:lnTo>
                  <a:pt x="204" y="375"/>
                </a:lnTo>
                <a:lnTo>
                  <a:pt x="199" y="386"/>
                </a:lnTo>
                <a:lnTo>
                  <a:pt x="199" y="392"/>
                </a:lnTo>
                <a:lnTo>
                  <a:pt x="193" y="392"/>
                </a:lnTo>
                <a:lnTo>
                  <a:pt x="187" y="392"/>
                </a:lnTo>
                <a:lnTo>
                  <a:pt x="182" y="392"/>
                </a:lnTo>
                <a:lnTo>
                  <a:pt x="170" y="392"/>
                </a:lnTo>
                <a:lnTo>
                  <a:pt x="165" y="392"/>
                </a:lnTo>
                <a:lnTo>
                  <a:pt x="159" y="392"/>
                </a:lnTo>
                <a:lnTo>
                  <a:pt x="159" y="397"/>
                </a:lnTo>
                <a:lnTo>
                  <a:pt x="142" y="403"/>
                </a:lnTo>
                <a:lnTo>
                  <a:pt x="136" y="403"/>
                </a:lnTo>
                <a:lnTo>
                  <a:pt x="131" y="403"/>
                </a:lnTo>
                <a:lnTo>
                  <a:pt x="131" y="397"/>
                </a:lnTo>
                <a:lnTo>
                  <a:pt x="119" y="392"/>
                </a:lnTo>
                <a:lnTo>
                  <a:pt x="119" y="386"/>
                </a:lnTo>
                <a:lnTo>
                  <a:pt x="114" y="380"/>
                </a:lnTo>
                <a:lnTo>
                  <a:pt x="114" y="375"/>
                </a:lnTo>
                <a:lnTo>
                  <a:pt x="114" y="369"/>
                </a:lnTo>
                <a:lnTo>
                  <a:pt x="108" y="369"/>
                </a:lnTo>
                <a:lnTo>
                  <a:pt x="102" y="363"/>
                </a:lnTo>
                <a:lnTo>
                  <a:pt x="97" y="363"/>
                </a:lnTo>
                <a:lnTo>
                  <a:pt x="91" y="369"/>
                </a:lnTo>
                <a:lnTo>
                  <a:pt x="91" y="375"/>
                </a:lnTo>
                <a:lnTo>
                  <a:pt x="85" y="375"/>
                </a:lnTo>
                <a:lnTo>
                  <a:pt x="80" y="375"/>
                </a:lnTo>
                <a:lnTo>
                  <a:pt x="74" y="380"/>
                </a:lnTo>
                <a:lnTo>
                  <a:pt x="68" y="380"/>
                </a:lnTo>
                <a:lnTo>
                  <a:pt x="63" y="375"/>
                </a:lnTo>
                <a:lnTo>
                  <a:pt x="57" y="369"/>
                </a:lnTo>
                <a:lnTo>
                  <a:pt x="57" y="363"/>
                </a:lnTo>
                <a:lnTo>
                  <a:pt x="57" y="358"/>
                </a:lnTo>
                <a:lnTo>
                  <a:pt x="51" y="352"/>
                </a:lnTo>
                <a:lnTo>
                  <a:pt x="46" y="34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79" name="Freeform 16"/>
          <p:cNvSpPr>
            <a:spLocks/>
          </p:cNvSpPr>
          <p:nvPr/>
        </p:nvSpPr>
        <p:spPr bwMode="gray">
          <a:xfrm>
            <a:off x="843938" y="3555341"/>
            <a:ext cx="1122549" cy="1286077"/>
          </a:xfrm>
          <a:custGeom>
            <a:avLst/>
            <a:gdLst>
              <a:gd name="T0" fmla="*/ 2147483647 w 663"/>
              <a:gd name="T1" fmla="*/ 2147483647 h 760"/>
              <a:gd name="T2" fmla="*/ 2147483647 w 663"/>
              <a:gd name="T3" fmla="*/ 2147483647 h 760"/>
              <a:gd name="T4" fmla="*/ 2147483647 w 663"/>
              <a:gd name="T5" fmla="*/ 2147483647 h 760"/>
              <a:gd name="T6" fmla="*/ 2147483647 w 663"/>
              <a:gd name="T7" fmla="*/ 2147483647 h 760"/>
              <a:gd name="T8" fmla="*/ 2147483647 w 663"/>
              <a:gd name="T9" fmla="*/ 2147483647 h 760"/>
              <a:gd name="T10" fmla="*/ 2147483647 w 663"/>
              <a:gd name="T11" fmla="*/ 2147483647 h 760"/>
              <a:gd name="T12" fmla="*/ 2147483647 w 663"/>
              <a:gd name="T13" fmla="*/ 2147483647 h 760"/>
              <a:gd name="T14" fmla="*/ 2147483647 w 663"/>
              <a:gd name="T15" fmla="*/ 2147483647 h 760"/>
              <a:gd name="T16" fmla="*/ 2147483647 w 663"/>
              <a:gd name="T17" fmla="*/ 2147483647 h 760"/>
              <a:gd name="T18" fmla="*/ 2147483647 w 663"/>
              <a:gd name="T19" fmla="*/ 2147483647 h 760"/>
              <a:gd name="T20" fmla="*/ 2147483647 w 663"/>
              <a:gd name="T21" fmla="*/ 2147483647 h 760"/>
              <a:gd name="T22" fmla="*/ 2147483647 w 663"/>
              <a:gd name="T23" fmla="*/ 2147483647 h 760"/>
              <a:gd name="T24" fmla="*/ 2147483647 w 663"/>
              <a:gd name="T25" fmla="*/ 2147483647 h 760"/>
              <a:gd name="T26" fmla="*/ 2147483647 w 663"/>
              <a:gd name="T27" fmla="*/ 2147483647 h 760"/>
              <a:gd name="T28" fmla="*/ 2147483647 w 663"/>
              <a:gd name="T29" fmla="*/ 2147483647 h 760"/>
              <a:gd name="T30" fmla="*/ 2147483647 w 663"/>
              <a:gd name="T31" fmla="*/ 2147483647 h 760"/>
              <a:gd name="T32" fmla="*/ 2147483647 w 663"/>
              <a:gd name="T33" fmla="*/ 2147483647 h 760"/>
              <a:gd name="T34" fmla="*/ 2147483647 w 663"/>
              <a:gd name="T35" fmla="*/ 2147483647 h 760"/>
              <a:gd name="T36" fmla="*/ 2147483647 w 663"/>
              <a:gd name="T37" fmla="*/ 2147483647 h 760"/>
              <a:gd name="T38" fmla="*/ 2147483647 w 663"/>
              <a:gd name="T39" fmla="*/ 2147483647 h 760"/>
              <a:gd name="T40" fmla="*/ 2147483647 w 663"/>
              <a:gd name="T41" fmla="*/ 2147483647 h 760"/>
              <a:gd name="T42" fmla="*/ 2147483647 w 663"/>
              <a:gd name="T43" fmla="*/ 2147483647 h 760"/>
              <a:gd name="T44" fmla="*/ 2147483647 w 663"/>
              <a:gd name="T45" fmla="*/ 2147483647 h 760"/>
              <a:gd name="T46" fmla="*/ 2147483647 w 663"/>
              <a:gd name="T47" fmla="*/ 2147483647 h 760"/>
              <a:gd name="T48" fmla="*/ 2147483647 w 663"/>
              <a:gd name="T49" fmla="*/ 2147483647 h 760"/>
              <a:gd name="T50" fmla="*/ 2147483647 w 663"/>
              <a:gd name="T51" fmla="*/ 2147483647 h 760"/>
              <a:gd name="T52" fmla="*/ 2147483647 w 663"/>
              <a:gd name="T53" fmla="*/ 2147483647 h 760"/>
              <a:gd name="T54" fmla="*/ 2147483647 w 663"/>
              <a:gd name="T55" fmla="*/ 2147483647 h 760"/>
              <a:gd name="T56" fmla="*/ 2147483647 w 663"/>
              <a:gd name="T57" fmla="*/ 2147483647 h 760"/>
              <a:gd name="T58" fmla="*/ 2147483647 w 663"/>
              <a:gd name="T59" fmla="*/ 2147483647 h 760"/>
              <a:gd name="T60" fmla="*/ 2147483647 w 663"/>
              <a:gd name="T61" fmla="*/ 2147483647 h 760"/>
              <a:gd name="T62" fmla="*/ 2147483647 w 663"/>
              <a:gd name="T63" fmla="*/ 2147483647 h 760"/>
              <a:gd name="T64" fmla="*/ 2147483647 w 663"/>
              <a:gd name="T65" fmla="*/ 2147483647 h 760"/>
              <a:gd name="T66" fmla="*/ 2147483647 w 663"/>
              <a:gd name="T67" fmla="*/ 2147483647 h 760"/>
              <a:gd name="T68" fmla="*/ 2147483647 w 663"/>
              <a:gd name="T69" fmla="*/ 2147483647 h 760"/>
              <a:gd name="T70" fmla="*/ 2147483647 w 663"/>
              <a:gd name="T71" fmla="*/ 2147483647 h 760"/>
              <a:gd name="T72" fmla="*/ 2147483647 w 663"/>
              <a:gd name="T73" fmla="*/ 2147483647 h 760"/>
              <a:gd name="T74" fmla="*/ 2147483647 w 663"/>
              <a:gd name="T75" fmla="*/ 2147483647 h 760"/>
              <a:gd name="T76" fmla="*/ 2147483647 w 663"/>
              <a:gd name="T77" fmla="*/ 2147483647 h 760"/>
              <a:gd name="T78" fmla="*/ 2147483647 w 663"/>
              <a:gd name="T79" fmla="*/ 2147483647 h 760"/>
              <a:gd name="T80" fmla="*/ 2147483647 w 663"/>
              <a:gd name="T81" fmla="*/ 2147483647 h 760"/>
              <a:gd name="T82" fmla="*/ 2147483647 w 663"/>
              <a:gd name="T83" fmla="*/ 2147483647 h 760"/>
              <a:gd name="T84" fmla="*/ 2147483647 w 663"/>
              <a:gd name="T85" fmla="*/ 2147483647 h 760"/>
              <a:gd name="T86" fmla="*/ 2147483647 w 663"/>
              <a:gd name="T87" fmla="*/ 2147483647 h 760"/>
              <a:gd name="T88" fmla="*/ 2147483647 w 663"/>
              <a:gd name="T89" fmla="*/ 2147483647 h 760"/>
              <a:gd name="T90" fmla="*/ 2147483647 w 663"/>
              <a:gd name="T91" fmla="*/ 2147483647 h 760"/>
              <a:gd name="T92" fmla="*/ 2147483647 w 663"/>
              <a:gd name="T93" fmla="*/ 2147483647 h 760"/>
              <a:gd name="T94" fmla="*/ 2147483647 w 663"/>
              <a:gd name="T95" fmla="*/ 2147483647 h 760"/>
              <a:gd name="T96" fmla="*/ 2147483647 w 663"/>
              <a:gd name="T97" fmla="*/ 2147483647 h 760"/>
              <a:gd name="T98" fmla="*/ 2147483647 w 663"/>
              <a:gd name="T99" fmla="*/ 2147483647 h 760"/>
              <a:gd name="T100" fmla="*/ 2147483647 w 663"/>
              <a:gd name="T101" fmla="*/ 2147483647 h 760"/>
              <a:gd name="T102" fmla="*/ 2147483647 w 663"/>
              <a:gd name="T103" fmla="*/ 2147483647 h 760"/>
              <a:gd name="T104" fmla="*/ 2147483647 w 663"/>
              <a:gd name="T105" fmla="*/ 2147483647 h 760"/>
              <a:gd name="T106" fmla="*/ 2147483647 w 663"/>
              <a:gd name="T107" fmla="*/ 2147483647 h 760"/>
              <a:gd name="T108" fmla="*/ 2147483647 w 663"/>
              <a:gd name="T109" fmla="*/ 2147483647 h 760"/>
              <a:gd name="T110" fmla="*/ 2147483647 w 663"/>
              <a:gd name="T111" fmla="*/ 2147483647 h 760"/>
              <a:gd name="T112" fmla="*/ 2147483647 w 663"/>
              <a:gd name="T113" fmla="*/ 2147483647 h 760"/>
              <a:gd name="T114" fmla="*/ 2147483647 w 663"/>
              <a:gd name="T115" fmla="*/ 2147483647 h 760"/>
              <a:gd name="T116" fmla="*/ 2147483647 w 663"/>
              <a:gd name="T117" fmla="*/ 2147483647 h 760"/>
              <a:gd name="T118" fmla="*/ 2147483647 w 663"/>
              <a:gd name="T119" fmla="*/ 2147483647 h 760"/>
              <a:gd name="T120" fmla="*/ 2147483647 w 663"/>
              <a:gd name="T121" fmla="*/ 2147483647 h 76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63"/>
              <a:gd name="T184" fmla="*/ 0 h 760"/>
              <a:gd name="T185" fmla="*/ 663 w 663"/>
              <a:gd name="T186" fmla="*/ 760 h 76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63" h="760">
                <a:moveTo>
                  <a:pt x="0" y="431"/>
                </a:moveTo>
                <a:lnTo>
                  <a:pt x="0" y="425"/>
                </a:lnTo>
                <a:lnTo>
                  <a:pt x="6" y="408"/>
                </a:lnTo>
                <a:lnTo>
                  <a:pt x="6" y="403"/>
                </a:lnTo>
                <a:lnTo>
                  <a:pt x="12" y="403"/>
                </a:lnTo>
                <a:lnTo>
                  <a:pt x="6" y="397"/>
                </a:lnTo>
                <a:lnTo>
                  <a:pt x="6" y="391"/>
                </a:lnTo>
                <a:lnTo>
                  <a:pt x="12" y="386"/>
                </a:lnTo>
                <a:lnTo>
                  <a:pt x="12" y="380"/>
                </a:lnTo>
                <a:lnTo>
                  <a:pt x="12" y="374"/>
                </a:lnTo>
                <a:lnTo>
                  <a:pt x="17" y="369"/>
                </a:lnTo>
                <a:lnTo>
                  <a:pt x="17" y="357"/>
                </a:lnTo>
                <a:lnTo>
                  <a:pt x="17" y="352"/>
                </a:lnTo>
                <a:lnTo>
                  <a:pt x="12" y="346"/>
                </a:lnTo>
                <a:lnTo>
                  <a:pt x="12" y="340"/>
                </a:lnTo>
                <a:lnTo>
                  <a:pt x="6" y="340"/>
                </a:lnTo>
                <a:lnTo>
                  <a:pt x="6" y="335"/>
                </a:lnTo>
                <a:lnTo>
                  <a:pt x="0" y="329"/>
                </a:lnTo>
                <a:lnTo>
                  <a:pt x="0" y="318"/>
                </a:lnTo>
                <a:lnTo>
                  <a:pt x="0" y="312"/>
                </a:lnTo>
                <a:lnTo>
                  <a:pt x="0" y="306"/>
                </a:lnTo>
                <a:lnTo>
                  <a:pt x="0" y="301"/>
                </a:lnTo>
                <a:lnTo>
                  <a:pt x="0" y="295"/>
                </a:lnTo>
                <a:lnTo>
                  <a:pt x="6" y="289"/>
                </a:lnTo>
                <a:lnTo>
                  <a:pt x="6" y="284"/>
                </a:lnTo>
                <a:lnTo>
                  <a:pt x="0" y="278"/>
                </a:lnTo>
                <a:lnTo>
                  <a:pt x="6" y="272"/>
                </a:lnTo>
                <a:lnTo>
                  <a:pt x="12" y="272"/>
                </a:lnTo>
                <a:lnTo>
                  <a:pt x="12" y="267"/>
                </a:lnTo>
                <a:lnTo>
                  <a:pt x="17" y="261"/>
                </a:lnTo>
                <a:lnTo>
                  <a:pt x="17" y="255"/>
                </a:lnTo>
                <a:lnTo>
                  <a:pt x="17" y="250"/>
                </a:lnTo>
                <a:lnTo>
                  <a:pt x="23" y="244"/>
                </a:lnTo>
                <a:lnTo>
                  <a:pt x="23" y="238"/>
                </a:lnTo>
                <a:lnTo>
                  <a:pt x="17" y="238"/>
                </a:lnTo>
                <a:lnTo>
                  <a:pt x="17" y="233"/>
                </a:lnTo>
                <a:lnTo>
                  <a:pt x="17" y="227"/>
                </a:lnTo>
                <a:lnTo>
                  <a:pt x="17" y="221"/>
                </a:lnTo>
                <a:lnTo>
                  <a:pt x="23" y="221"/>
                </a:lnTo>
                <a:lnTo>
                  <a:pt x="23" y="216"/>
                </a:lnTo>
                <a:lnTo>
                  <a:pt x="29" y="210"/>
                </a:lnTo>
                <a:lnTo>
                  <a:pt x="29" y="204"/>
                </a:lnTo>
                <a:lnTo>
                  <a:pt x="34" y="204"/>
                </a:lnTo>
                <a:lnTo>
                  <a:pt x="40" y="199"/>
                </a:lnTo>
                <a:lnTo>
                  <a:pt x="51" y="204"/>
                </a:lnTo>
                <a:lnTo>
                  <a:pt x="57" y="204"/>
                </a:lnTo>
                <a:lnTo>
                  <a:pt x="63" y="210"/>
                </a:lnTo>
                <a:lnTo>
                  <a:pt x="68" y="204"/>
                </a:lnTo>
                <a:lnTo>
                  <a:pt x="68" y="199"/>
                </a:lnTo>
                <a:lnTo>
                  <a:pt x="74" y="199"/>
                </a:lnTo>
                <a:lnTo>
                  <a:pt x="80" y="199"/>
                </a:lnTo>
                <a:lnTo>
                  <a:pt x="80" y="193"/>
                </a:lnTo>
                <a:lnTo>
                  <a:pt x="85" y="187"/>
                </a:lnTo>
                <a:lnTo>
                  <a:pt x="97" y="182"/>
                </a:lnTo>
                <a:lnTo>
                  <a:pt x="97" y="176"/>
                </a:lnTo>
                <a:lnTo>
                  <a:pt x="102" y="176"/>
                </a:lnTo>
                <a:lnTo>
                  <a:pt x="108" y="170"/>
                </a:lnTo>
                <a:lnTo>
                  <a:pt x="108" y="165"/>
                </a:lnTo>
                <a:lnTo>
                  <a:pt x="114" y="165"/>
                </a:lnTo>
                <a:lnTo>
                  <a:pt x="119" y="165"/>
                </a:lnTo>
                <a:lnTo>
                  <a:pt x="119" y="159"/>
                </a:lnTo>
                <a:lnTo>
                  <a:pt x="125" y="153"/>
                </a:lnTo>
                <a:lnTo>
                  <a:pt x="131" y="153"/>
                </a:lnTo>
                <a:lnTo>
                  <a:pt x="136" y="153"/>
                </a:lnTo>
                <a:lnTo>
                  <a:pt x="136" y="148"/>
                </a:lnTo>
                <a:lnTo>
                  <a:pt x="142" y="142"/>
                </a:lnTo>
                <a:lnTo>
                  <a:pt x="148" y="142"/>
                </a:lnTo>
                <a:lnTo>
                  <a:pt x="153" y="142"/>
                </a:lnTo>
                <a:lnTo>
                  <a:pt x="159" y="142"/>
                </a:lnTo>
                <a:lnTo>
                  <a:pt x="165" y="142"/>
                </a:lnTo>
                <a:lnTo>
                  <a:pt x="170" y="142"/>
                </a:lnTo>
                <a:lnTo>
                  <a:pt x="176" y="142"/>
                </a:lnTo>
                <a:lnTo>
                  <a:pt x="182" y="142"/>
                </a:lnTo>
                <a:lnTo>
                  <a:pt x="187" y="142"/>
                </a:lnTo>
                <a:lnTo>
                  <a:pt x="193" y="142"/>
                </a:lnTo>
                <a:lnTo>
                  <a:pt x="199" y="142"/>
                </a:lnTo>
                <a:lnTo>
                  <a:pt x="204" y="142"/>
                </a:lnTo>
                <a:lnTo>
                  <a:pt x="210" y="136"/>
                </a:lnTo>
                <a:lnTo>
                  <a:pt x="216" y="131"/>
                </a:lnTo>
                <a:lnTo>
                  <a:pt x="221" y="131"/>
                </a:lnTo>
                <a:lnTo>
                  <a:pt x="227" y="131"/>
                </a:lnTo>
                <a:lnTo>
                  <a:pt x="233" y="131"/>
                </a:lnTo>
                <a:lnTo>
                  <a:pt x="238" y="125"/>
                </a:lnTo>
                <a:lnTo>
                  <a:pt x="244" y="125"/>
                </a:lnTo>
                <a:lnTo>
                  <a:pt x="250" y="125"/>
                </a:lnTo>
                <a:lnTo>
                  <a:pt x="250" y="119"/>
                </a:lnTo>
                <a:lnTo>
                  <a:pt x="250" y="114"/>
                </a:lnTo>
                <a:lnTo>
                  <a:pt x="255" y="114"/>
                </a:lnTo>
                <a:lnTo>
                  <a:pt x="261" y="114"/>
                </a:lnTo>
                <a:lnTo>
                  <a:pt x="267" y="108"/>
                </a:lnTo>
                <a:lnTo>
                  <a:pt x="278" y="108"/>
                </a:lnTo>
                <a:lnTo>
                  <a:pt x="278" y="102"/>
                </a:lnTo>
                <a:lnTo>
                  <a:pt x="289" y="102"/>
                </a:lnTo>
                <a:lnTo>
                  <a:pt x="295" y="97"/>
                </a:lnTo>
                <a:lnTo>
                  <a:pt x="306" y="97"/>
                </a:lnTo>
                <a:lnTo>
                  <a:pt x="318" y="91"/>
                </a:lnTo>
                <a:lnTo>
                  <a:pt x="329" y="85"/>
                </a:lnTo>
                <a:lnTo>
                  <a:pt x="335" y="85"/>
                </a:lnTo>
                <a:lnTo>
                  <a:pt x="335" y="80"/>
                </a:lnTo>
                <a:lnTo>
                  <a:pt x="340" y="80"/>
                </a:lnTo>
                <a:lnTo>
                  <a:pt x="346" y="80"/>
                </a:lnTo>
                <a:lnTo>
                  <a:pt x="346" y="74"/>
                </a:lnTo>
                <a:lnTo>
                  <a:pt x="352" y="74"/>
                </a:lnTo>
                <a:lnTo>
                  <a:pt x="352" y="68"/>
                </a:lnTo>
                <a:lnTo>
                  <a:pt x="357" y="68"/>
                </a:lnTo>
                <a:lnTo>
                  <a:pt x="363" y="63"/>
                </a:lnTo>
                <a:lnTo>
                  <a:pt x="363" y="57"/>
                </a:lnTo>
                <a:lnTo>
                  <a:pt x="369" y="51"/>
                </a:lnTo>
                <a:lnTo>
                  <a:pt x="369" y="46"/>
                </a:lnTo>
                <a:lnTo>
                  <a:pt x="369" y="40"/>
                </a:lnTo>
                <a:lnTo>
                  <a:pt x="369" y="34"/>
                </a:lnTo>
                <a:lnTo>
                  <a:pt x="369" y="29"/>
                </a:lnTo>
                <a:lnTo>
                  <a:pt x="374" y="29"/>
                </a:lnTo>
                <a:lnTo>
                  <a:pt x="374" y="23"/>
                </a:lnTo>
                <a:lnTo>
                  <a:pt x="380" y="17"/>
                </a:lnTo>
                <a:lnTo>
                  <a:pt x="386" y="17"/>
                </a:lnTo>
                <a:lnTo>
                  <a:pt x="386" y="12"/>
                </a:lnTo>
                <a:lnTo>
                  <a:pt x="391" y="12"/>
                </a:lnTo>
                <a:lnTo>
                  <a:pt x="391" y="6"/>
                </a:lnTo>
                <a:lnTo>
                  <a:pt x="397" y="6"/>
                </a:lnTo>
                <a:lnTo>
                  <a:pt x="403" y="6"/>
                </a:lnTo>
                <a:lnTo>
                  <a:pt x="403" y="0"/>
                </a:lnTo>
                <a:lnTo>
                  <a:pt x="408" y="0"/>
                </a:lnTo>
                <a:lnTo>
                  <a:pt x="414" y="0"/>
                </a:lnTo>
                <a:lnTo>
                  <a:pt x="420" y="0"/>
                </a:lnTo>
                <a:lnTo>
                  <a:pt x="425" y="0"/>
                </a:lnTo>
                <a:lnTo>
                  <a:pt x="431" y="6"/>
                </a:lnTo>
                <a:lnTo>
                  <a:pt x="431" y="12"/>
                </a:lnTo>
                <a:lnTo>
                  <a:pt x="442" y="17"/>
                </a:lnTo>
                <a:lnTo>
                  <a:pt x="448" y="17"/>
                </a:lnTo>
                <a:lnTo>
                  <a:pt x="448" y="23"/>
                </a:lnTo>
                <a:lnTo>
                  <a:pt x="448" y="29"/>
                </a:lnTo>
                <a:lnTo>
                  <a:pt x="448" y="34"/>
                </a:lnTo>
                <a:lnTo>
                  <a:pt x="454" y="34"/>
                </a:lnTo>
                <a:lnTo>
                  <a:pt x="448" y="40"/>
                </a:lnTo>
                <a:lnTo>
                  <a:pt x="454" y="46"/>
                </a:lnTo>
                <a:lnTo>
                  <a:pt x="459" y="51"/>
                </a:lnTo>
                <a:lnTo>
                  <a:pt x="459" y="57"/>
                </a:lnTo>
                <a:lnTo>
                  <a:pt x="465" y="57"/>
                </a:lnTo>
                <a:lnTo>
                  <a:pt x="471" y="57"/>
                </a:lnTo>
                <a:lnTo>
                  <a:pt x="471" y="63"/>
                </a:lnTo>
                <a:lnTo>
                  <a:pt x="476" y="63"/>
                </a:lnTo>
                <a:lnTo>
                  <a:pt x="476" y="68"/>
                </a:lnTo>
                <a:lnTo>
                  <a:pt x="488" y="74"/>
                </a:lnTo>
                <a:lnTo>
                  <a:pt x="488" y="80"/>
                </a:lnTo>
                <a:lnTo>
                  <a:pt x="493" y="85"/>
                </a:lnTo>
                <a:lnTo>
                  <a:pt x="499" y="85"/>
                </a:lnTo>
                <a:lnTo>
                  <a:pt x="505" y="85"/>
                </a:lnTo>
                <a:lnTo>
                  <a:pt x="505" y="91"/>
                </a:lnTo>
                <a:lnTo>
                  <a:pt x="510" y="91"/>
                </a:lnTo>
                <a:lnTo>
                  <a:pt x="516" y="97"/>
                </a:lnTo>
                <a:lnTo>
                  <a:pt x="522" y="97"/>
                </a:lnTo>
                <a:lnTo>
                  <a:pt x="527" y="97"/>
                </a:lnTo>
                <a:lnTo>
                  <a:pt x="527" y="91"/>
                </a:lnTo>
                <a:lnTo>
                  <a:pt x="533" y="85"/>
                </a:lnTo>
                <a:lnTo>
                  <a:pt x="539" y="80"/>
                </a:lnTo>
                <a:lnTo>
                  <a:pt x="544" y="80"/>
                </a:lnTo>
                <a:lnTo>
                  <a:pt x="544" y="74"/>
                </a:lnTo>
                <a:lnTo>
                  <a:pt x="550" y="74"/>
                </a:lnTo>
                <a:lnTo>
                  <a:pt x="550" y="68"/>
                </a:lnTo>
                <a:lnTo>
                  <a:pt x="556" y="68"/>
                </a:lnTo>
                <a:lnTo>
                  <a:pt x="561" y="68"/>
                </a:lnTo>
                <a:lnTo>
                  <a:pt x="567" y="63"/>
                </a:lnTo>
                <a:lnTo>
                  <a:pt x="573" y="68"/>
                </a:lnTo>
                <a:lnTo>
                  <a:pt x="578" y="74"/>
                </a:lnTo>
                <a:lnTo>
                  <a:pt x="578" y="80"/>
                </a:lnTo>
                <a:lnTo>
                  <a:pt x="578" y="85"/>
                </a:lnTo>
                <a:lnTo>
                  <a:pt x="573" y="85"/>
                </a:lnTo>
                <a:lnTo>
                  <a:pt x="567" y="91"/>
                </a:lnTo>
                <a:lnTo>
                  <a:pt x="556" y="97"/>
                </a:lnTo>
                <a:lnTo>
                  <a:pt x="550" y="102"/>
                </a:lnTo>
                <a:lnTo>
                  <a:pt x="544" y="108"/>
                </a:lnTo>
                <a:lnTo>
                  <a:pt x="539" y="114"/>
                </a:lnTo>
                <a:lnTo>
                  <a:pt x="533" y="119"/>
                </a:lnTo>
                <a:lnTo>
                  <a:pt x="533" y="125"/>
                </a:lnTo>
                <a:lnTo>
                  <a:pt x="527" y="131"/>
                </a:lnTo>
                <a:lnTo>
                  <a:pt x="527" y="136"/>
                </a:lnTo>
                <a:lnTo>
                  <a:pt x="527" y="142"/>
                </a:lnTo>
                <a:lnTo>
                  <a:pt x="522" y="142"/>
                </a:lnTo>
                <a:lnTo>
                  <a:pt x="516" y="142"/>
                </a:lnTo>
                <a:lnTo>
                  <a:pt x="516" y="148"/>
                </a:lnTo>
                <a:lnTo>
                  <a:pt x="516" y="153"/>
                </a:lnTo>
                <a:lnTo>
                  <a:pt x="516" y="159"/>
                </a:lnTo>
                <a:lnTo>
                  <a:pt x="516" y="165"/>
                </a:lnTo>
                <a:lnTo>
                  <a:pt x="516" y="170"/>
                </a:lnTo>
                <a:lnTo>
                  <a:pt x="516" y="176"/>
                </a:lnTo>
                <a:lnTo>
                  <a:pt x="516" y="182"/>
                </a:lnTo>
                <a:lnTo>
                  <a:pt x="522" y="187"/>
                </a:lnTo>
                <a:lnTo>
                  <a:pt x="522" y="193"/>
                </a:lnTo>
                <a:lnTo>
                  <a:pt x="527" y="193"/>
                </a:lnTo>
                <a:lnTo>
                  <a:pt x="527" y="199"/>
                </a:lnTo>
                <a:lnTo>
                  <a:pt x="527" y="204"/>
                </a:lnTo>
                <a:lnTo>
                  <a:pt x="527" y="210"/>
                </a:lnTo>
                <a:lnTo>
                  <a:pt x="533" y="210"/>
                </a:lnTo>
                <a:lnTo>
                  <a:pt x="533" y="216"/>
                </a:lnTo>
                <a:lnTo>
                  <a:pt x="539" y="221"/>
                </a:lnTo>
                <a:lnTo>
                  <a:pt x="544" y="227"/>
                </a:lnTo>
                <a:lnTo>
                  <a:pt x="544" y="233"/>
                </a:lnTo>
                <a:lnTo>
                  <a:pt x="550" y="238"/>
                </a:lnTo>
                <a:lnTo>
                  <a:pt x="556" y="244"/>
                </a:lnTo>
                <a:lnTo>
                  <a:pt x="556" y="250"/>
                </a:lnTo>
                <a:lnTo>
                  <a:pt x="561" y="261"/>
                </a:lnTo>
                <a:lnTo>
                  <a:pt x="561" y="267"/>
                </a:lnTo>
                <a:lnTo>
                  <a:pt x="567" y="272"/>
                </a:lnTo>
                <a:lnTo>
                  <a:pt x="567" y="278"/>
                </a:lnTo>
                <a:lnTo>
                  <a:pt x="573" y="278"/>
                </a:lnTo>
                <a:lnTo>
                  <a:pt x="573" y="284"/>
                </a:lnTo>
                <a:lnTo>
                  <a:pt x="578" y="289"/>
                </a:lnTo>
                <a:lnTo>
                  <a:pt x="578" y="295"/>
                </a:lnTo>
                <a:lnTo>
                  <a:pt x="584" y="301"/>
                </a:lnTo>
                <a:lnTo>
                  <a:pt x="590" y="306"/>
                </a:lnTo>
                <a:lnTo>
                  <a:pt x="590" y="312"/>
                </a:lnTo>
                <a:lnTo>
                  <a:pt x="595" y="318"/>
                </a:lnTo>
                <a:lnTo>
                  <a:pt x="601" y="318"/>
                </a:lnTo>
                <a:lnTo>
                  <a:pt x="601" y="323"/>
                </a:lnTo>
                <a:lnTo>
                  <a:pt x="607" y="323"/>
                </a:lnTo>
                <a:lnTo>
                  <a:pt x="607" y="329"/>
                </a:lnTo>
                <a:lnTo>
                  <a:pt x="612" y="335"/>
                </a:lnTo>
                <a:lnTo>
                  <a:pt x="618" y="340"/>
                </a:lnTo>
                <a:lnTo>
                  <a:pt x="624" y="346"/>
                </a:lnTo>
                <a:lnTo>
                  <a:pt x="629" y="346"/>
                </a:lnTo>
                <a:lnTo>
                  <a:pt x="629" y="352"/>
                </a:lnTo>
                <a:lnTo>
                  <a:pt x="629" y="357"/>
                </a:lnTo>
                <a:lnTo>
                  <a:pt x="635" y="363"/>
                </a:lnTo>
                <a:lnTo>
                  <a:pt x="641" y="374"/>
                </a:lnTo>
                <a:lnTo>
                  <a:pt x="635" y="374"/>
                </a:lnTo>
                <a:lnTo>
                  <a:pt x="641" y="386"/>
                </a:lnTo>
                <a:lnTo>
                  <a:pt x="641" y="391"/>
                </a:lnTo>
                <a:lnTo>
                  <a:pt x="646" y="397"/>
                </a:lnTo>
                <a:lnTo>
                  <a:pt x="652" y="403"/>
                </a:lnTo>
                <a:lnTo>
                  <a:pt x="658" y="403"/>
                </a:lnTo>
                <a:lnTo>
                  <a:pt x="663" y="408"/>
                </a:lnTo>
                <a:lnTo>
                  <a:pt x="658" y="408"/>
                </a:lnTo>
                <a:lnTo>
                  <a:pt x="658" y="414"/>
                </a:lnTo>
                <a:lnTo>
                  <a:pt x="652" y="414"/>
                </a:lnTo>
                <a:lnTo>
                  <a:pt x="652" y="420"/>
                </a:lnTo>
                <a:lnTo>
                  <a:pt x="646" y="420"/>
                </a:lnTo>
                <a:lnTo>
                  <a:pt x="646" y="431"/>
                </a:lnTo>
                <a:lnTo>
                  <a:pt x="646" y="442"/>
                </a:lnTo>
                <a:lnTo>
                  <a:pt x="641" y="442"/>
                </a:lnTo>
                <a:lnTo>
                  <a:pt x="635" y="448"/>
                </a:lnTo>
                <a:lnTo>
                  <a:pt x="629" y="448"/>
                </a:lnTo>
                <a:lnTo>
                  <a:pt x="624" y="448"/>
                </a:lnTo>
                <a:lnTo>
                  <a:pt x="618" y="448"/>
                </a:lnTo>
                <a:lnTo>
                  <a:pt x="612" y="448"/>
                </a:lnTo>
                <a:lnTo>
                  <a:pt x="612" y="454"/>
                </a:lnTo>
                <a:lnTo>
                  <a:pt x="612" y="459"/>
                </a:lnTo>
                <a:lnTo>
                  <a:pt x="607" y="459"/>
                </a:lnTo>
                <a:lnTo>
                  <a:pt x="607" y="465"/>
                </a:lnTo>
                <a:lnTo>
                  <a:pt x="607" y="471"/>
                </a:lnTo>
                <a:lnTo>
                  <a:pt x="601" y="471"/>
                </a:lnTo>
                <a:lnTo>
                  <a:pt x="595" y="471"/>
                </a:lnTo>
                <a:lnTo>
                  <a:pt x="590" y="471"/>
                </a:lnTo>
                <a:lnTo>
                  <a:pt x="590" y="476"/>
                </a:lnTo>
                <a:lnTo>
                  <a:pt x="584" y="476"/>
                </a:lnTo>
                <a:lnTo>
                  <a:pt x="584" y="482"/>
                </a:lnTo>
                <a:lnTo>
                  <a:pt x="578" y="482"/>
                </a:lnTo>
                <a:lnTo>
                  <a:pt x="578" y="476"/>
                </a:lnTo>
                <a:lnTo>
                  <a:pt x="578" y="471"/>
                </a:lnTo>
                <a:lnTo>
                  <a:pt x="578" y="465"/>
                </a:lnTo>
                <a:lnTo>
                  <a:pt x="578" y="459"/>
                </a:lnTo>
                <a:lnTo>
                  <a:pt x="573" y="459"/>
                </a:lnTo>
                <a:lnTo>
                  <a:pt x="573" y="454"/>
                </a:lnTo>
                <a:lnTo>
                  <a:pt x="573" y="448"/>
                </a:lnTo>
                <a:lnTo>
                  <a:pt x="567" y="454"/>
                </a:lnTo>
                <a:lnTo>
                  <a:pt x="567" y="448"/>
                </a:lnTo>
                <a:lnTo>
                  <a:pt x="561" y="448"/>
                </a:lnTo>
                <a:lnTo>
                  <a:pt x="556" y="448"/>
                </a:lnTo>
                <a:lnTo>
                  <a:pt x="550" y="442"/>
                </a:lnTo>
                <a:lnTo>
                  <a:pt x="544" y="442"/>
                </a:lnTo>
                <a:lnTo>
                  <a:pt x="544" y="448"/>
                </a:lnTo>
                <a:lnTo>
                  <a:pt x="539" y="448"/>
                </a:lnTo>
                <a:lnTo>
                  <a:pt x="533" y="448"/>
                </a:lnTo>
                <a:lnTo>
                  <a:pt x="533" y="454"/>
                </a:lnTo>
                <a:lnTo>
                  <a:pt x="533" y="459"/>
                </a:lnTo>
                <a:lnTo>
                  <a:pt x="527" y="459"/>
                </a:lnTo>
                <a:lnTo>
                  <a:pt x="522" y="459"/>
                </a:lnTo>
                <a:lnTo>
                  <a:pt x="522" y="465"/>
                </a:lnTo>
                <a:lnTo>
                  <a:pt x="522" y="471"/>
                </a:lnTo>
                <a:lnTo>
                  <a:pt x="522" y="476"/>
                </a:lnTo>
                <a:lnTo>
                  <a:pt x="516" y="482"/>
                </a:lnTo>
                <a:lnTo>
                  <a:pt x="510" y="482"/>
                </a:lnTo>
                <a:lnTo>
                  <a:pt x="505" y="488"/>
                </a:lnTo>
                <a:lnTo>
                  <a:pt x="499" y="488"/>
                </a:lnTo>
                <a:lnTo>
                  <a:pt x="493" y="488"/>
                </a:lnTo>
                <a:lnTo>
                  <a:pt x="488" y="482"/>
                </a:lnTo>
                <a:lnTo>
                  <a:pt x="488" y="476"/>
                </a:lnTo>
                <a:lnTo>
                  <a:pt x="482" y="476"/>
                </a:lnTo>
                <a:lnTo>
                  <a:pt x="476" y="476"/>
                </a:lnTo>
                <a:lnTo>
                  <a:pt x="476" y="482"/>
                </a:lnTo>
                <a:lnTo>
                  <a:pt x="476" y="488"/>
                </a:lnTo>
                <a:lnTo>
                  <a:pt x="471" y="499"/>
                </a:lnTo>
                <a:lnTo>
                  <a:pt x="471" y="505"/>
                </a:lnTo>
                <a:lnTo>
                  <a:pt x="471" y="511"/>
                </a:lnTo>
                <a:lnTo>
                  <a:pt x="471" y="516"/>
                </a:lnTo>
                <a:lnTo>
                  <a:pt x="471" y="522"/>
                </a:lnTo>
                <a:lnTo>
                  <a:pt x="471" y="528"/>
                </a:lnTo>
                <a:lnTo>
                  <a:pt x="465" y="528"/>
                </a:lnTo>
                <a:lnTo>
                  <a:pt x="465" y="533"/>
                </a:lnTo>
                <a:lnTo>
                  <a:pt x="465" y="539"/>
                </a:lnTo>
                <a:lnTo>
                  <a:pt x="459" y="539"/>
                </a:lnTo>
                <a:lnTo>
                  <a:pt x="459" y="545"/>
                </a:lnTo>
                <a:lnTo>
                  <a:pt x="459" y="550"/>
                </a:lnTo>
                <a:lnTo>
                  <a:pt x="465" y="556"/>
                </a:lnTo>
                <a:lnTo>
                  <a:pt x="471" y="556"/>
                </a:lnTo>
                <a:lnTo>
                  <a:pt x="476" y="567"/>
                </a:lnTo>
                <a:lnTo>
                  <a:pt x="482" y="567"/>
                </a:lnTo>
                <a:lnTo>
                  <a:pt x="482" y="573"/>
                </a:lnTo>
                <a:lnTo>
                  <a:pt x="488" y="573"/>
                </a:lnTo>
                <a:lnTo>
                  <a:pt x="488" y="579"/>
                </a:lnTo>
                <a:lnTo>
                  <a:pt x="493" y="584"/>
                </a:lnTo>
                <a:lnTo>
                  <a:pt x="493" y="590"/>
                </a:lnTo>
                <a:lnTo>
                  <a:pt x="493" y="596"/>
                </a:lnTo>
                <a:lnTo>
                  <a:pt x="499" y="596"/>
                </a:lnTo>
                <a:lnTo>
                  <a:pt x="505" y="601"/>
                </a:lnTo>
                <a:lnTo>
                  <a:pt x="505" y="607"/>
                </a:lnTo>
                <a:lnTo>
                  <a:pt x="499" y="613"/>
                </a:lnTo>
                <a:lnTo>
                  <a:pt x="499" y="624"/>
                </a:lnTo>
                <a:lnTo>
                  <a:pt x="499" y="630"/>
                </a:lnTo>
                <a:lnTo>
                  <a:pt x="493" y="630"/>
                </a:lnTo>
                <a:lnTo>
                  <a:pt x="493" y="635"/>
                </a:lnTo>
                <a:lnTo>
                  <a:pt x="493" y="641"/>
                </a:lnTo>
                <a:lnTo>
                  <a:pt x="493" y="647"/>
                </a:lnTo>
                <a:lnTo>
                  <a:pt x="493" y="658"/>
                </a:lnTo>
                <a:lnTo>
                  <a:pt x="499" y="658"/>
                </a:lnTo>
                <a:lnTo>
                  <a:pt x="493" y="664"/>
                </a:lnTo>
                <a:lnTo>
                  <a:pt x="493" y="669"/>
                </a:lnTo>
                <a:lnTo>
                  <a:pt x="493" y="675"/>
                </a:lnTo>
                <a:lnTo>
                  <a:pt x="493" y="681"/>
                </a:lnTo>
                <a:lnTo>
                  <a:pt x="499" y="692"/>
                </a:lnTo>
                <a:lnTo>
                  <a:pt x="505" y="698"/>
                </a:lnTo>
                <a:lnTo>
                  <a:pt x="510" y="709"/>
                </a:lnTo>
                <a:lnTo>
                  <a:pt x="516" y="720"/>
                </a:lnTo>
                <a:lnTo>
                  <a:pt x="516" y="726"/>
                </a:lnTo>
                <a:lnTo>
                  <a:pt x="510" y="726"/>
                </a:lnTo>
                <a:lnTo>
                  <a:pt x="510" y="732"/>
                </a:lnTo>
                <a:lnTo>
                  <a:pt x="505" y="737"/>
                </a:lnTo>
                <a:lnTo>
                  <a:pt x="505" y="726"/>
                </a:lnTo>
                <a:lnTo>
                  <a:pt x="499" y="726"/>
                </a:lnTo>
                <a:lnTo>
                  <a:pt x="493" y="720"/>
                </a:lnTo>
                <a:lnTo>
                  <a:pt x="488" y="720"/>
                </a:lnTo>
                <a:lnTo>
                  <a:pt x="482" y="726"/>
                </a:lnTo>
                <a:lnTo>
                  <a:pt x="476" y="726"/>
                </a:lnTo>
                <a:lnTo>
                  <a:pt x="476" y="732"/>
                </a:lnTo>
                <a:lnTo>
                  <a:pt x="471" y="732"/>
                </a:lnTo>
                <a:lnTo>
                  <a:pt x="465" y="737"/>
                </a:lnTo>
                <a:lnTo>
                  <a:pt x="459" y="737"/>
                </a:lnTo>
                <a:lnTo>
                  <a:pt x="454" y="743"/>
                </a:lnTo>
                <a:lnTo>
                  <a:pt x="454" y="749"/>
                </a:lnTo>
                <a:lnTo>
                  <a:pt x="448" y="749"/>
                </a:lnTo>
                <a:lnTo>
                  <a:pt x="442" y="754"/>
                </a:lnTo>
                <a:lnTo>
                  <a:pt x="437" y="754"/>
                </a:lnTo>
                <a:lnTo>
                  <a:pt x="437" y="749"/>
                </a:lnTo>
                <a:lnTo>
                  <a:pt x="431" y="749"/>
                </a:lnTo>
                <a:lnTo>
                  <a:pt x="425" y="754"/>
                </a:lnTo>
                <a:lnTo>
                  <a:pt x="420" y="754"/>
                </a:lnTo>
                <a:lnTo>
                  <a:pt x="408" y="760"/>
                </a:lnTo>
                <a:lnTo>
                  <a:pt x="397" y="760"/>
                </a:lnTo>
                <a:lnTo>
                  <a:pt x="391" y="760"/>
                </a:lnTo>
                <a:lnTo>
                  <a:pt x="386" y="760"/>
                </a:lnTo>
                <a:lnTo>
                  <a:pt x="380" y="760"/>
                </a:lnTo>
                <a:lnTo>
                  <a:pt x="374" y="760"/>
                </a:lnTo>
                <a:lnTo>
                  <a:pt x="363" y="754"/>
                </a:lnTo>
                <a:lnTo>
                  <a:pt x="357" y="754"/>
                </a:lnTo>
                <a:lnTo>
                  <a:pt x="352" y="754"/>
                </a:lnTo>
                <a:lnTo>
                  <a:pt x="352" y="749"/>
                </a:lnTo>
                <a:lnTo>
                  <a:pt x="352" y="743"/>
                </a:lnTo>
                <a:lnTo>
                  <a:pt x="357" y="743"/>
                </a:lnTo>
                <a:lnTo>
                  <a:pt x="363" y="737"/>
                </a:lnTo>
                <a:lnTo>
                  <a:pt x="363" y="732"/>
                </a:lnTo>
                <a:lnTo>
                  <a:pt x="363" y="726"/>
                </a:lnTo>
                <a:lnTo>
                  <a:pt x="363" y="720"/>
                </a:lnTo>
                <a:lnTo>
                  <a:pt x="363" y="715"/>
                </a:lnTo>
                <a:lnTo>
                  <a:pt x="363" y="709"/>
                </a:lnTo>
                <a:lnTo>
                  <a:pt x="363" y="703"/>
                </a:lnTo>
                <a:lnTo>
                  <a:pt x="363" y="698"/>
                </a:lnTo>
                <a:lnTo>
                  <a:pt x="363" y="692"/>
                </a:lnTo>
                <a:lnTo>
                  <a:pt x="363" y="681"/>
                </a:lnTo>
                <a:lnTo>
                  <a:pt x="357" y="681"/>
                </a:lnTo>
                <a:lnTo>
                  <a:pt x="352" y="681"/>
                </a:lnTo>
                <a:lnTo>
                  <a:pt x="352" y="675"/>
                </a:lnTo>
                <a:lnTo>
                  <a:pt x="352" y="669"/>
                </a:lnTo>
                <a:lnTo>
                  <a:pt x="346" y="669"/>
                </a:lnTo>
                <a:lnTo>
                  <a:pt x="340" y="664"/>
                </a:lnTo>
                <a:lnTo>
                  <a:pt x="340" y="658"/>
                </a:lnTo>
                <a:lnTo>
                  <a:pt x="340" y="652"/>
                </a:lnTo>
                <a:lnTo>
                  <a:pt x="340" y="647"/>
                </a:lnTo>
                <a:lnTo>
                  <a:pt x="335" y="647"/>
                </a:lnTo>
                <a:lnTo>
                  <a:pt x="335" y="641"/>
                </a:lnTo>
                <a:lnTo>
                  <a:pt x="335" y="635"/>
                </a:lnTo>
                <a:lnTo>
                  <a:pt x="329" y="635"/>
                </a:lnTo>
                <a:lnTo>
                  <a:pt x="329" y="630"/>
                </a:lnTo>
                <a:lnTo>
                  <a:pt x="323" y="630"/>
                </a:lnTo>
                <a:lnTo>
                  <a:pt x="318" y="630"/>
                </a:lnTo>
                <a:lnTo>
                  <a:pt x="312" y="630"/>
                </a:lnTo>
                <a:lnTo>
                  <a:pt x="306" y="624"/>
                </a:lnTo>
                <a:lnTo>
                  <a:pt x="301" y="624"/>
                </a:lnTo>
                <a:lnTo>
                  <a:pt x="295" y="624"/>
                </a:lnTo>
                <a:lnTo>
                  <a:pt x="284" y="624"/>
                </a:lnTo>
                <a:lnTo>
                  <a:pt x="272" y="630"/>
                </a:lnTo>
                <a:lnTo>
                  <a:pt x="267" y="630"/>
                </a:lnTo>
                <a:lnTo>
                  <a:pt x="261" y="630"/>
                </a:lnTo>
                <a:lnTo>
                  <a:pt x="255" y="630"/>
                </a:lnTo>
                <a:lnTo>
                  <a:pt x="255" y="624"/>
                </a:lnTo>
                <a:lnTo>
                  <a:pt x="250" y="624"/>
                </a:lnTo>
                <a:lnTo>
                  <a:pt x="250" y="618"/>
                </a:lnTo>
                <a:lnTo>
                  <a:pt x="250" y="613"/>
                </a:lnTo>
                <a:lnTo>
                  <a:pt x="244" y="613"/>
                </a:lnTo>
                <a:lnTo>
                  <a:pt x="244" y="607"/>
                </a:lnTo>
                <a:lnTo>
                  <a:pt x="238" y="607"/>
                </a:lnTo>
                <a:lnTo>
                  <a:pt x="233" y="607"/>
                </a:lnTo>
                <a:lnTo>
                  <a:pt x="233" y="613"/>
                </a:lnTo>
                <a:lnTo>
                  <a:pt x="227" y="613"/>
                </a:lnTo>
                <a:lnTo>
                  <a:pt x="227" y="624"/>
                </a:lnTo>
                <a:lnTo>
                  <a:pt x="227" y="630"/>
                </a:lnTo>
                <a:lnTo>
                  <a:pt x="221" y="635"/>
                </a:lnTo>
                <a:lnTo>
                  <a:pt x="221" y="641"/>
                </a:lnTo>
                <a:lnTo>
                  <a:pt x="216" y="647"/>
                </a:lnTo>
                <a:lnTo>
                  <a:pt x="210" y="652"/>
                </a:lnTo>
                <a:lnTo>
                  <a:pt x="204" y="658"/>
                </a:lnTo>
                <a:lnTo>
                  <a:pt x="199" y="658"/>
                </a:lnTo>
                <a:lnTo>
                  <a:pt x="193" y="658"/>
                </a:lnTo>
                <a:lnTo>
                  <a:pt x="187" y="658"/>
                </a:lnTo>
                <a:lnTo>
                  <a:pt x="182" y="658"/>
                </a:lnTo>
                <a:lnTo>
                  <a:pt x="176" y="658"/>
                </a:lnTo>
                <a:lnTo>
                  <a:pt x="170" y="658"/>
                </a:lnTo>
                <a:lnTo>
                  <a:pt x="159" y="652"/>
                </a:lnTo>
                <a:lnTo>
                  <a:pt x="159" y="647"/>
                </a:lnTo>
                <a:lnTo>
                  <a:pt x="153" y="647"/>
                </a:lnTo>
                <a:lnTo>
                  <a:pt x="153" y="641"/>
                </a:lnTo>
                <a:lnTo>
                  <a:pt x="148" y="641"/>
                </a:lnTo>
                <a:lnTo>
                  <a:pt x="142" y="630"/>
                </a:lnTo>
                <a:lnTo>
                  <a:pt x="136" y="624"/>
                </a:lnTo>
                <a:lnTo>
                  <a:pt x="131" y="624"/>
                </a:lnTo>
                <a:lnTo>
                  <a:pt x="131" y="618"/>
                </a:lnTo>
                <a:lnTo>
                  <a:pt x="131" y="613"/>
                </a:lnTo>
                <a:lnTo>
                  <a:pt x="125" y="613"/>
                </a:lnTo>
                <a:lnTo>
                  <a:pt x="125" y="601"/>
                </a:lnTo>
                <a:lnTo>
                  <a:pt x="119" y="601"/>
                </a:lnTo>
                <a:lnTo>
                  <a:pt x="119" y="596"/>
                </a:lnTo>
                <a:lnTo>
                  <a:pt x="114" y="596"/>
                </a:lnTo>
                <a:lnTo>
                  <a:pt x="114" y="590"/>
                </a:lnTo>
                <a:lnTo>
                  <a:pt x="114" y="584"/>
                </a:lnTo>
                <a:lnTo>
                  <a:pt x="108" y="584"/>
                </a:lnTo>
                <a:lnTo>
                  <a:pt x="102" y="584"/>
                </a:lnTo>
                <a:lnTo>
                  <a:pt x="102" y="579"/>
                </a:lnTo>
                <a:lnTo>
                  <a:pt x="102" y="573"/>
                </a:lnTo>
                <a:lnTo>
                  <a:pt x="97" y="573"/>
                </a:lnTo>
                <a:lnTo>
                  <a:pt x="97" y="567"/>
                </a:lnTo>
                <a:lnTo>
                  <a:pt x="97" y="562"/>
                </a:lnTo>
                <a:lnTo>
                  <a:pt x="91" y="562"/>
                </a:lnTo>
                <a:lnTo>
                  <a:pt x="91" y="556"/>
                </a:lnTo>
                <a:lnTo>
                  <a:pt x="91" y="550"/>
                </a:lnTo>
                <a:lnTo>
                  <a:pt x="85" y="545"/>
                </a:lnTo>
                <a:lnTo>
                  <a:pt x="85" y="539"/>
                </a:lnTo>
                <a:lnTo>
                  <a:pt x="85" y="528"/>
                </a:lnTo>
                <a:lnTo>
                  <a:pt x="91" y="522"/>
                </a:lnTo>
                <a:lnTo>
                  <a:pt x="91" y="516"/>
                </a:lnTo>
                <a:lnTo>
                  <a:pt x="91" y="511"/>
                </a:lnTo>
                <a:lnTo>
                  <a:pt x="91" y="505"/>
                </a:lnTo>
                <a:lnTo>
                  <a:pt x="97" y="505"/>
                </a:lnTo>
                <a:lnTo>
                  <a:pt x="97" y="499"/>
                </a:lnTo>
                <a:lnTo>
                  <a:pt x="97" y="493"/>
                </a:lnTo>
                <a:lnTo>
                  <a:pt x="97" y="488"/>
                </a:lnTo>
                <a:lnTo>
                  <a:pt x="97" y="482"/>
                </a:lnTo>
                <a:lnTo>
                  <a:pt x="91" y="476"/>
                </a:lnTo>
                <a:lnTo>
                  <a:pt x="85" y="471"/>
                </a:lnTo>
                <a:lnTo>
                  <a:pt x="80" y="471"/>
                </a:lnTo>
                <a:lnTo>
                  <a:pt x="74" y="476"/>
                </a:lnTo>
                <a:lnTo>
                  <a:pt x="74" y="488"/>
                </a:lnTo>
                <a:lnTo>
                  <a:pt x="68" y="493"/>
                </a:lnTo>
                <a:lnTo>
                  <a:pt x="68" y="499"/>
                </a:lnTo>
                <a:lnTo>
                  <a:pt x="68" y="505"/>
                </a:lnTo>
                <a:lnTo>
                  <a:pt x="63" y="505"/>
                </a:lnTo>
                <a:lnTo>
                  <a:pt x="57" y="505"/>
                </a:lnTo>
                <a:lnTo>
                  <a:pt x="57" y="499"/>
                </a:lnTo>
                <a:lnTo>
                  <a:pt x="57" y="493"/>
                </a:lnTo>
                <a:lnTo>
                  <a:pt x="57" y="488"/>
                </a:lnTo>
                <a:lnTo>
                  <a:pt x="57" y="482"/>
                </a:lnTo>
                <a:lnTo>
                  <a:pt x="57" y="476"/>
                </a:lnTo>
                <a:lnTo>
                  <a:pt x="57" y="465"/>
                </a:lnTo>
                <a:lnTo>
                  <a:pt x="57" y="459"/>
                </a:lnTo>
                <a:lnTo>
                  <a:pt x="57" y="454"/>
                </a:lnTo>
                <a:lnTo>
                  <a:pt x="51" y="448"/>
                </a:lnTo>
                <a:lnTo>
                  <a:pt x="51" y="442"/>
                </a:lnTo>
                <a:lnTo>
                  <a:pt x="46" y="442"/>
                </a:lnTo>
                <a:lnTo>
                  <a:pt x="51" y="437"/>
                </a:lnTo>
                <a:lnTo>
                  <a:pt x="40" y="431"/>
                </a:lnTo>
                <a:lnTo>
                  <a:pt x="34" y="431"/>
                </a:lnTo>
                <a:lnTo>
                  <a:pt x="29" y="431"/>
                </a:lnTo>
                <a:lnTo>
                  <a:pt x="23" y="431"/>
                </a:lnTo>
                <a:lnTo>
                  <a:pt x="17" y="431"/>
                </a:lnTo>
                <a:lnTo>
                  <a:pt x="12" y="431"/>
                </a:lnTo>
                <a:lnTo>
                  <a:pt x="6" y="431"/>
                </a:lnTo>
                <a:lnTo>
                  <a:pt x="0" y="43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0" name="Freeform 17"/>
          <p:cNvSpPr>
            <a:spLocks/>
          </p:cNvSpPr>
          <p:nvPr/>
        </p:nvSpPr>
        <p:spPr bwMode="gray">
          <a:xfrm>
            <a:off x="1707312" y="724027"/>
            <a:ext cx="1874156" cy="1833551"/>
          </a:xfrm>
          <a:custGeom>
            <a:avLst/>
            <a:gdLst>
              <a:gd name="T0" fmla="*/ 2147483647 w 1106"/>
              <a:gd name="T1" fmla="*/ 2147483647 h 1083"/>
              <a:gd name="T2" fmla="*/ 2147483647 w 1106"/>
              <a:gd name="T3" fmla="*/ 2147483647 h 1083"/>
              <a:gd name="T4" fmla="*/ 2147483647 w 1106"/>
              <a:gd name="T5" fmla="*/ 2147483647 h 1083"/>
              <a:gd name="T6" fmla="*/ 2147483647 w 1106"/>
              <a:gd name="T7" fmla="*/ 2147483647 h 1083"/>
              <a:gd name="T8" fmla="*/ 2147483647 w 1106"/>
              <a:gd name="T9" fmla="*/ 2147483647 h 1083"/>
              <a:gd name="T10" fmla="*/ 2147483647 w 1106"/>
              <a:gd name="T11" fmla="*/ 2147483647 h 1083"/>
              <a:gd name="T12" fmla="*/ 2147483647 w 1106"/>
              <a:gd name="T13" fmla="*/ 2147483647 h 1083"/>
              <a:gd name="T14" fmla="*/ 2147483647 w 1106"/>
              <a:gd name="T15" fmla="*/ 2147483647 h 1083"/>
              <a:gd name="T16" fmla="*/ 2147483647 w 1106"/>
              <a:gd name="T17" fmla="*/ 2147483647 h 1083"/>
              <a:gd name="T18" fmla="*/ 2147483647 w 1106"/>
              <a:gd name="T19" fmla="*/ 2147483647 h 1083"/>
              <a:gd name="T20" fmla="*/ 2147483647 w 1106"/>
              <a:gd name="T21" fmla="*/ 2147483647 h 1083"/>
              <a:gd name="T22" fmla="*/ 2147483647 w 1106"/>
              <a:gd name="T23" fmla="*/ 2147483647 h 1083"/>
              <a:gd name="T24" fmla="*/ 2147483647 w 1106"/>
              <a:gd name="T25" fmla="*/ 2147483647 h 1083"/>
              <a:gd name="T26" fmla="*/ 2147483647 w 1106"/>
              <a:gd name="T27" fmla="*/ 2147483647 h 1083"/>
              <a:gd name="T28" fmla="*/ 2147483647 w 1106"/>
              <a:gd name="T29" fmla="*/ 2147483647 h 1083"/>
              <a:gd name="T30" fmla="*/ 2147483647 w 1106"/>
              <a:gd name="T31" fmla="*/ 2147483647 h 1083"/>
              <a:gd name="T32" fmla="*/ 2147483647 w 1106"/>
              <a:gd name="T33" fmla="*/ 2147483647 h 1083"/>
              <a:gd name="T34" fmla="*/ 2147483647 w 1106"/>
              <a:gd name="T35" fmla="*/ 2147483647 h 1083"/>
              <a:gd name="T36" fmla="*/ 2147483647 w 1106"/>
              <a:gd name="T37" fmla="*/ 2147483647 h 1083"/>
              <a:gd name="T38" fmla="*/ 2147483647 w 1106"/>
              <a:gd name="T39" fmla="*/ 2147483647 h 1083"/>
              <a:gd name="T40" fmla="*/ 2147483647 w 1106"/>
              <a:gd name="T41" fmla="*/ 2147483647 h 1083"/>
              <a:gd name="T42" fmla="*/ 2147483647 w 1106"/>
              <a:gd name="T43" fmla="*/ 2147483647 h 1083"/>
              <a:gd name="T44" fmla="*/ 2147483647 w 1106"/>
              <a:gd name="T45" fmla="*/ 2147483647 h 1083"/>
              <a:gd name="T46" fmla="*/ 2147483647 w 1106"/>
              <a:gd name="T47" fmla="*/ 2147483647 h 1083"/>
              <a:gd name="T48" fmla="*/ 2147483647 w 1106"/>
              <a:gd name="T49" fmla="*/ 2147483647 h 1083"/>
              <a:gd name="T50" fmla="*/ 2147483647 w 1106"/>
              <a:gd name="T51" fmla="*/ 2147483647 h 1083"/>
              <a:gd name="T52" fmla="*/ 2147483647 w 1106"/>
              <a:gd name="T53" fmla="*/ 2147483647 h 1083"/>
              <a:gd name="T54" fmla="*/ 2147483647 w 1106"/>
              <a:gd name="T55" fmla="*/ 2147483647 h 1083"/>
              <a:gd name="T56" fmla="*/ 2147483647 w 1106"/>
              <a:gd name="T57" fmla="*/ 2147483647 h 1083"/>
              <a:gd name="T58" fmla="*/ 2147483647 w 1106"/>
              <a:gd name="T59" fmla="*/ 2147483647 h 1083"/>
              <a:gd name="T60" fmla="*/ 2147483647 w 1106"/>
              <a:gd name="T61" fmla="*/ 2147483647 h 1083"/>
              <a:gd name="T62" fmla="*/ 2147483647 w 1106"/>
              <a:gd name="T63" fmla="*/ 2147483647 h 1083"/>
              <a:gd name="T64" fmla="*/ 2147483647 w 1106"/>
              <a:gd name="T65" fmla="*/ 2147483647 h 1083"/>
              <a:gd name="T66" fmla="*/ 2147483647 w 1106"/>
              <a:gd name="T67" fmla="*/ 2147483647 h 1083"/>
              <a:gd name="T68" fmla="*/ 2147483647 w 1106"/>
              <a:gd name="T69" fmla="*/ 2147483647 h 1083"/>
              <a:gd name="T70" fmla="*/ 2147483647 w 1106"/>
              <a:gd name="T71" fmla="*/ 2147483647 h 1083"/>
              <a:gd name="T72" fmla="*/ 2147483647 w 1106"/>
              <a:gd name="T73" fmla="*/ 2147483647 h 1083"/>
              <a:gd name="T74" fmla="*/ 2147483647 w 1106"/>
              <a:gd name="T75" fmla="*/ 2147483647 h 1083"/>
              <a:gd name="T76" fmla="*/ 2147483647 w 1106"/>
              <a:gd name="T77" fmla="*/ 2147483647 h 1083"/>
              <a:gd name="T78" fmla="*/ 2147483647 w 1106"/>
              <a:gd name="T79" fmla="*/ 2147483647 h 1083"/>
              <a:gd name="T80" fmla="*/ 2147483647 w 1106"/>
              <a:gd name="T81" fmla="*/ 2147483647 h 1083"/>
              <a:gd name="T82" fmla="*/ 2147483647 w 1106"/>
              <a:gd name="T83" fmla="*/ 2147483647 h 1083"/>
              <a:gd name="T84" fmla="*/ 2147483647 w 1106"/>
              <a:gd name="T85" fmla="*/ 2147483647 h 1083"/>
              <a:gd name="T86" fmla="*/ 2147483647 w 1106"/>
              <a:gd name="T87" fmla="*/ 2147483647 h 1083"/>
              <a:gd name="T88" fmla="*/ 2147483647 w 1106"/>
              <a:gd name="T89" fmla="*/ 2147483647 h 1083"/>
              <a:gd name="T90" fmla="*/ 2147483647 w 1106"/>
              <a:gd name="T91" fmla="*/ 2147483647 h 1083"/>
              <a:gd name="T92" fmla="*/ 2147483647 w 1106"/>
              <a:gd name="T93" fmla="*/ 2147483647 h 1083"/>
              <a:gd name="T94" fmla="*/ 2147483647 w 1106"/>
              <a:gd name="T95" fmla="*/ 2147483647 h 1083"/>
              <a:gd name="T96" fmla="*/ 2147483647 w 1106"/>
              <a:gd name="T97" fmla="*/ 2147483647 h 1083"/>
              <a:gd name="T98" fmla="*/ 2147483647 w 1106"/>
              <a:gd name="T99" fmla="*/ 2147483647 h 1083"/>
              <a:gd name="T100" fmla="*/ 2147483647 w 1106"/>
              <a:gd name="T101" fmla="*/ 2147483647 h 1083"/>
              <a:gd name="T102" fmla="*/ 2147483647 w 1106"/>
              <a:gd name="T103" fmla="*/ 2147483647 h 1083"/>
              <a:gd name="T104" fmla="*/ 2147483647 w 1106"/>
              <a:gd name="T105" fmla="*/ 2147483647 h 1083"/>
              <a:gd name="T106" fmla="*/ 2147483647 w 1106"/>
              <a:gd name="T107" fmla="*/ 2147483647 h 1083"/>
              <a:gd name="T108" fmla="*/ 2147483647 w 1106"/>
              <a:gd name="T109" fmla="*/ 2147483647 h 1083"/>
              <a:gd name="T110" fmla="*/ 2147483647 w 1106"/>
              <a:gd name="T111" fmla="*/ 2147483647 h 1083"/>
              <a:gd name="T112" fmla="*/ 2147483647 w 1106"/>
              <a:gd name="T113" fmla="*/ 2147483647 h 1083"/>
              <a:gd name="T114" fmla="*/ 2147483647 w 1106"/>
              <a:gd name="T115" fmla="*/ 2147483647 h 108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106"/>
              <a:gd name="T175" fmla="*/ 0 h 1083"/>
              <a:gd name="T176" fmla="*/ 1106 w 1106"/>
              <a:gd name="T177" fmla="*/ 1083 h 108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106" h="1083">
                <a:moveTo>
                  <a:pt x="0" y="232"/>
                </a:moveTo>
                <a:lnTo>
                  <a:pt x="0" y="198"/>
                </a:lnTo>
                <a:lnTo>
                  <a:pt x="0" y="187"/>
                </a:lnTo>
                <a:lnTo>
                  <a:pt x="0" y="164"/>
                </a:lnTo>
                <a:lnTo>
                  <a:pt x="0" y="159"/>
                </a:lnTo>
                <a:lnTo>
                  <a:pt x="0" y="153"/>
                </a:lnTo>
                <a:lnTo>
                  <a:pt x="0" y="147"/>
                </a:lnTo>
                <a:lnTo>
                  <a:pt x="17" y="147"/>
                </a:lnTo>
                <a:lnTo>
                  <a:pt x="23" y="147"/>
                </a:lnTo>
                <a:lnTo>
                  <a:pt x="29" y="147"/>
                </a:lnTo>
                <a:lnTo>
                  <a:pt x="46" y="136"/>
                </a:lnTo>
                <a:lnTo>
                  <a:pt x="57" y="119"/>
                </a:lnTo>
                <a:lnTo>
                  <a:pt x="63" y="119"/>
                </a:lnTo>
                <a:lnTo>
                  <a:pt x="68" y="113"/>
                </a:lnTo>
                <a:lnTo>
                  <a:pt x="80" y="102"/>
                </a:lnTo>
                <a:lnTo>
                  <a:pt x="97" y="85"/>
                </a:lnTo>
                <a:lnTo>
                  <a:pt x="102" y="85"/>
                </a:lnTo>
                <a:lnTo>
                  <a:pt x="108" y="79"/>
                </a:lnTo>
                <a:lnTo>
                  <a:pt x="119" y="68"/>
                </a:lnTo>
                <a:lnTo>
                  <a:pt x="125" y="68"/>
                </a:lnTo>
                <a:lnTo>
                  <a:pt x="142" y="62"/>
                </a:lnTo>
                <a:lnTo>
                  <a:pt x="148" y="62"/>
                </a:lnTo>
                <a:lnTo>
                  <a:pt x="153" y="62"/>
                </a:lnTo>
                <a:lnTo>
                  <a:pt x="159" y="57"/>
                </a:lnTo>
                <a:lnTo>
                  <a:pt x="165" y="57"/>
                </a:lnTo>
                <a:lnTo>
                  <a:pt x="170" y="57"/>
                </a:lnTo>
                <a:lnTo>
                  <a:pt x="176" y="57"/>
                </a:lnTo>
                <a:lnTo>
                  <a:pt x="193" y="51"/>
                </a:lnTo>
                <a:lnTo>
                  <a:pt x="204" y="51"/>
                </a:lnTo>
                <a:lnTo>
                  <a:pt x="210" y="51"/>
                </a:lnTo>
                <a:lnTo>
                  <a:pt x="216" y="51"/>
                </a:lnTo>
                <a:lnTo>
                  <a:pt x="221" y="45"/>
                </a:lnTo>
                <a:lnTo>
                  <a:pt x="227" y="45"/>
                </a:lnTo>
                <a:lnTo>
                  <a:pt x="233" y="45"/>
                </a:lnTo>
                <a:lnTo>
                  <a:pt x="255" y="40"/>
                </a:lnTo>
                <a:lnTo>
                  <a:pt x="261" y="40"/>
                </a:lnTo>
                <a:lnTo>
                  <a:pt x="267" y="40"/>
                </a:lnTo>
                <a:lnTo>
                  <a:pt x="273" y="51"/>
                </a:lnTo>
                <a:lnTo>
                  <a:pt x="278" y="51"/>
                </a:lnTo>
                <a:lnTo>
                  <a:pt x="290" y="51"/>
                </a:lnTo>
                <a:lnTo>
                  <a:pt x="301" y="51"/>
                </a:lnTo>
                <a:lnTo>
                  <a:pt x="307" y="51"/>
                </a:lnTo>
                <a:lnTo>
                  <a:pt x="307" y="57"/>
                </a:lnTo>
                <a:lnTo>
                  <a:pt x="312" y="57"/>
                </a:lnTo>
                <a:lnTo>
                  <a:pt x="318" y="51"/>
                </a:lnTo>
                <a:lnTo>
                  <a:pt x="329" y="51"/>
                </a:lnTo>
                <a:lnTo>
                  <a:pt x="341" y="51"/>
                </a:lnTo>
                <a:lnTo>
                  <a:pt x="346" y="51"/>
                </a:lnTo>
                <a:lnTo>
                  <a:pt x="358" y="51"/>
                </a:lnTo>
                <a:lnTo>
                  <a:pt x="363" y="51"/>
                </a:lnTo>
                <a:lnTo>
                  <a:pt x="369" y="51"/>
                </a:lnTo>
                <a:lnTo>
                  <a:pt x="375" y="51"/>
                </a:lnTo>
                <a:lnTo>
                  <a:pt x="380" y="51"/>
                </a:lnTo>
                <a:lnTo>
                  <a:pt x="392" y="51"/>
                </a:lnTo>
                <a:lnTo>
                  <a:pt x="397" y="51"/>
                </a:lnTo>
                <a:lnTo>
                  <a:pt x="403" y="51"/>
                </a:lnTo>
                <a:lnTo>
                  <a:pt x="409" y="45"/>
                </a:lnTo>
                <a:lnTo>
                  <a:pt x="414" y="45"/>
                </a:lnTo>
                <a:lnTo>
                  <a:pt x="420" y="34"/>
                </a:lnTo>
                <a:lnTo>
                  <a:pt x="431" y="23"/>
                </a:lnTo>
                <a:lnTo>
                  <a:pt x="437" y="17"/>
                </a:lnTo>
                <a:lnTo>
                  <a:pt x="454" y="11"/>
                </a:lnTo>
                <a:lnTo>
                  <a:pt x="465" y="6"/>
                </a:lnTo>
                <a:lnTo>
                  <a:pt x="471" y="6"/>
                </a:lnTo>
                <a:lnTo>
                  <a:pt x="482" y="6"/>
                </a:lnTo>
                <a:lnTo>
                  <a:pt x="494" y="0"/>
                </a:lnTo>
                <a:lnTo>
                  <a:pt x="499" y="0"/>
                </a:lnTo>
                <a:lnTo>
                  <a:pt x="516" y="11"/>
                </a:lnTo>
                <a:lnTo>
                  <a:pt x="522" y="11"/>
                </a:lnTo>
                <a:lnTo>
                  <a:pt x="533" y="17"/>
                </a:lnTo>
                <a:lnTo>
                  <a:pt x="567" y="34"/>
                </a:lnTo>
                <a:lnTo>
                  <a:pt x="573" y="34"/>
                </a:lnTo>
                <a:lnTo>
                  <a:pt x="590" y="40"/>
                </a:lnTo>
                <a:lnTo>
                  <a:pt x="607" y="45"/>
                </a:lnTo>
                <a:lnTo>
                  <a:pt x="624" y="51"/>
                </a:lnTo>
                <a:lnTo>
                  <a:pt x="635" y="57"/>
                </a:lnTo>
                <a:lnTo>
                  <a:pt x="658" y="62"/>
                </a:lnTo>
                <a:lnTo>
                  <a:pt x="664" y="68"/>
                </a:lnTo>
                <a:lnTo>
                  <a:pt x="675" y="68"/>
                </a:lnTo>
                <a:lnTo>
                  <a:pt x="681" y="74"/>
                </a:lnTo>
                <a:lnTo>
                  <a:pt x="692" y="74"/>
                </a:lnTo>
                <a:lnTo>
                  <a:pt x="709" y="85"/>
                </a:lnTo>
                <a:lnTo>
                  <a:pt x="715" y="85"/>
                </a:lnTo>
                <a:lnTo>
                  <a:pt x="715" y="91"/>
                </a:lnTo>
                <a:lnTo>
                  <a:pt x="720" y="91"/>
                </a:lnTo>
                <a:lnTo>
                  <a:pt x="726" y="85"/>
                </a:lnTo>
                <a:lnTo>
                  <a:pt x="732" y="85"/>
                </a:lnTo>
                <a:lnTo>
                  <a:pt x="737" y="85"/>
                </a:lnTo>
                <a:lnTo>
                  <a:pt x="743" y="79"/>
                </a:lnTo>
                <a:lnTo>
                  <a:pt x="754" y="79"/>
                </a:lnTo>
                <a:lnTo>
                  <a:pt x="760" y="79"/>
                </a:lnTo>
                <a:lnTo>
                  <a:pt x="766" y="79"/>
                </a:lnTo>
                <a:lnTo>
                  <a:pt x="771" y="85"/>
                </a:lnTo>
                <a:lnTo>
                  <a:pt x="777" y="85"/>
                </a:lnTo>
                <a:lnTo>
                  <a:pt x="783" y="91"/>
                </a:lnTo>
                <a:lnTo>
                  <a:pt x="811" y="102"/>
                </a:lnTo>
                <a:lnTo>
                  <a:pt x="817" y="108"/>
                </a:lnTo>
                <a:lnTo>
                  <a:pt x="822" y="113"/>
                </a:lnTo>
                <a:lnTo>
                  <a:pt x="839" y="130"/>
                </a:lnTo>
                <a:lnTo>
                  <a:pt x="862" y="153"/>
                </a:lnTo>
                <a:lnTo>
                  <a:pt x="868" y="153"/>
                </a:lnTo>
                <a:lnTo>
                  <a:pt x="868" y="159"/>
                </a:lnTo>
                <a:lnTo>
                  <a:pt x="873" y="164"/>
                </a:lnTo>
                <a:lnTo>
                  <a:pt x="890" y="176"/>
                </a:lnTo>
                <a:lnTo>
                  <a:pt x="896" y="181"/>
                </a:lnTo>
                <a:lnTo>
                  <a:pt x="896" y="187"/>
                </a:lnTo>
                <a:lnTo>
                  <a:pt x="902" y="193"/>
                </a:lnTo>
                <a:lnTo>
                  <a:pt x="907" y="198"/>
                </a:lnTo>
                <a:lnTo>
                  <a:pt x="907" y="204"/>
                </a:lnTo>
                <a:lnTo>
                  <a:pt x="913" y="204"/>
                </a:lnTo>
                <a:lnTo>
                  <a:pt x="913" y="210"/>
                </a:lnTo>
                <a:lnTo>
                  <a:pt x="913" y="215"/>
                </a:lnTo>
                <a:lnTo>
                  <a:pt x="919" y="215"/>
                </a:lnTo>
                <a:lnTo>
                  <a:pt x="919" y="221"/>
                </a:lnTo>
                <a:lnTo>
                  <a:pt x="924" y="227"/>
                </a:lnTo>
                <a:lnTo>
                  <a:pt x="930" y="238"/>
                </a:lnTo>
                <a:lnTo>
                  <a:pt x="936" y="244"/>
                </a:lnTo>
                <a:lnTo>
                  <a:pt x="941" y="255"/>
                </a:lnTo>
                <a:lnTo>
                  <a:pt x="941" y="261"/>
                </a:lnTo>
                <a:lnTo>
                  <a:pt x="947" y="266"/>
                </a:lnTo>
                <a:lnTo>
                  <a:pt x="947" y="272"/>
                </a:lnTo>
                <a:lnTo>
                  <a:pt x="953" y="278"/>
                </a:lnTo>
                <a:lnTo>
                  <a:pt x="958" y="283"/>
                </a:lnTo>
                <a:lnTo>
                  <a:pt x="964" y="289"/>
                </a:lnTo>
                <a:lnTo>
                  <a:pt x="975" y="306"/>
                </a:lnTo>
                <a:lnTo>
                  <a:pt x="981" y="306"/>
                </a:lnTo>
                <a:lnTo>
                  <a:pt x="981" y="312"/>
                </a:lnTo>
                <a:lnTo>
                  <a:pt x="987" y="317"/>
                </a:lnTo>
                <a:lnTo>
                  <a:pt x="992" y="323"/>
                </a:lnTo>
                <a:lnTo>
                  <a:pt x="998" y="323"/>
                </a:lnTo>
                <a:lnTo>
                  <a:pt x="1015" y="323"/>
                </a:lnTo>
                <a:lnTo>
                  <a:pt x="1021" y="323"/>
                </a:lnTo>
                <a:lnTo>
                  <a:pt x="1032" y="317"/>
                </a:lnTo>
                <a:lnTo>
                  <a:pt x="1038" y="317"/>
                </a:lnTo>
                <a:lnTo>
                  <a:pt x="1038" y="335"/>
                </a:lnTo>
                <a:lnTo>
                  <a:pt x="1038" y="352"/>
                </a:lnTo>
                <a:lnTo>
                  <a:pt x="1038" y="363"/>
                </a:lnTo>
                <a:lnTo>
                  <a:pt x="1038" y="374"/>
                </a:lnTo>
                <a:lnTo>
                  <a:pt x="1038" y="380"/>
                </a:lnTo>
                <a:lnTo>
                  <a:pt x="1032" y="391"/>
                </a:lnTo>
                <a:lnTo>
                  <a:pt x="1032" y="403"/>
                </a:lnTo>
                <a:lnTo>
                  <a:pt x="1032" y="431"/>
                </a:lnTo>
                <a:lnTo>
                  <a:pt x="1032" y="437"/>
                </a:lnTo>
                <a:lnTo>
                  <a:pt x="1038" y="442"/>
                </a:lnTo>
                <a:lnTo>
                  <a:pt x="1038" y="448"/>
                </a:lnTo>
                <a:lnTo>
                  <a:pt x="1038" y="454"/>
                </a:lnTo>
                <a:lnTo>
                  <a:pt x="1038" y="459"/>
                </a:lnTo>
                <a:lnTo>
                  <a:pt x="1043" y="465"/>
                </a:lnTo>
                <a:lnTo>
                  <a:pt x="1043" y="488"/>
                </a:lnTo>
                <a:lnTo>
                  <a:pt x="1043" y="493"/>
                </a:lnTo>
                <a:lnTo>
                  <a:pt x="1043" y="499"/>
                </a:lnTo>
                <a:lnTo>
                  <a:pt x="1043" y="505"/>
                </a:lnTo>
                <a:lnTo>
                  <a:pt x="1043" y="510"/>
                </a:lnTo>
                <a:lnTo>
                  <a:pt x="1043" y="527"/>
                </a:lnTo>
                <a:lnTo>
                  <a:pt x="1043" y="533"/>
                </a:lnTo>
                <a:lnTo>
                  <a:pt x="1049" y="533"/>
                </a:lnTo>
                <a:lnTo>
                  <a:pt x="1049" y="539"/>
                </a:lnTo>
                <a:lnTo>
                  <a:pt x="1055" y="539"/>
                </a:lnTo>
                <a:lnTo>
                  <a:pt x="1055" y="544"/>
                </a:lnTo>
                <a:lnTo>
                  <a:pt x="1055" y="550"/>
                </a:lnTo>
                <a:lnTo>
                  <a:pt x="1055" y="556"/>
                </a:lnTo>
                <a:lnTo>
                  <a:pt x="1055" y="561"/>
                </a:lnTo>
                <a:lnTo>
                  <a:pt x="1060" y="561"/>
                </a:lnTo>
                <a:lnTo>
                  <a:pt x="1060" y="567"/>
                </a:lnTo>
                <a:lnTo>
                  <a:pt x="1060" y="578"/>
                </a:lnTo>
                <a:lnTo>
                  <a:pt x="1060" y="584"/>
                </a:lnTo>
                <a:lnTo>
                  <a:pt x="1066" y="590"/>
                </a:lnTo>
                <a:lnTo>
                  <a:pt x="1072" y="595"/>
                </a:lnTo>
                <a:lnTo>
                  <a:pt x="1072" y="601"/>
                </a:lnTo>
                <a:lnTo>
                  <a:pt x="1072" y="607"/>
                </a:lnTo>
                <a:lnTo>
                  <a:pt x="1072" y="612"/>
                </a:lnTo>
                <a:lnTo>
                  <a:pt x="1077" y="618"/>
                </a:lnTo>
                <a:lnTo>
                  <a:pt x="1077" y="624"/>
                </a:lnTo>
                <a:lnTo>
                  <a:pt x="1077" y="629"/>
                </a:lnTo>
                <a:lnTo>
                  <a:pt x="1077" y="635"/>
                </a:lnTo>
                <a:lnTo>
                  <a:pt x="1077" y="641"/>
                </a:lnTo>
                <a:lnTo>
                  <a:pt x="1072" y="641"/>
                </a:lnTo>
                <a:lnTo>
                  <a:pt x="1072" y="646"/>
                </a:lnTo>
                <a:lnTo>
                  <a:pt x="1072" y="652"/>
                </a:lnTo>
                <a:lnTo>
                  <a:pt x="1066" y="652"/>
                </a:lnTo>
                <a:lnTo>
                  <a:pt x="1066" y="658"/>
                </a:lnTo>
                <a:lnTo>
                  <a:pt x="1060" y="658"/>
                </a:lnTo>
                <a:lnTo>
                  <a:pt x="1060" y="663"/>
                </a:lnTo>
                <a:lnTo>
                  <a:pt x="1060" y="669"/>
                </a:lnTo>
                <a:lnTo>
                  <a:pt x="1060" y="675"/>
                </a:lnTo>
                <a:lnTo>
                  <a:pt x="1066" y="675"/>
                </a:lnTo>
                <a:lnTo>
                  <a:pt x="1066" y="680"/>
                </a:lnTo>
                <a:lnTo>
                  <a:pt x="1072" y="680"/>
                </a:lnTo>
                <a:lnTo>
                  <a:pt x="1077" y="680"/>
                </a:lnTo>
                <a:lnTo>
                  <a:pt x="1083" y="680"/>
                </a:lnTo>
                <a:lnTo>
                  <a:pt x="1083" y="686"/>
                </a:lnTo>
                <a:lnTo>
                  <a:pt x="1089" y="686"/>
                </a:lnTo>
                <a:lnTo>
                  <a:pt x="1094" y="697"/>
                </a:lnTo>
                <a:lnTo>
                  <a:pt x="1100" y="697"/>
                </a:lnTo>
                <a:lnTo>
                  <a:pt x="1100" y="703"/>
                </a:lnTo>
                <a:lnTo>
                  <a:pt x="1106" y="709"/>
                </a:lnTo>
                <a:lnTo>
                  <a:pt x="1106" y="714"/>
                </a:lnTo>
                <a:lnTo>
                  <a:pt x="1100" y="714"/>
                </a:lnTo>
                <a:lnTo>
                  <a:pt x="1100" y="720"/>
                </a:lnTo>
                <a:lnTo>
                  <a:pt x="1094" y="720"/>
                </a:lnTo>
                <a:lnTo>
                  <a:pt x="1094" y="726"/>
                </a:lnTo>
                <a:lnTo>
                  <a:pt x="1089" y="720"/>
                </a:lnTo>
                <a:lnTo>
                  <a:pt x="1083" y="720"/>
                </a:lnTo>
                <a:lnTo>
                  <a:pt x="1077" y="720"/>
                </a:lnTo>
                <a:lnTo>
                  <a:pt x="1072" y="726"/>
                </a:lnTo>
                <a:lnTo>
                  <a:pt x="1072" y="731"/>
                </a:lnTo>
                <a:lnTo>
                  <a:pt x="1072" y="737"/>
                </a:lnTo>
                <a:lnTo>
                  <a:pt x="1066" y="743"/>
                </a:lnTo>
                <a:lnTo>
                  <a:pt x="1060" y="743"/>
                </a:lnTo>
                <a:lnTo>
                  <a:pt x="1055" y="754"/>
                </a:lnTo>
                <a:lnTo>
                  <a:pt x="1049" y="754"/>
                </a:lnTo>
                <a:lnTo>
                  <a:pt x="1043" y="754"/>
                </a:lnTo>
                <a:lnTo>
                  <a:pt x="1043" y="760"/>
                </a:lnTo>
                <a:lnTo>
                  <a:pt x="1038" y="760"/>
                </a:lnTo>
                <a:lnTo>
                  <a:pt x="1032" y="760"/>
                </a:lnTo>
                <a:lnTo>
                  <a:pt x="1026" y="754"/>
                </a:lnTo>
                <a:lnTo>
                  <a:pt x="1021" y="754"/>
                </a:lnTo>
                <a:lnTo>
                  <a:pt x="1015" y="754"/>
                </a:lnTo>
                <a:lnTo>
                  <a:pt x="1009" y="754"/>
                </a:lnTo>
                <a:lnTo>
                  <a:pt x="998" y="754"/>
                </a:lnTo>
                <a:lnTo>
                  <a:pt x="998" y="760"/>
                </a:lnTo>
                <a:lnTo>
                  <a:pt x="992" y="760"/>
                </a:lnTo>
                <a:lnTo>
                  <a:pt x="992" y="765"/>
                </a:lnTo>
                <a:lnTo>
                  <a:pt x="987" y="765"/>
                </a:lnTo>
                <a:lnTo>
                  <a:pt x="987" y="771"/>
                </a:lnTo>
                <a:lnTo>
                  <a:pt x="987" y="782"/>
                </a:lnTo>
                <a:lnTo>
                  <a:pt x="981" y="782"/>
                </a:lnTo>
                <a:lnTo>
                  <a:pt x="981" y="788"/>
                </a:lnTo>
                <a:lnTo>
                  <a:pt x="981" y="794"/>
                </a:lnTo>
                <a:lnTo>
                  <a:pt x="981" y="799"/>
                </a:lnTo>
                <a:lnTo>
                  <a:pt x="975" y="799"/>
                </a:lnTo>
                <a:lnTo>
                  <a:pt x="975" y="805"/>
                </a:lnTo>
                <a:lnTo>
                  <a:pt x="975" y="811"/>
                </a:lnTo>
                <a:lnTo>
                  <a:pt x="975" y="816"/>
                </a:lnTo>
                <a:lnTo>
                  <a:pt x="975" y="822"/>
                </a:lnTo>
                <a:lnTo>
                  <a:pt x="975" y="828"/>
                </a:lnTo>
                <a:lnTo>
                  <a:pt x="975" y="833"/>
                </a:lnTo>
                <a:lnTo>
                  <a:pt x="981" y="839"/>
                </a:lnTo>
                <a:lnTo>
                  <a:pt x="987" y="845"/>
                </a:lnTo>
                <a:lnTo>
                  <a:pt x="987" y="850"/>
                </a:lnTo>
                <a:lnTo>
                  <a:pt x="992" y="856"/>
                </a:lnTo>
                <a:lnTo>
                  <a:pt x="992" y="862"/>
                </a:lnTo>
                <a:lnTo>
                  <a:pt x="992" y="867"/>
                </a:lnTo>
                <a:lnTo>
                  <a:pt x="987" y="867"/>
                </a:lnTo>
                <a:lnTo>
                  <a:pt x="987" y="873"/>
                </a:lnTo>
                <a:lnTo>
                  <a:pt x="987" y="879"/>
                </a:lnTo>
                <a:lnTo>
                  <a:pt x="987" y="884"/>
                </a:lnTo>
                <a:lnTo>
                  <a:pt x="981" y="890"/>
                </a:lnTo>
                <a:lnTo>
                  <a:pt x="981" y="896"/>
                </a:lnTo>
                <a:lnTo>
                  <a:pt x="981" y="901"/>
                </a:lnTo>
                <a:lnTo>
                  <a:pt x="987" y="907"/>
                </a:lnTo>
                <a:lnTo>
                  <a:pt x="981" y="913"/>
                </a:lnTo>
                <a:lnTo>
                  <a:pt x="975" y="918"/>
                </a:lnTo>
                <a:lnTo>
                  <a:pt x="970" y="924"/>
                </a:lnTo>
                <a:lnTo>
                  <a:pt x="964" y="924"/>
                </a:lnTo>
                <a:lnTo>
                  <a:pt x="964" y="930"/>
                </a:lnTo>
                <a:lnTo>
                  <a:pt x="958" y="930"/>
                </a:lnTo>
                <a:lnTo>
                  <a:pt x="958" y="935"/>
                </a:lnTo>
                <a:lnTo>
                  <a:pt x="953" y="935"/>
                </a:lnTo>
                <a:lnTo>
                  <a:pt x="947" y="935"/>
                </a:lnTo>
                <a:lnTo>
                  <a:pt x="947" y="941"/>
                </a:lnTo>
                <a:lnTo>
                  <a:pt x="941" y="941"/>
                </a:lnTo>
                <a:lnTo>
                  <a:pt x="936" y="947"/>
                </a:lnTo>
                <a:lnTo>
                  <a:pt x="936" y="952"/>
                </a:lnTo>
                <a:lnTo>
                  <a:pt x="930" y="964"/>
                </a:lnTo>
                <a:lnTo>
                  <a:pt x="930" y="975"/>
                </a:lnTo>
                <a:lnTo>
                  <a:pt x="930" y="981"/>
                </a:lnTo>
                <a:lnTo>
                  <a:pt x="930" y="986"/>
                </a:lnTo>
                <a:lnTo>
                  <a:pt x="924" y="992"/>
                </a:lnTo>
                <a:lnTo>
                  <a:pt x="924" y="998"/>
                </a:lnTo>
                <a:lnTo>
                  <a:pt x="919" y="998"/>
                </a:lnTo>
                <a:lnTo>
                  <a:pt x="919" y="1003"/>
                </a:lnTo>
                <a:lnTo>
                  <a:pt x="913" y="1009"/>
                </a:lnTo>
                <a:lnTo>
                  <a:pt x="907" y="1015"/>
                </a:lnTo>
                <a:lnTo>
                  <a:pt x="902" y="1015"/>
                </a:lnTo>
                <a:lnTo>
                  <a:pt x="902" y="1020"/>
                </a:lnTo>
                <a:lnTo>
                  <a:pt x="896" y="1020"/>
                </a:lnTo>
                <a:lnTo>
                  <a:pt x="890" y="1020"/>
                </a:lnTo>
                <a:lnTo>
                  <a:pt x="885" y="1026"/>
                </a:lnTo>
                <a:lnTo>
                  <a:pt x="879" y="1026"/>
                </a:lnTo>
                <a:lnTo>
                  <a:pt x="862" y="1032"/>
                </a:lnTo>
                <a:lnTo>
                  <a:pt x="856" y="1032"/>
                </a:lnTo>
                <a:lnTo>
                  <a:pt x="851" y="1032"/>
                </a:lnTo>
                <a:lnTo>
                  <a:pt x="845" y="1032"/>
                </a:lnTo>
                <a:lnTo>
                  <a:pt x="834" y="1032"/>
                </a:lnTo>
                <a:lnTo>
                  <a:pt x="828" y="1032"/>
                </a:lnTo>
                <a:lnTo>
                  <a:pt x="822" y="1026"/>
                </a:lnTo>
                <a:lnTo>
                  <a:pt x="817" y="1026"/>
                </a:lnTo>
                <a:lnTo>
                  <a:pt x="811" y="1020"/>
                </a:lnTo>
                <a:lnTo>
                  <a:pt x="805" y="1020"/>
                </a:lnTo>
                <a:lnTo>
                  <a:pt x="805" y="1026"/>
                </a:lnTo>
                <a:lnTo>
                  <a:pt x="794" y="1026"/>
                </a:lnTo>
                <a:lnTo>
                  <a:pt x="794" y="1032"/>
                </a:lnTo>
                <a:lnTo>
                  <a:pt x="783" y="1037"/>
                </a:lnTo>
                <a:lnTo>
                  <a:pt x="777" y="1037"/>
                </a:lnTo>
                <a:lnTo>
                  <a:pt x="777" y="1043"/>
                </a:lnTo>
                <a:lnTo>
                  <a:pt x="771" y="1043"/>
                </a:lnTo>
                <a:lnTo>
                  <a:pt x="771" y="1049"/>
                </a:lnTo>
                <a:lnTo>
                  <a:pt x="766" y="1049"/>
                </a:lnTo>
                <a:lnTo>
                  <a:pt x="760" y="1054"/>
                </a:lnTo>
                <a:lnTo>
                  <a:pt x="760" y="1060"/>
                </a:lnTo>
                <a:lnTo>
                  <a:pt x="754" y="1060"/>
                </a:lnTo>
                <a:lnTo>
                  <a:pt x="754" y="1071"/>
                </a:lnTo>
                <a:lnTo>
                  <a:pt x="749" y="1071"/>
                </a:lnTo>
                <a:lnTo>
                  <a:pt x="749" y="1077"/>
                </a:lnTo>
                <a:lnTo>
                  <a:pt x="749" y="1083"/>
                </a:lnTo>
                <a:lnTo>
                  <a:pt x="743" y="1083"/>
                </a:lnTo>
                <a:lnTo>
                  <a:pt x="737" y="1083"/>
                </a:lnTo>
                <a:lnTo>
                  <a:pt x="732" y="1083"/>
                </a:lnTo>
                <a:lnTo>
                  <a:pt x="726" y="1077"/>
                </a:lnTo>
                <a:lnTo>
                  <a:pt x="726" y="1071"/>
                </a:lnTo>
                <a:lnTo>
                  <a:pt x="720" y="1066"/>
                </a:lnTo>
                <a:lnTo>
                  <a:pt x="720" y="1060"/>
                </a:lnTo>
                <a:lnTo>
                  <a:pt x="720" y="1054"/>
                </a:lnTo>
                <a:lnTo>
                  <a:pt x="715" y="1049"/>
                </a:lnTo>
                <a:lnTo>
                  <a:pt x="709" y="1049"/>
                </a:lnTo>
                <a:lnTo>
                  <a:pt x="709" y="1043"/>
                </a:lnTo>
                <a:lnTo>
                  <a:pt x="703" y="1043"/>
                </a:lnTo>
                <a:lnTo>
                  <a:pt x="703" y="1037"/>
                </a:lnTo>
                <a:lnTo>
                  <a:pt x="703" y="1032"/>
                </a:lnTo>
                <a:lnTo>
                  <a:pt x="698" y="1026"/>
                </a:lnTo>
                <a:lnTo>
                  <a:pt x="698" y="1020"/>
                </a:lnTo>
                <a:lnTo>
                  <a:pt x="692" y="1020"/>
                </a:lnTo>
                <a:lnTo>
                  <a:pt x="692" y="1015"/>
                </a:lnTo>
                <a:lnTo>
                  <a:pt x="681" y="1003"/>
                </a:lnTo>
                <a:lnTo>
                  <a:pt x="681" y="998"/>
                </a:lnTo>
                <a:lnTo>
                  <a:pt x="675" y="992"/>
                </a:lnTo>
                <a:lnTo>
                  <a:pt x="675" y="986"/>
                </a:lnTo>
                <a:lnTo>
                  <a:pt x="675" y="981"/>
                </a:lnTo>
                <a:lnTo>
                  <a:pt x="675" y="975"/>
                </a:lnTo>
                <a:lnTo>
                  <a:pt x="675" y="969"/>
                </a:lnTo>
                <a:lnTo>
                  <a:pt x="675" y="964"/>
                </a:lnTo>
                <a:lnTo>
                  <a:pt x="675" y="952"/>
                </a:lnTo>
                <a:lnTo>
                  <a:pt x="675" y="947"/>
                </a:lnTo>
                <a:lnTo>
                  <a:pt x="675" y="935"/>
                </a:lnTo>
                <a:lnTo>
                  <a:pt x="669" y="930"/>
                </a:lnTo>
                <a:lnTo>
                  <a:pt x="669" y="924"/>
                </a:lnTo>
                <a:lnTo>
                  <a:pt x="664" y="924"/>
                </a:lnTo>
                <a:lnTo>
                  <a:pt x="664" y="918"/>
                </a:lnTo>
                <a:lnTo>
                  <a:pt x="664" y="913"/>
                </a:lnTo>
                <a:lnTo>
                  <a:pt x="664" y="907"/>
                </a:lnTo>
                <a:lnTo>
                  <a:pt x="658" y="907"/>
                </a:lnTo>
                <a:lnTo>
                  <a:pt x="652" y="907"/>
                </a:lnTo>
                <a:lnTo>
                  <a:pt x="652" y="901"/>
                </a:lnTo>
                <a:lnTo>
                  <a:pt x="647" y="896"/>
                </a:lnTo>
                <a:lnTo>
                  <a:pt x="641" y="896"/>
                </a:lnTo>
                <a:lnTo>
                  <a:pt x="635" y="896"/>
                </a:lnTo>
                <a:lnTo>
                  <a:pt x="630" y="896"/>
                </a:lnTo>
                <a:lnTo>
                  <a:pt x="624" y="890"/>
                </a:lnTo>
                <a:lnTo>
                  <a:pt x="618" y="890"/>
                </a:lnTo>
                <a:lnTo>
                  <a:pt x="618" y="884"/>
                </a:lnTo>
                <a:lnTo>
                  <a:pt x="624" y="884"/>
                </a:lnTo>
                <a:lnTo>
                  <a:pt x="624" y="879"/>
                </a:lnTo>
                <a:lnTo>
                  <a:pt x="630" y="867"/>
                </a:lnTo>
                <a:lnTo>
                  <a:pt x="630" y="862"/>
                </a:lnTo>
                <a:lnTo>
                  <a:pt x="635" y="856"/>
                </a:lnTo>
                <a:lnTo>
                  <a:pt x="635" y="850"/>
                </a:lnTo>
                <a:lnTo>
                  <a:pt x="630" y="828"/>
                </a:lnTo>
                <a:lnTo>
                  <a:pt x="624" y="822"/>
                </a:lnTo>
                <a:lnTo>
                  <a:pt x="618" y="816"/>
                </a:lnTo>
                <a:lnTo>
                  <a:pt x="618" y="811"/>
                </a:lnTo>
                <a:lnTo>
                  <a:pt x="613" y="811"/>
                </a:lnTo>
                <a:lnTo>
                  <a:pt x="607" y="811"/>
                </a:lnTo>
                <a:lnTo>
                  <a:pt x="607" y="805"/>
                </a:lnTo>
                <a:lnTo>
                  <a:pt x="601" y="799"/>
                </a:lnTo>
                <a:lnTo>
                  <a:pt x="596" y="799"/>
                </a:lnTo>
                <a:lnTo>
                  <a:pt x="590" y="799"/>
                </a:lnTo>
                <a:lnTo>
                  <a:pt x="584" y="799"/>
                </a:lnTo>
                <a:lnTo>
                  <a:pt x="579" y="799"/>
                </a:lnTo>
                <a:lnTo>
                  <a:pt x="573" y="799"/>
                </a:lnTo>
                <a:lnTo>
                  <a:pt x="567" y="805"/>
                </a:lnTo>
                <a:lnTo>
                  <a:pt x="567" y="811"/>
                </a:lnTo>
                <a:lnTo>
                  <a:pt x="562" y="811"/>
                </a:lnTo>
                <a:lnTo>
                  <a:pt x="556" y="805"/>
                </a:lnTo>
                <a:lnTo>
                  <a:pt x="550" y="811"/>
                </a:lnTo>
                <a:lnTo>
                  <a:pt x="545" y="811"/>
                </a:lnTo>
                <a:lnTo>
                  <a:pt x="539" y="811"/>
                </a:lnTo>
                <a:lnTo>
                  <a:pt x="539" y="805"/>
                </a:lnTo>
                <a:lnTo>
                  <a:pt x="533" y="805"/>
                </a:lnTo>
                <a:lnTo>
                  <a:pt x="533" y="811"/>
                </a:lnTo>
                <a:lnTo>
                  <a:pt x="528" y="811"/>
                </a:lnTo>
                <a:lnTo>
                  <a:pt x="528" y="805"/>
                </a:lnTo>
                <a:lnTo>
                  <a:pt x="522" y="805"/>
                </a:lnTo>
                <a:lnTo>
                  <a:pt x="516" y="811"/>
                </a:lnTo>
                <a:lnTo>
                  <a:pt x="511" y="811"/>
                </a:lnTo>
                <a:lnTo>
                  <a:pt x="505" y="811"/>
                </a:lnTo>
                <a:lnTo>
                  <a:pt x="499" y="816"/>
                </a:lnTo>
                <a:lnTo>
                  <a:pt x="494" y="816"/>
                </a:lnTo>
                <a:lnTo>
                  <a:pt x="494" y="811"/>
                </a:lnTo>
                <a:lnTo>
                  <a:pt x="488" y="811"/>
                </a:lnTo>
                <a:lnTo>
                  <a:pt x="488" y="805"/>
                </a:lnTo>
                <a:lnTo>
                  <a:pt x="482" y="799"/>
                </a:lnTo>
                <a:lnTo>
                  <a:pt x="477" y="799"/>
                </a:lnTo>
                <a:lnTo>
                  <a:pt x="477" y="794"/>
                </a:lnTo>
                <a:lnTo>
                  <a:pt x="465" y="794"/>
                </a:lnTo>
                <a:lnTo>
                  <a:pt x="460" y="794"/>
                </a:lnTo>
                <a:lnTo>
                  <a:pt x="454" y="794"/>
                </a:lnTo>
                <a:lnTo>
                  <a:pt x="454" y="799"/>
                </a:lnTo>
                <a:lnTo>
                  <a:pt x="454" y="794"/>
                </a:lnTo>
                <a:lnTo>
                  <a:pt x="448" y="794"/>
                </a:lnTo>
                <a:lnTo>
                  <a:pt x="448" y="788"/>
                </a:lnTo>
                <a:lnTo>
                  <a:pt x="448" y="782"/>
                </a:lnTo>
                <a:lnTo>
                  <a:pt x="443" y="777"/>
                </a:lnTo>
                <a:lnTo>
                  <a:pt x="437" y="771"/>
                </a:lnTo>
                <a:lnTo>
                  <a:pt x="437" y="765"/>
                </a:lnTo>
                <a:lnTo>
                  <a:pt x="431" y="765"/>
                </a:lnTo>
                <a:lnTo>
                  <a:pt x="426" y="765"/>
                </a:lnTo>
                <a:lnTo>
                  <a:pt x="420" y="765"/>
                </a:lnTo>
                <a:lnTo>
                  <a:pt x="420" y="771"/>
                </a:lnTo>
                <a:lnTo>
                  <a:pt x="414" y="771"/>
                </a:lnTo>
                <a:lnTo>
                  <a:pt x="409" y="771"/>
                </a:lnTo>
                <a:lnTo>
                  <a:pt x="403" y="771"/>
                </a:lnTo>
                <a:lnTo>
                  <a:pt x="397" y="771"/>
                </a:lnTo>
                <a:lnTo>
                  <a:pt x="397" y="765"/>
                </a:lnTo>
                <a:lnTo>
                  <a:pt x="392" y="765"/>
                </a:lnTo>
                <a:lnTo>
                  <a:pt x="386" y="765"/>
                </a:lnTo>
                <a:lnTo>
                  <a:pt x="380" y="765"/>
                </a:lnTo>
                <a:lnTo>
                  <a:pt x="380" y="771"/>
                </a:lnTo>
                <a:lnTo>
                  <a:pt x="380" y="777"/>
                </a:lnTo>
                <a:lnTo>
                  <a:pt x="380" y="782"/>
                </a:lnTo>
                <a:lnTo>
                  <a:pt x="375" y="782"/>
                </a:lnTo>
                <a:lnTo>
                  <a:pt x="369" y="782"/>
                </a:lnTo>
                <a:lnTo>
                  <a:pt x="363" y="788"/>
                </a:lnTo>
                <a:lnTo>
                  <a:pt x="352" y="794"/>
                </a:lnTo>
                <a:lnTo>
                  <a:pt x="346" y="788"/>
                </a:lnTo>
                <a:lnTo>
                  <a:pt x="346" y="794"/>
                </a:lnTo>
                <a:lnTo>
                  <a:pt x="341" y="794"/>
                </a:lnTo>
                <a:lnTo>
                  <a:pt x="335" y="794"/>
                </a:lnTo>
                <a:lnTo>
                  <a:pt x="335" y="788"/>
                </a:lnTo>
                <a:lnTo>
                  <a:pt x="335" y="782"/>
                </a:lnTo>
                <a:lnTo>
                  <a:pt x="329" y="782"/>
                </a:lnTo>
                <a:lnTo>
                  <a:pt x="329" y="777"/>
                </a:lnTo>
                <a:lnTo>
                  <a:pt x="324" y="777"/>
                </a:lnTo>
                <a:lnTo>
                  <a:pt x="307" y="777"/>
                </a:lnTo>
                <a:lnTo>
                  <a:pt x="307" y="782"/>
                </a:lnTo>
                <a:lnTo>
                  <a:pt x="301" y="782"/>
                </a:lnTo>
                <a:lnTo>
                  <a:pt x="295" y="782"/>
                </a:lnTo>
                <a:lnTo>
                  <a:pt x="290" y="782"/>
                </a:lnTo>
                <a:lnTo>
                  <a:pt x="284" y="782"/>
                </a:lnTo>
                <a:lnTo>
                  <a:pt x="284" y="777"/>
                </a:lnTo>
                <a:lnTo>
                  <a:pt x="284" y="771"/>
                </a:lnTo>
                <a:lnTo>
                  <a:pt x="278" y="771"/>
                </a:lnTo>
                <a:lnTo>
                  <a:pt x="278" y="777"/>
                </a:lnTo>
                <a:lnTo>
                  <a:pt x="267" y="777"/>
                </a:lnTo>
                <a:lnTo>
                  <a:pt x="261" y="771"/>
                </a:lnTo>
                <a:lnTo>
                  <a:pt x="255" y="771"/>
                </a:lnTo>
                <a:lnTo>
                  <a:pt x="250" y="771"/>
                </a:lnTo>
                <a:lnTo>
                  <a:pt x="244" y="777"/>
                </a:lnTo>
                <a:lnTo>
                  <a:pt x="238" y="777"/>
                </a:lnTo>
                <a:lnTo>
                  <a:pt x="238" y="782"/>
                </a:lnTo>
                <a:lnTo>
                  <a:pt x="233" y="782"/>
                </a:lnTo>
                <a:lnTo>
                  <a:pt x="227" y="782"/>
                </a:lnTo>
                <a:lnTo>
                  <a:pt x="227" y="788"/>
                </a:lnTo>
                <a:lnTo>
                  <a:pt x="221" y="788"/>
                </a:lnTo>
                <a:lnTo>
                  <a:pt x="221" y="794"/>
                </a:lnTo>
                <a:lnTo>
                  <a:pt x="210" y="794"/>
                </a:lnTo>
                <a:lnTo>
                  <a:pt x="204" y="794"/>
                </a:lnTo>
                <a:lnTo>
                  <a:pt x="199" y="794"/>
                </a:lnTo>
                <a:lnTo>
                  <a:pt x="193" y="799"/>
                </a:lnTo>
                <a:lnTo>
                  <a:pt x="182" y="799"/>
                </a:lnTo>
                <a:lnTo>
                  <a:pt x="176" y="805"/>
                </a:lnTo>
                <a:lnTo>
                  <a:pt x="170" y="811"/>
                </a:lnTo>
                <a:lnTo>
                  <a:pt x="165" y="816"/>
                </a:lnTo>
                <a:lnTo>
                  <a:pt x="165" y="822"/>
                </a:lnTo>
                <a:lnTo>
                  <a:pt x="165" y="828"/>
                </a:lnTo>
                <a:lnTo>
                  <a:pt x="159" y="828"/>
                </a:lnTo>
                <a:lnTo>
                  <a:pt x="159" y="833"/>
                </a:lnTo>
                <a:lnTo>
                  <a:pt x="153" y="833"/>
                </a:lnTo>
                <a:lnTo>
                  <a:pt x="148" y="833"/>
                </a:lnTo>
                <a:lnTo>
                  <a:pt x="142" y="833"/>
                </a:lnTo>
                <a:lnTo>
                  <a:pt x="136" y="828"/>
                </a:lnTo>
                <a:lnTo>
                  <a:pt x="125" y="822"/>
                </a:lnTo>
                <a:lnTo>
                  <a:pt x="125" y="816"/>
                </a:lnTo>
                <a:lnTo>
                  <a:pt x="119" y="799"/>
                </a:lnTo>
                <a:lnTo>
                  <a:pt x="125" y="794"/>
                </a:lnTo>
                <a:lnTo>
                  <a:pt x="125" y="788"/>
                </a:lnTo>
                <a:lnTo>
                  <a:pt x="131" y="777"/>
                </a:lnTo>
                <a:lnTo>
                  <a:pt x="136" y="765"/>
                </a:lnTo>
                <a:lnTo>
                  <a:pt x="136" y="743"/>
                </a:lnTo>
                <a:lnTo>
                  <a:pt x="142" y="720"/>
                </a:lnTo>
                <a:lnTo>
                  <a:pt x="148" y="709"/>
                </a:lnTo>
                <a:lnTo>
                  <a:pt x="153" y="686"/>
                </a:lnTo>
                <a:lnTo>
                  <a:pt x="153" y="669"/>
                </a:lnTo>
                <a:lnTo>
                  <a:pt x="153" y="646"/>
                </a:lnTo>
                <a:lnTo>
                  <a:pt x="153" y="635"/>
                </a:lnTo>
                <a:lnTo>
                  <a:pt x="153" y="618"/>
                </a:lnTo>
                <a:lnTo>
                  <a:pt x="153" y="601"/>
                </a:lnTo>
                <a:lnTo>
                  <a:pt x="153" y="584"/>
                </a:lnTo>
                <a:lnTo>
                  <a:pt x="153" y="573"/>
                </a:lnTo>
                <a:lnTo>
                  <a:pt x="153" y="556"/>
                </a:lnTo>
                <a:lnTo>
                  <a:pt x="153" y="544"/>
                </a:lnTo>
                <a:lnTo>
                  <a:pt x="159" y="544"/>
                </a:lnTo>
                <a:lnTo>
                  <a:pt x="165" y="533"/>
                </a:lnTo>
                <a:lnTo>
                  <a:pt x="176" y="527"/>
                </a:lnTo>
                <a:lnTo>
                  <a:pt x="182" y="527"/>
                </a:lnTo>
                <a:lnTo>
                  <a:pt x="193" y="522"/>
                </a:lnTo>
                <a:lnTo>
                  <a:pt x="204" y="516"/>
                </a:lnTo>
                <a:lnTo>
                  <a:pt x="210" y="522"/>
                </a:lnTo>
                <a:lnTo>
                  <a:pt x="221" y="527"/>
                </a:lnTo>
                <a:lnTo>
                  <a:pt x="221" y="533"/>
                </a:lnTo>
                <a:lnTo>
                  <a:pt x="227" y="533"/>
                </a:lnTo>
                <a:lnTo>
                  <a:pt x="233" y="527"/>
                </a:lnTo>
                <a:lnTo>
                  <a:pt x="233" y="516"/>
                </a:lnTo>
                <a:lnTo>
                  <a:pt x="233" y="505"/>
                </a:lnTo>
                <a:lnTo>
                  <a:pt x="233" y="488"/>
                </a:lnTo>
                <a:lnTo>
                  <a:pt x="233" y="476"/>
                </a:lnTo>
                <a:lnTo>
                  <a:pt x="233" y="459"/>
                </a:lnTo>
                <a:lnTo>
                  <a:pt x="221" y="448"/>
                </a:lnTo>
                <a:lnTo>
                  <a:pt x="221" y="437"/>
                </a:lnTo>
                <a:lnTo>
                  <a:pt x="221" y="431"/>
                </a:lnTo>
                <a:lnTo>
                  <a:pt x="227" y="425"/>
                </a:lnTo>
                <a:lnTo>
                  <a:pt x="233" y="420"/>
                </a:lnTo>
                <a:lnTo>
                  <a:pt x="233" y="408"/>
                </a:lnTo>
                <a:lnTo>
                  <a:pt x="233" y="397"/>
                </a:lnTo>
                <a:lnTo>
                  <a:pt x="233" y="386"/>
                </a:lnTo>
                <a:lnTo>
                  <a:pt x="233" y="374"/>
                </a:lnTo>
                <a:lnTo>
                  <a:pt x="221" y="363"/>
                </a:lnTo>
                <a:lnTo>
                  <a:pt x="221" y="357"/>
                </a:lnTo>
                <a:lnTo>
                  <a:pt x="216" y="352"/>
                </a:lnTo>
                <a:lnTo>
                  <a:pt x="210" y="352"/>
                </a:lnTo>
                <a:lnTo>
                  <a:pt x="210" y="346"/>
                </a:lnTo>
                <a:lnTo>
                  <a:pt x="210" y="340"/>
                </a:lnTo>
                <a:lnTo>
                  <a:pt x="210" y="335"/>
                </a:lnTo>
                <a:lnTo>
                  <a:pt x="216" y="335"/>
                </a:lnTo>
                <a:lnTo>
                  <a:pt x="216" y="329"/>
                </a:lnTo>
                <a:lnTo>
                  <a:pt x="221" y="323"/>
                </a:lnTo>
                <a:lnTo>
                  <a:pt x="221" y="317"/>
                </a:lnTo>
                <a:lnTo>
                  <a:pt x="221" y="312"/>
                </a:lnTo>
                <a:lnTo>
                  <a:pt x="221" y="306"/>
                </a:lnTo>
                <a:lnTo>
                  <a:pt x="221" y="300"/>
                </a:lnTo>
                <a:lnTo>
                  <a:pt x="221" y="295"/>
                </a:lnTo>
                <a:lnTo>
                  <a:pt x="233" y="289"/>
                </a:lnTo>
                <a:lnTo>
                  <a:pt x="233" y="283"/>
                </a:lnTo>
                <a:lnTo>
                  <a:pt x="233" y="278"/>
                </a:lnTo>
                <a:lnTo>
                  <a:pt x="233" y="272"/>
                </a:lnTo>
                <a:lnTo>
                  <a:pt x="233" y="266"/>
                </a:lnTo>
                <a:lnTo>
                  <a:pt x="227" y="266"/>
                </a:lnTo>
                <a:lnTo>
                  <a:pt x="221" y="266"/>
                </a:lnTo>
                <a:lnTo>
                  <a:pt x="216" y="272"/>
                </a:lnTo>
                <a:lnTo>
                  <a:pt x="210" y="278"/>
                </a:lnTo>
                <a:lnTo>
                  <a:pt x="204" y="278"/>
                </a:lnTo>
                <a:lnTo>
                  <a:pt x="204" y="283"/>
                </a:lnTo>
                <a:lnTo>
                  <a:pt x="204" y="289"/>
                </a:lnTo>
                <a:lnTo>
                  <a:pt x="199" y="289"/>
                </a:lnTo>
                <a:lnTo>
                  <a:pt x="193" y="295"/>
                </a:lnTo>
                <a:lnTo>
                  <a:pt x="187" y="295"/>
                </a:lnTo>
                <a:lnTo>
                  <a:pt x="182" y="295"/>
                </a:lnTo>
                <a:lnTo>
                  <a:pt x="176" y="295"/>
                </a:lnTo>
                <a:lnTo>
                  <a:pt x="176" y="289"/>
                </a:lnTo>
                <a:lnTo>
                  <a:pt x="170" y="283"/>
                </a:lnTo>
                <a:lnTo>
                  <a:pt x="165" y="283"/>
                </a:lnTo>
                <a:lnTo>
                  <a:pt x="159" y="278"/>
                </a:lnTo>
                <a:lnTo>
                  <a:pt x="153" y="278"/>
                </a:lnTo>
                <a:lnTo>
                  <a:pt x="148" y="278"/>
                </a:lnTo>
                <a:lnTo>
                  <a:pt x="142" y="278"/>
                </a:lnTo>
                <a:lnTo>
                  <a:pt x="136" y="272"/>
                </a:lnTo>
                <a:lnTo>
                  <a:pt x="125" y="272"/>
                </a:lnTo>
                <a:lnTo>
                  <a:pt x="119" y="266"/>
                </a:lnTo>
                <a:lnTo>
                  <a:pt x="114" y="266"/>
                </a:lnTo>
                <a:lnTo>
                  <a:pt x="108" y="266"/>
                </a:lnTo>
                <a:lnTo>
                  <a:pt x="108" y="261"/>
                </a:lnTo>
                <a:lnTo>
                  <a:pt x="108" y="255"/>
                </a:lnTo>
                <a:lnTo>
                  <a:pt x="102" y="255"/>
                </a:lnTo>
                <a:lnTo>
                  <a:pt x="102" y="249"/>
                </a:lnTo>
                <a:lnTo>
                  <a:pt x="97" y="249"/>
                </a:lnTo>
                <a:lnTo>
                  <a:pt x="91" y="249"/>
                </a:lnTo>
                <a:lnTo>
                  <a:pt x="91" y="244"/>
                </a:lnTo>
                <a:lnTo>
                  <a:pt x="85" y="244"/>
                </a:lnTo>
                <a:lnTo>
                  <a:pt x="80" y="244"/>
                </a:lnTo>
                <a:lnTo>
                  <a:pt x="80" y="238"/>
                </a:lnTo>
                <a:lnTo>
                  <a:pt x="74" y="238"/>
                </a:lnTo>
                <a:lnTo>
                  <a:pt x="74" y="232"/>
                </a:lnTo>
                <a:lnTo>
                  <a:pt x="74" y="227"/>
                </a:lnTo>
                <a:lnTo>
                  <a:pt x="68" y="227"/>
                </a:lnTo>
                <a:lnTo>
                  <a:pt x="63" y="227"/>
                </a:lnTo>
                <a:lnTo>
                  <a:pt x="57" y="227"/>
                </a:lnTo>
                <a:lnTo>
                  <a:pt x="57" y="232"/>
                </a:lnTo>
                <a:lnTo>
                  <a:pt x="51" y="232"/>
                </a:lnTo>
                <a:lnTo>
                  <a:pt x="46" y="232"/>
                </a:lnTo>
                <a:lnTo>
                  <a:pt x="34" y="232"/>
                </a:lnTo>
                <a:lnTo>
                  <a:pt x="29" y="232"/>
                </a:lnTo>
                <a:lnTo>
                  <a:pt x="23" y="232"/>
                </a:lnTo>
                <a:lnTo>
                  <a:pt x="0" y="23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1" name="Freeform 18"/>
          <p:cNvSpPr>
            <a:spLocks/>
          </p:cNvSpPr>
          <p:nvPr/>
        </p:nvSpPr>
        <p:spPr bwMode="gray">
          <a:xfrm>
            <a:off x="4981010" y="1030158"/>
            <a:ext cx="1720271" cy="1700732"/>
          </a:xfrm>
          <a:custGeom>
            <a:avLst/>
            <a:gdLst>
              <a:gd name="T0" fmla="*/ 2147483647 w 1015"/>
              <a:gd name="T1" fmla="*/ 2147483647 h 1004"/>
              <a:gd name="T2" fmla="*/ 2147483647 w 1015"/>
              <a:gd name="T3" fmla="*/ 2147483647 h 1004"/>
              <a:gd name="T4" fmla="*/ 2147483647 w 1015"/>
              <a:gd name="T5" fmla="*/ 2147483647 h 1004"/>
              <a:gd name="T6" fmla="*/ 2147483647 w 1015"/>
              <a:gd name="T7" fmla="*/ 2147483647 h 1004"/>
              <a:gd name="T8" fmla="*/ 2147483647 w 1015"/>
              <a:gd name="T9" fmla="*/ 2147483647 h 1004"/>
              <a:gd name="T10" fmla="*/ 2147483647 w 1015"/>
              <a:gd name="T11" fmla="*/ 2147483647 h 1004"/>
              <a:gd name="T12" fmla="*/ 2147483647 w 1015"/>
              <a:gd name="T13" fmla="*/ 2147483647 h 1004"/>
              <a:gd name="T14" fmla="*/ 2147483647 w 1015"/>
              <a:gd name="T15" fmla="*/ 2147483647 h 1004"/>
              <a:gd name="T16" fmla="*/ 2147483647 w 1015"/>
              <a:gd name="T17" fmla="*/ 2147483647 h 1004"/>
              <a:gd name="T18" fmla="*/ 2147483647 w 1015"/>
              <a:gd name="T19" fmla="*/ 2147483647 h 1004"/>
              <a:gd name="T20" fmla="*/ 2147483647 w 1015"/>
              <a:gd name="T21" fmla="*/ 2147483647 h 1004"/>
              <a:gd name="T22" fmla="*/ 2147483647 w 1015"/>
              <a:gd name="T23" fmla="*/ 2147483647 h 1004"/>
              <a:gd name="T24" fmla="*/ 2147483647 w 1015"/>
              <a:gd name="T25" fmla="*/ 2147483647 h 1004"/>
              <a:gd name="T26" fmla="*/ 2147483647 w 1015"/>
              <a:gd name="T27" fmla="*/ 2147483647 h 1004"/>
              <a:gd name="T28" fmla="*/ 2147483647 w 1015"/>
              <a:gd name="T29" fmla="*/ 2147483647 h 1004"/>
              <a:gd name="T30" fmla="*/ 2147483647 w 1015"/>
              <a:gd name="T31" fmla="*/ 2147483647 h 1004"/>
              <a:gd name="T32" fmla="*/ 2147483647 w 1015"/>
              <a:gd name="T33" fmla="*/ 2147483647 h 1004"/>
              <a:gd name="T34" fmla="*/ 2147483647 w 1015"/>
              <a:gd name="T35" fmla="*/ 2147483647 h 1004"/>
              <a:gd name="T36" fmla="*/ 2147483647 w 1015"/>
              <a:gd name="T37" fmla="*/ 2147483647 h 1004"/>
              <a:gd name="T38" fmla="*/ 2147483647 w 1015"/>
              <a:gd name="T39" fmla="*/ 2147483647 h 1004"/>
              <a:gd name="T40" fmla="*/ 2147483647 w 1015"/>
              <a:gd name="T41" fmla="*/ 2147483647 h 1004"/>
              <a:gd name="T42" fmla="*/ 2147483647 w 1015"/>
              <a:gd name="T43" fmla="*/ 2147483647 h 1004"/>
              <a:gd name="T44" fmla="*/ 2147483647 w 1015"/>
              <a:gd name="T45" fmla="*/ 2147483647 h 1004"/>
              <a:gd name="T46" fmla="*/ 2147483647 w 1015"/>
              <a:gd name="T47" fmla="*/ 2147483647 h 1004"/>
              <a:gd name="T48" fmla="*/ 2147483647 w 1015"/>
              <a:gd name="T49" fmla="*/ 2147483647 h 1004"/>
              <a:gd name="T50" fmla="*/ 2147483647 w 1015"/>
              <a:gd name="T51" fmla="*/ 2147483647 h 1004"/>
              <a:gd name="T52" fmla="*/ 2147483647 w 1015"/>
              <a:gd name="T53" fmla="*/ 2147483647 h 1004"/>
              <a:gd name="T54" fmla="*/ 2147483647 w 1015"/>
              <a:gd name="T55" fmla="*/ 2147483647 h 1004"/>
              <a:gd name="T56" fmla="*/ 2147483647 w 1015"/>
              <a:gd name="T57" fmla="*/ 2147483647 h 1004"/>
              <a:gd name="T58" fmla="*/ 2147483647 w 1015"/>
              <a:gd name="T59" fmla="*/ 2147483647 h 1004"/>
              <a:gd name="T60" fmla="*/ 2147483647 w 1015"/>
              <a:gd name="T61" fmla="*/ 2147483647 h 1004"/>
              <a:gd name="T62" fmla="*/ 2147483647 w 1015"/>
              <a:gd name="T63" fmla="*/ 2147483647 h 1004"/>
              <a:gd name="T64" fmla="*/ 2147483647 w 1015"/>
              <a:gd name="T65" fmla="*/ 2147483647 h 1004"/>
              <a:gd name="T66" fmla="*/ 2147483647 w 1015"/>
              <a:gd name="T67" fmla="*/ 2147483647 h 1004"/>
              <a:gd name="T68" fmla="*/ 2147483647 w 1015"/>
              <a:gd name="T69" fmla="*/ 2147483647 h 1004"/>
              <a:gd name="T70" fmla="*/ 2147483647 w 1015"/>
              <a:gd name="T71" fmla="*/ 2147483647 h 1004"/>
              <a:gd name="T72" fmla="*/ 2147483647 w 1015"/>
              <a:gd name="T73" fmla="*/ 2147483647 h 1004"/>
              <a:gd name="T74" fmla="*/ 2147483647 w 1015"/>
              <a:gd name="T75" fmla="*/ 2147483647 h 1004"/>
              <a:gd name="T76" fmla="*/ 2147483647 w 1015"/>
              <a:gd name="T77" fmla="*/ 2147483647 h 1004"/>
              <a:gd name="T78" fmla="*/ 2147483647 w 1015"/>
              <a:gd name="T79" fmla="*/ 2147483647 h 1004"/>
              <a:gd name="T80" fmla="*/ 2147483647 w 1015"/>
              <a:gd name="T81" fmla="*/ 2147483647 h 1004"/>
              <a:gd name="T82" fmla="*/ 2147483647 w 1015"/>
              <a:gd name="T83" fmla="*/ 2147483647 h 1004"/>
              <a:gd name="T84" fmla="*/ 2147483647 w 1015"/>
              <a:gd name="T85" fmla="*/ 2147483647 h 1004"/>
              <a:gd name="T86" fmla="*/ 2147483647 w 1015"/>
              <a:gd name="T87" fmla="*/ 2147483647 h 1004"/>
              <a:gd name="T88" fmla="*/ 2147483647 w 1015"/>
              <a:gd name="T89" fmla="*/ 2147483647 h 1004"/>
              <a:gd name="T90" fmla="*/ 2147483647 w 1015"/>
              <a:gd name="T91" fmla="*/ 2147483647 h 1004"/>
              <a:gd name="T92" fmla="*/ 2147483647 w 1015"/>
              <a:gd name="T93" fmla="*/ 2147483647 h 1004"/>
              <a:gd name="T94" fmla="*/ 2147483647 w 1015"/>
              <a:gd name="T95" fmla="*/ 2147483647 h 1004"/>
              <a:gd name="T96" fmla="*/ 2147483647 w 1015"/>
              <a:gd name="T97" fmla="*/ 2147483647 h 1004"/>
              <a:gd name="T98" fmla="*/ 2147483647 w 1015"/>
              <a:gd name="T99" fmla="*/ 2147483647 h 1004"/>
              <a:gd name="T100" fmla="*/ 2147483647 w 1015"/>
              <a:gd name="T101" fmla="*/ 2147483647 h 1004"/>
              <a:gd name="T102" fmla="*/ 2147483647 w 1015"/>
              <a:gd name="T103" fmla="*/ 2147483647 h 1004"/>
              <a:gd name="T104" fmla="*/ 2147483647 w 1015"/>
              <a:gd name="T105" fmla="*/ 2147483647 h 1004"/>
              <a:gd name="T106" fmla="*/ 2147483647 w 1015"/>
              <a:gd name="T107" fmla="*/ 2147483647 h 1004"/>
              <a:gd name="T108" fmla="*/ 2147483647 w 1015"/>
              <a:gd name="T109" fmla="*/ 2147483647 h 1004"/>
              <a:gd name="T110" fmla="*/ 2147483647 w 1015"/>
              <a:gd name="T111" fmla="*/ 2147483647 h 1004"/>
              <a:gd name="T112" fmla="*/ 2147483647 w 1015"/>
              <a:gd name="T113" fmla="*/ 2147483647 h 1004"/>
              <a:gd name="T114" fmla="*/ 2147483647 w 1015"/>
              <a:gd name="T115" fmla="*/ 2147483647 h 100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015"/>
              <a:gd name="T175" fmla="*/ 0 h 1004"/>
              <a:gd name="T176" fmla="*/ 1015 w 1015"/>
              <a:gd name="T177" fmla="*/ 1004 h 100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015" h="1004">
                <a:moveTo>
                  <a:pt x="0" y="205"/>
                </a:moveTo>
                <a:lnTo>
                  <a:pt x="12" y="205"/>
                </a:lnTo>
                <a:lnTo>
                  <a:pt x="23" y="205"/>
                </a:lnTo>
                <a:lnTo>
                  <a:pt x="29" y="205"/>
                </a:lnTo>
                <a:lnTo>
                  <a:pt x="34" y="193"/>
                </a:lnTo>
                <a:lnTo>
                  <a:pt x="40" y="193"/>
                </a:lnTo>
                <a:lnTo>
                  <a:pt x="46" y="188"/>
                </a:lnTo>
                <a:lnTo>
                  <a:pt x="63" y="171"/>
                </a:lnTo>
                <a:lnTo>
                  <a:pt x="63" y="165"/>
                </a:lnTo>
                <a:lnTo>
                  <a:pt x="68" y="165"/>
                </a:lnTo>
                <a:lnTo>
                  <a:pt x="74" y="159"/>
                </a:lnTo>
                <a:lnTo>
                  <a:pt x="74" y="154"/>
                </a:lnTo>
                <a:lnTo>
                  <a:pt x="80" y="148"/>
                </a:lnTo>
                <a:lnTo>
                  <a:pt x="85" y="136"/>
                </a:lnTo>
                <a:lnTo>
                  <a:pt x="91" y="131"/>
                </a:lnTo>
                <a:lnTo>
                  <a:pt x="97" y="125"/>
                </a:lnTo>
                <a:lnTo>
                  <a:pt x="102" y="125"/>
                </a:lnTo>
                <a:lnTo>
                  <a:pt x="108" y="119"/>
                </a:lnTo>
                <a:lnTo>
                  <a:pt x="108" y="114"/>
                </a:lnTo>
                <a:lnTo>
                  <a:pt x="114" y="114"/>
                </a:lnTo>
                <a:lnTo>
                  <a:pt x="125" y="102"/>
                </a:lnTo>
                <a:lnTo>
                  <a:pt x="137" y="85"/>
                </a:lnTo>
                <a:lnTo>
                  <a:pt x="142" y="85"/>
                </a:lnTo>
                <a:lnTo>
                  <a:pt x="142" y="80"/>
                </a:lnTo>
                <a:lnTo>
                  <a:pt x="148" y="80"/>
                </a:lnTo>
                <a:lnTo>
                  <a:pt x="154" y="74"/>
                </a:lnTo>
                <a:lnTo>
                  <a:pt x="159" y="74"/>
                </a:lnTo>
                <a:lnTo>
                  <a:pt x="159" y="68"/>
                </a:lnTo>
                <a:lnTo>
                  <a:pt x="165" y="68"/>
                </a:lnTo>
                <a:lnTo>
                  <a:pt x="165" y="63"/>
                </a:lnTo>
                <a:lnTo>
                  <a:pt x="182" y="57"/>
                </a:lnTo>
                <a:lnTo>
                  <a:pt x="188" y="57"/>
                </a:lnTo>
                <a:lnTo>
                  <a:pt x="188" y="51"/>
                </a:lnTo>
                <a:lnTo>
                  <a:pt x="199" y="51"/>
                </a:lnTo>
                <a:lnTo>
                  <a:pt x="205" y="46"/>
                </a:lnTo>
                <a:lnTo>
                  <a:pt x="210" y="46"/>
                </a:lnTo>
                <a:lnTo>
                  <a:pt x="216" y="46"/>
                </a:lnTo>
                <a:lnTo>
                  <a:pt x="222" y="40"/>
                </a:lnTo>
                <a:lnTo>
                  <a:pt x="233" y="40"/>
                </a:lnTo>
                <a:lnTo>
                  <a:pt x="239" y="40"/>
                </a:lnTo>
                <a:lnTo>
                  <a:pt x="250" y="40"/>
                </a:lnTo>
                <a:lnTo>
                  <a:pt x="261" y="40"/>
                </a:lnTo>
                <a:lnTo>
                  <a:pt x="267" y="40"/>
                </a:lnTo>
                <a:lnTo>
                  <a:pt x="284" y="40"/>
                </a:lnTo>
                <a:lnTo>
                  <a:pt x="290" y="40"/>
                </a:lnTo>
                <a:lnTo>
                  <a:pt x="301" y="34"/>
                </a:lnTo>
                <a:lnTo>
                  <a:pt x="301" y="40"/>
                </a:lnTo>
                <a:lnTo>
                  <a:pt x="307" y="34"/>
                </a:lnTo>
                <a:lnTo>
                  <a:pt x="312" y="34"/>
                </a:lnTo>
                <a:lnTo>
                  <a:pt x="318" y="34"/>
                </a:lnTo>
                <a:lnTo>
                  <a:pt x="335" y="29"/>
                </a:lnTo>
                <a:lnTo>
                  <a:pt x="341" y="23"/>
                </a:lnTo>
                <a:lnTo>
                  <a:pt x="346" y="23"/>
                </a:lnTo>
                <a:lnTo>
                  <a:pt x="352" y="17"/>
                </a:lnTo>
                <a:lnTo>
                  <a:pt x="358" y="17"/>
                </a:lnTo>
                <a:lnTo>
                  <a:pt x="363" y="17"/>
                </a:lnTo>
                <a:lnTo>
                  <a:pt x="375" y="12"/>
                </a:lnTo>
                <a:lnTo>
                  <a:pt x="380" y="12"/>
                </a:lnTo>
                <a:lnTo>
                  <a:pt x="392" y="12"/>
                </a:lnTo>
                <a:lnTo>
                  <a:pt x="397" y="12"/>
                </a:lnTo>
                <a:lnTo>
                  <a:pt x="409" y="12"/>
                </a:lnTo>
                <a:lnTo>
                  <a:pt x="414" y="6"/>
                </a:lnTo>
                <a:lnTo>
                  <a:pt x="426" y="6"/>
                </a:lnTo>
                <a:lnTo>
                  <a:pt x="437" y="6"/>
                </a:lnTo>
                <a:lnTo>
                  <a:pt x="448" y="6"/>
                </a:lnTo>
                <a:lnTo>
                  <a:pt x="460" y="6"/>
                </a:lnTo>
                <a:lnTo>
                  <a:pt x="465" y="6"/>
                </a:lnTo>
                <a:lnTo>
                  <a:pt x="471" y="6"/>
                </a:lnTo>
                <a:lnTo>
                  <a:pt x="494" y="6"/>
                </a:lnTo>
                <a:lnTo>
                  <a:pt x="511" y="6"/>
                </a:lnTo>
                <a:lnTo>
                  <a:pt x="522" y="6"/>
                </a:lnTo>
                <a:lnTo>
                  <a:pt x="528" y="6"/>
                </a:lnTo>
                <a:lnTo>
                  <a:pt x="545" y="6"/>
                </a:lnTo>
                <a:lnTo>
                  <a:pt x="550" y="0"/>
                </a:lnTo>
                <a:lnTo>
                  <a:pt x="556" y="6"/>
                </a:lnTo>
                <a:lnTo>
                  <a:pt x="562" y="0"/>
                </a:lnTo>
                <a:lnTo>
                  <a:pt x="562" y="6"/>
                </a:lnTo>
                <a:lnTo>
                  <a:pt x="573" y="6"/>
                </a:lnTo>
                <a:lnTo>
                  <a:pt x="590" y="6"/>
                </a:lnTo>
                <a:lnTo>
                  <a:pt x="601" y="6"/>
                </a:lnTo>
                <a:lnTo>
                  <a:pt x="607" y="6"/>
                </a:lnTo>
                <a:lnTo>
                  <a:pt x="613" y="6"/>
                </a:lnTo>
                <a:lnTo>
                  <a:pt x="630" y="6"/>
                </a:lnTo>
                <a:lnTo>
                  <a:pt x="641" y="6"/>
                </a:lnTo>
                <a:lnTo>
                  <a:pt x="652" y="6"/>
                </a:lnTo>
                <a:lnTo>
                  <a:pt x="658" y="6"/>
                </a:lnTo>
                <a:lnTo>
                  <a:pt x="664" y="12"/>
                </a:lnTo>
                <a:lnTo>
                  <a:pt x="669" y="12"/>
                </a:lnTo>
                <a:lnTo>
                  <a:pt x="681" y="12"/>
                </a:lnTo>
                <a:lnTo>
                  <a:pt x="686" y="12"/>
                </a:lnTo>
                <a:lnTo>
                  <a:pt x="692" y="12"/>
                </a:lnTo>
                <a:lnTo>
                  <a:pt x="709" y="23"/>
                </a:lnTo>
                <a:lnTo>
                  <a:pt x="715" y="23"/>
                </a:lnTo>
                <a:lnTo>
                  <a:pt x="720" y="29"/>
                </a:lnTo>
                <a:lnTo>
                  <a:pt x="726" y="29"/>
                </a:lnTo>
                <a:lnTo>
                  <a:pt x="732" y="29"/>
                </a:lnTo>
                <a:lnTo>
                  <a:pt x="737" y="34"/>
                </a:lnTo>
                <a:lnTo>
                  <a:pt x="743" y="34"/>
                </a:lnTo>
                <a:lnTo>
                  <a:pt x="760" y="40"/>
                </a:lnTo>
                <a:lnTo>
                  <a:pt x="766" y="40"/>
                </a:lnTo>
                <a:lnTo>
                  <a:pt x="771" y="40"/>
                </a:lnTo>
                <a:lnTo>
                  <a:pt x="777" y="40"/>
                </a:lnTo>
                <a:lnTo>
                  <a:pt x="788" y="46"/>
                </a:lnTo>
                <a:lnTo>
                  <a:pt x="811" y="46"/>
                </a:lnTo>
                <a:lnTo>
                  <a:pt x="811" y="51"/>
                </a:lnTo>
                <a:lnTo>
                  <a:pt x="822" y="57"/>
                </a:lnTo>
                <a:lnTo>
                  <a:pt x="828" y="57"/>
                </a:lnTo>
                <a:lnTo>
                  <a:pt x="851" y="74"/>
                </a:lnTo>
                <a:lnTo>
                  <a:pt x="856" y="80"/>
                </a:lnTo>
                <a:lnTo>
                  <a:pt x="856" y="85"/>
                </a:lnTo>
                <a:lnTo>
                  <a:pt x="862" y="85"/>
                </a:lnTo>
                <a:lnTo>
                  <a:pt x="868" y="91"/>
                </a:lnTo>
                <a:lnTo>
                  <a:pt x="873" y="91"/>
                </a:lnTo>
                <a:lnTo>
                  <a:pt x="879" y="97"/>
                </a:lnTo>
                <a:lnTo>
                  <a:pt x="890" y="102"/>
                </a:lnTo>
                <a:lnTo>
                  <a:pt x="896" y="102"/>
                </a:lnTo>
                <a:lnTo>
                  <a:pt x="902" y="102"/>
                </a:lnTo>
                <a:lnTo>
                  <a:pt x="907" y="102"/>
                </a:lnTo>
                <a:lnTo>
                  <a:pt x="907" y="97"/>
                </a:lnTo>
                <a:lnTo>
                  <a:pt x="913" y="102"/>
                </a:lnTo>
                <a:lnTo>
                  <a:pt x="919" y="102"/>
                </a:lnTo>
                <a:lnTo>
                  <a:pt x="919" y="97"/>
                </a:lnTo>
                <a:lnTo>
                  <a:pt x="919" y="91"/>
                </a:lnTo>
                <a:lnTo>
                  <a:pt x="919" y="97"/>
                </a:lnTo>
                <a:lnTo>
                  <a:pt x="924" y="91"/>
                </a:lnTo>
                <a:lnTo>
                  <a:pt x="924" y="97"/>
                </a:lnTo>
                <a:lnTo>
                  <a:pt x="930" y="97"/>
                </a:lnTo>
                <a:lnTo>
                  <a:pt x="936" y="97"/>
                </a:lnTo>
                <a:lnTo>
                  <a:pt x="941" y="97"/>
                </a:lnTo>
                <a:lnTo>
                  <a:pt x="947" y="97"/>
                </a:lnTo>
                <a:lnTo>
                  <a:pt x="947" y="102"/>
                </a:lnTo>
                <a:lnTo>
                  <a:pt x="953" y="102"/>
                </a:lnTo>
                <a:lnTo>
                  <a:pt x="953" y="108"/>
                </a:lnTo>
                <a:lnTo>
                  <a:pt x="958" y="108"/>
                </a:lnTo>
                <a:lnTo>
                  <a:pt x="953" y="108"/>
                </a:lnTo>
                <a:lnTo>
                  <a:pt x="953" y="102"/>
                </a:lnTo>
                <a:lnTo>
                  <a:pt x="958" y="102"/>
                </a:lnTo>
                <a:lnTo>
                  <a:pt x="964" y="102"/>
                </a:lnTo>
                <a:lnTo>
                  <a:pt x="964" y="108"/>
                </a:lnTo>
                <a:lnTo>
                  <a:pt x="970" y="108"/>
                </a:lnTo>
                <a:lnTo>
                  <a:pt x="975" y="114"/>
                </a:lnTo>
                <a:lnTo>
                  <a:pt x="975" y="108"/>
                </a:lnTo>
                <a:lnTo>
                  <a:pt x="981" y="108"/>
                </a:lnTo>
                <a:lnTo>
                  <a:pt x="981" y="102"/>
                </a:lnTo>
                <a:lnTo>
                  <a:pt x="987" y="108"/>
                </a:lnTo>
                <a:lnTo>
                  <a:pt x="987" y="114"/>
                </a:lnTo>
                <a:lnTo>
                  <a:pt x="987" y="131"/>
                </a:lnTo>
                <a:lnTo>
                  <a:pt x="987" y="136"/>
                </a:lnTo>
                <a:lnTo>
                  <a:pt x="987" y="148"/>
                </a:lnTo>
                <a:lnTo>
                  <a:pt x="981" y="154"/>
                </a:lnTo>
                <a:lnTo>
                  <a:pt x="975" y="165"/>
                </a:lnTo>
                <a:lnTo>
                  <a:pt x="975" y="171"/>
                </a:lnTo>
                <a:lnTo>
                  <a:pt x="970" y="171"/>
                </a:lnTo>
                <a:lnTo>
                  <a:pt x="970" y="176"/>
                </a:lnTo>
                <a:lnTo>
                  <a:pt x="970" y="182"/>
                </a:lnTo>
                <a:lnTo>
                  <a:pt x="970" y="188"/>
                </a:lnTo>
                <a:lnTo>
                  <a:pt x="975" y="193"/>
                </a:lnTo>
                <a:lnTo>
                  <a:pt x="975" y="199"/>
                </a:lnTo>
                <a:lnTo>
                  <a:pt x="981" y="205"/>
                </a:lnTo>
                <a:lnTo>
                  <a:pt x="987" y="205"/>
                </a:lnTo>
                <a:lnTo>
                  <a:pt x="987" y="210"/>
                </a:lnTo>
                <a:lnTo>
                  <a:pt x="987" y="216"/>
                </a:lnTo>
                <a:lnTo>
                  <a:pt x="992" y="216"/>
                </a:lnTo>
                <a:lnTo>
                  <a:pt x="992" y="222"/>
                </a:lnTo>
                <a:lnTo>
                  <a:pt x="998" y="222"/>
                </a:lnTo>
                <a:lnTo>
                  <a:pt x="998" y="227"/>
                </a:lnTo>
                <a:lnTo>
                  <a:pt x="1004" y="227"/>
                </a:lnTo>
                <a:lnTo>
                  <a:pt x="1004" y="233"/>
                </a:lnTo>
                <a:lnTo>
                  <a:pt x="1004" y="239"/>
                </a:lnTo>
                <a:lnTo>
                  <a:pt x="1009" y="239"/>
                </a:lnTo>
                <a:lnTo>
                  <a:pt x="1015" y="244"/>
                </a:lnTo>
                <a:lnTo>
                  <a:pt x="1015" y="250"/>
                </a:lnTo>
                <a:lnTo>
                  <a:pt x="1015" y="256"/>
                </a:lnTo>
                <a:lnTo>
                  <a:pt x="1015" y="261"/>
                </a:lnTo>
                <a:lnTo>
                  <a:pt x="1009" y="267"/>
                </a:lnTo>
                <a:lnTo>
                  <a:pt x="1004" y="273"/>
                </a:lnTo>
                <a:lnTo>
                  <a:pt x="998" y="278"/>
                </a:lnTo>
                <a:lnTo>
                  <a:pt x="998" y="284"/>
                </a:lnTo>
                <a:lnTo>
                  <a:pt x="992" y="284"/>
                </a:lnTo>
                <a:lnTo>
                  <a:pt x="992" y="295"/>
                </a:lnTo>
                <a:lnTo>
                  <a:pt x="987" y="295"/>
                </a:lnTo>
                <a:lnTo>
                  <a:pt x="987" y="301"/>
                </a:lnTo>
                <a:lnTo>
                  <a:pt x="987" y="307"/>
                </a:lnTo>
                <a:lnTo>
                  <a:pt x="981" y="307"/>
                </a:lnTo>
                <a:lnTo>
                  <a:pt x="981" y="312"/>
                </a:lnTo>
                <a:lnTo>
                  <a:pt x="975" y="318"/>
                </a:lnTo>
                <a:lnTo>
                  <a:pt x="970" y="318"/>
                </a:lnTo>
                <a:lnTo>
                  <a:pt x="970" y="324"/>
                </a:lnTo>
                <a:lnTo>
                  <a:pt x="964" y="324"/>
                </a:lnTo>
                <a:lnTo>
                  <a:pt x="958" y="324"/>
                </a:lnTo>
                <a:lnTo>
                  <a:pt x="953" y="329"/>
                </a:lnTo>
                <a:lnTo>
                  <a:pt x="947" y="335"/>
                </a:lnTo>
                <a:lnTo>
                  <a:pt x="941" y="335"/>
                </a:lnTo>
                <a:lnTo>
                  <a:pt x="941" y="341"/>
                </a:lnTo>
                <a:lnTo>
                  <a:pt x="936" y="341"/>
                </a:lnTo>
                <a:lnTo>
                  <a:pt x="936" y="346"/>
                </a:lnTo>
                <a:lnTo>
                  <a:pt x="936" y="352"/>
                </a:lnTo>
                <a:lnTo>
                  <a:pt x="941" y="352"/>
                </a:lnTo>
                <a:lnTo>
                  <a:pt x="941" y="358"/>
                </a:lnTo>
                <a:lnTo>
                  <a:pt x="941" y="363"/>
                </a:lnTo>
                <a:lnTo>
                  <a:pt x="941" y="369"/>
                </a:lnTo>
                <a:lnTo>
                  <a:pt x="947" y="375"/>
                </a:lnTo>
                <a:lnTo>
                  <a:pt x="953" y="386"/>
                </a:lnTo>
                <a:lnTo>
                  <a:pt x="953" y="392"/>
                </a:lnTo>
                <a:lnTo>
                  <a:pt x="953" y="403"/>
                </a:lnTo>
                <a:lnTo>
                  <a:pt x="953" y="414"/>
                </a:lnTo>
                <a:lnTo>
                  <a:pt x="947" y="437"/>
                </a:lnTo>
                <a:lnTo>
                  <a:pt x="947" y="448"/>
                </a:lnTo>
                <a:lnTo>
                  <a:pt x="941" y="454"/>
                </a:lnTo>
                <a:lnTo>
                  <a:pt x="941" y="460"/>
                </a:lnTo>
                <a:lnTo>
                  <a:pt x="936" y="471"/>
                </a:lnTo>
                <a:lnTo>
                  <a:pt x="936" y="488"/>
                </a:lnTo>
                <a:lnTo>
                  <a:pt x="936" y="499"/>
                </a:lnTo>
                <a:lnTo>
                  <a:pt x="936" y="511"/>
                </a:lnTo>
                <a:lnTo>
                  <a:pt x="936" y="522"/>
                </a:lnTo>
                <a:lnTo>
                  <a:pt x="936" y="533"/>
                </a:lnTo>
                <a:lnTo>
                  <a:pt x="936" y="545"/>
                </a:lnTo>
                <a:lnTo>
                  <a:pt x="936" y="556"/>
                </a:lnTo>
                <a:lnTo>
                  <a:pt x="936" y="562"/>
                </a:lnTo>
                <a:lnTo>
                  <a:pt x="930" y="567"/>
                </a:lnTo>
                <a:lnTo>
                  <a:pt x="930" y="573"/>
                </a:lnTo>
                <a:lnTo>
                  <a:pt x="924" y="573"/>
                </a:lnTo>
                <a:lnTo>
                  <a:pt x="924" y="579"/>
                </a:lnTo>
                <a:lnTo>
                  <a:pt x="919" y="584"/>
                </a:lnTo>
                <a:lnTo>
                  <a:pt x="913" y="584"/>
                </a:lnTo>
                <a:lnTo>
                  <a:pt x="913" y="590"/>
                </a:lnTo>
                <a:lnTo>
                  <a:pt x="913" y="601"/>
                </a:lnTo>
                <a:lnTo>
                  <a:pt x="913" y="607"/>
                </a:lnTo>
                <a:lnTo>
                  <a:pt x="913" y="613"/>
                </a:lnTo>
                <a:lnTo>
                  <a:pt x="919" y="613"/>
                </a:lnTo>
                <a:lnTo>
                  <a:pt x="919" y="618"/>
                </a:lnTo>
                <a:lnTo>
                  <a:pt x="924" y="618"/>
                </a:lnTo>
                <a:lnTo>
                  <a:pt x="930" y="618"/>
                </a:lnTo>
                <a:lnTo>
                  <a:pt x="936" y="618"/>
                </a:lnTo>
                <a:lnTo>
                  <a:pt x="936" y="624"/>
                </a:lnTo>
                <a:lnTo>
                  <a:pt x="941" y="630"/>
                </a:lnTo>
                <a:lnTo>
                  <a:pt x="953" y="641"/>
                </a:lnTo>
                <a:lnTo>
                  <a:pt x="953" y="647"/>
                </a:lnTo>
                <a:lnTo>
                  <a:pt x="953" y="652"/>
                </a:lnTo>
                <a:lnTo>
                  <a:pt x="958" y="658"/>
                </a:lnTo>
                <a:lnTo>
                  <a:pt x="964" y="664"/>
                </a:lnTo>
                <a:lnTo>
                  <a:pt x="964" y="669"/>
                </a:lnTo>
                <a:lnTo>
                  <a:pt x="958" y="675"/>
                </a:lnTo>
                <a:lnTo>
                  <a:pt x="953" y="681"/>
                </a:lnTo>
                <a:lnTo>
                  <a:pt x="947" y="686"/>
                </a:lnTo>
                <a:lnTo>
                  <a:pt x="941" y="686"/>
                </a:lnTo>
                <a:lnTo>
                  <a:pt x="936" y="686"/>
                </a:lnTo>
                <a:lnTo>
                  <a:pt x="936" y="692"/>
                </a:lnTo>
                <a:lnTo>
                  <a:pt x="930" y="698"/>
                </a:lnTo>
                <a:lnTo>
                  <a:pt x="924" y="703"/>
                </a:lnTo>
                <a:lnTo>
                  <a:pt x="924" y="709"/>
                </a:lnTo>
                <a:lnTo>
                  <a:pt x="924" y="715"/>
                </a:lnTo>
                <a:lnTo>
                  <a:pt x="919" y="720"/>
                </a:lnTo>
                <a:lnTo>
                  <a:pt x="919" y="726"/>
                </a:lnTo>
                <a:lnTo>
                  <a:pt x="919" y="732"/>
                </a:lnTo>
                <a:lnTo>
                  <a:pt x="919" y="737"/>
                </a:lnTo>
                <a:lnTo>
                  <a:pt x="913" y="737"/>
                </a:lnTo>
                <a:lnTo>
                  <a:pt x="913" y="743"/>
                </a:lnTo>
                <a:lnTo>
                  <a:pt x="907" y="743"/>
                </a:lnTo>
                <a:lnTo>
                  <a:pt x="896" y="749"/>
                </a:lnTo>
                <a:lnTo>
                  <a:pt x="896" y="754"/>
                </a:lnTo>
                <a:lnTo>
                  <a:pt x="890" y="754"/>
                </a:lnTo>
                <a:lnTo>
                  <a:pt x="890" y="766"/>
                </a:lnTo>
                <a:lnTo>
                  <a:pt x="885" y="766"/>
                </a:lnTo>
                <a:lnTo>
                  <a:pt x="885" y="777"/>
                </a:lnTo>
                <a:lnTo>
                  <a:pt x="885" y="783"/>
                </a:lnTo>
                <a:lnTo>
                  <a:pt x="890" y="794"/>
                </a:lnTo>
                <a:lnTo>
                  <a:pt x="890" y="805"/>
                </a:lnTo>
                <a:lnTo>
                  <a:pt x="896" y="805"/>
                </a:lnTo>
                <a:lnTo>
                  <a:pt x="896" y="811"/>
                </a:lnTo>
                <a:lnTo>
                  <a:pt x="896" y="822"/>
                </a:lnTo>
                <a:lnTo>
                  <a:pt x="890" y="822"/>
                </a:lnTo>
                <a:lnTo>
                  <a:pt x="890" y="828"/>
                </a:lnTo>
                <a:lnTo>
                  <a:pt x="890" y="834"/>
                </a:lnTo>
                <a:lnTo>
                  <a:pt x="885" y="834"/>
                </a:lnTo>
                <a:lnTo>
                  <a:pt x="879" y="839"/>
                </a:lnTo>
                <a:lnTo>
                  <a:pt x="873" y="839"/>
                </a:lnTo>
                <a:lnTo>
                  <a:pt x="868" y="839"/>
                </a:lnTo>
                <a:lnTo>
                  <a:pt x="868" y="845"/>
                </a:lnTo>
                <a:lnTo>
                  <a:pt x="868" y="851"/>
                </a:lnTo>
                <a:lnTo>
                  <a:pt x="862" y="851"/>
                </a:lnTo>
                <a:lnTo>
                  <a:pt x="856" y="856"/>
                </a:lnTo>
                <a:lnTo>
                  <a:pt x="851" y="856"/>
                </a:lnTo>
                <a:lnTo>
                  <a:pt x="851" y="862"/>
                </a:lnTo>
                <a:lnTo>
                  <a:pt x="845" y="862"/>
                </a:lnTo>
                <a:lnTo>
                  <a:pt x="839" y="862"/>
                </a:lnTo>
                <a:lnTo>
                  <a:pt x="845" y="862"/>
                </a:lnTo>
                <a:lnTo>
                  <a:pt x="839" y="862"/>
                </a:lnTo>
                <a:lnTo>
                  <a:pt x="834" y="862"/>
                </a:lnTo>
                <a:lnTo>
                  <a:pt x="834" y="868"/>
                </a:lnTo>
                <a:lnTo>
                  <a:pt x="828" y="868"/>
                </a:lnTo>
                <a:lnTo>
                  <a:pt x="822" y="868"/>
                </a:lnTo>
                <a:lnTo>
                  <a:pt x="817" y="873"/>
                </a:lnTo>
                <a:lnTo>
                  <a:pt x="811" y="873"/>
                </a:lnTo>
                <a:lnTo>
                  <a:pt x="805" y="873"/>
                </a:lnTo>
                <a:lnTo>
                  <a:pt x="805" y="879"/>
                </a:lnTo>
                <a:lnTo>
                  <a:pt x="794" y="879"/>
                </a:lnTo>
                <a:lnTo>
                  <a:pt x="788" y="879"/>
                </a:lnTo>
                <a:lnTo>
                  <a:pt x="788" y="885"/>
                </a:lnTo>
                <a:lnTo>
                  <a:pt x="777" y="885"/>
                </a:lnTo>
                <a:lnTo>
                  <a:pt x="771" y="890"/>
                </a:lnTo>
                <a:lnTo>
                  <a:pt x="766" y="890"/>
                </a:lnTo>
                <a:lnTo>
                  <a:pt x="760" y="896"/>
                </a:lnTo>
                <a:lnTo>
                  <a:pt x="754" y="902"/>
                </a:lnTo>
                <a:lnTo>
                  <a:pt x="754" y="907"/>
                </a:lnTo>
                <a:lnTo>
                  <a:pt x="749" y="907"/>
                </a:lnTo>
                <a:lnTo>
                  <a:pt x="749" y="913"/>
                </a:lnTo>
                <a:lnTo>
                  <a:pt x="749" y="919"/>
                </a:lnTo>
                <a:lnTo>
                  <a:pt x="743" y="930"/>
                </a:lnTo>
                <a:lnTo>
                  <a:pt x="743" y="936"/>
                </a:lnTo>
                <a:lnTo>
                  <a:pt x="743" y="941"/>
                </a:lnTo>
                <a:lnTo>
                  <a:pt x="743" y="947"/>
                </a:lnTo>
                <a:lnTo>
                  <a:pt x="749" y="958"/>
                </a:lnTo>
                <a:lnTo>
                  <a:pt x="749" y="964"/>
                </a:lnTo>
                <a:lnTo>
                  <a:pt x="749" y="970"/>
                </a:lnTo>
                <a:lnTo>
                  <a:pt x="749" y="975"/>
                </a:lnTo>
                <a:lnTo>
                  <a:pt x="743" y="975"/>
                </a:lnTo>
                <a:lnTo>
                  <a:pt x="743" y="981"/>
                </a:lnTo>
                <a:lnTo>
                  <a:pt x="737" y="987"/>
                </a:lnTo>
                <a:lnTo>
                  <a:pt x="732" y="992"/>
                </a:lnTo>
                <a:lnTo>
                  <a:pt x="726" y="992"/>
                </a:lnTo>
                <a:lnTo>
                  <a:pt x="720" y="992"/>
                </a:lnTo>
                <a:lnTo>
                  <a:pt x="720" y="998"/>
                </a:lnTo>
                <a:lnTo>
                  <a:pt x="709" y="998"/>
                </a:lnTo>
                <a:lnTo>
                  <a:pt x="709" y="1004"/>
                </a:lnTo>
                <a:lnTo>
                  <a:pt x="703" y="1004"/>
                </a:lnTo>
                <a:lnTo>
                  <a:pt x="698" y="1004"/>
                </a:lnTo>
                <a:lnTo>
                  <a:pt x="698" y="998"/>
                </a:lnTo>
                <a:lnTo>
                  <a:pt x="698" y="987"/>
                </a:lnTo>
                <a:lnTo>
                  <a:pt x="698" y="981"/>
                </a:lnTo>
                <a:lnTo>
                  <a:pt x="698" y="975"/>
                </a:lnTo>
                <a:lnTo>
                  <a:pt x="698" y="964"/>
                </a:lnTo>
                <a:lnTo>
                  <a:pt x="698" y="947"/>
                </a:lnTo>
                <a:lnTo>
                  <a:pt x="703" y="936"/>
                </a:lnTo>
                <a:lnTo>
                  <a:pt x="703" y="924"/>
                </a:lnTo>
                <a:lnTo>
                  <a:pt x="703" y="919"/>
                </a:lnTo>
                <a:lnTo>
                  <a:pt x="698" y="907"/>
                </a:lnTo>
                <a:lnTo>
                  <a:pt x="698" y="902"/>
                </a:lnTo>
                <a:lnTo>
                  <a:pt x="698" y="896"/>
                </a:lnTo>
                <a:lnTo>
                  <a:pt x="692" y="890"/>
                </a:lnTo>
                <a:lnTo>
                  <a:pt x="692" y="885"/>
                </a:lnTo>
                <a:lnTo>
                  <a:pt x="692" y="879"/>
                </a:lnTo>
                <a:lnTo>
                  <a:pt x="686" y="879"/>
                </a:lnTo>
                <a:lnTo>
                  <a:pt x="681" y="873"/>
                </a:lnTo>
                <a:lnTo>
                  <a:pt x="681" y="868"/>
                </a:lnTo>
                <a:lnTo>
                  <a:pt x="681" y="862"/>
                </a:lnTo>
                <a:lnTo>
                  <a:pt x="675" y="862"/>
                </a:lnTo>
                <a:lnTo>
                  <a:pt x="669" y="856"/>
                </a:lnTo>
                <a:lnTo>
                  <a:pt x="658" y="845"/>
                </a:lnTo>
                <a:lnTo>
                  <a:pt x="652" y="845"/>
                </a:lnTo>
                <a:lnTo>
                  <a:pt x="652" y="839"/>
                </a:lnTo>
                <a:lnTo>
                  <a:pt x="647" y="839"/>
                </a:lnTo>
                <a:lnTo>
                  <a:pt x="641" y="834"/>
                </a:lnTo>
                <a:lnTo>
                  <a:pt x="635" y="828"/>
                </a:lnTo>
                <a:lnTo>
                  <a:pt x="635" y="822"/>
                </a:lnTo>
                <a:lnTo>
                  <a:pt x="630" y="822"/>
                </a:lnTo>
                <a:lnTo>
                  <a:pt x="630" y="817"/>
                </a:lnTo>
                <a:lnTo>
                  <a:pt x="624" y="811"/>
                </a:lnTo>
                <a:lnTo>
                  <a:pt x="624" y="805"/>
                </a:lnTo>
                <a:lnTo>
                  <a:pt x="624" y="794"/>
                </a:lnTo>
                <a:lnTo>
                  <a:pt x="624" y="788"/>
                </a:lnTo>
                <a:lnTo>
                  <a:pt x="618" y="783"/>
                </a:lnTo>
                <a:lnTo>
                  <a:pt x="613" y="783"/>
                </a:lnTo>
                <a:lnTo>
                  <a:pt x="613" y="777"/>
                </a:lnTo>
                <a:lnTo>
                  <a:pt x="607" y="777"/>
                </a:lnTo>
                <a:lnTo>
                  <a:pt x="607" y="771"/>
                </a:lnTo>
                <a:lnTo>
                  <a:pt x="596" y="771"/>
                </a:lnTo>
                <a:lnTo>
                  <a:pt x="584" y="771"/>
                </a:lnTo>
                <a:lnTo>
                  <a:pt x="579" y="766"/>
                </a:lnTo>
                <a:lnTo>
                  <a:pt x="567" y="766"/>
                </a:lnTo>
                <a:lnTo>
                  <a:pt x="562" y="760"/>
                </a:lnTo>
                <a:lnTo>
                  <a:pt x="556" y="754"/>
                </a:lnTo>
                <a:lnTo>
                  <a:pt x="550" y="754"/>
                </a:lnTo>
                <a:lnTo>
                  <a:pt x="539" y="754"/>
                </a:lnTo>
                <a:lnTo>
                  <a:pt x="528" y="754"/>
                </a:lnTo>
                <a:lnTo>
                  <a:pt x="516" y="754"/>
                </a:lnTo>
                <a:lnTo>
                  <a:pt x="511" y="754"/>
                </a:lnTo>
                <a:lnTo>
                  <a:pt x="499" y="754"/>
                </a:lnTo>
                <a:lnTo>
                  <a:pt x="494" y="754"/>
                </a:lnTo>
                <a:lnTo>
                  <a:pt x="488" y="754"/>
                </a:lnTo>
                <a:lnTo>
                  <a:pt x="482" y="754"/>
                </a:lnTo>
                <a:lnTo>
                  <a:pt x="477" y="754"/>
                </a:lnTo>
                <a:lnTo>
                  <a:pt x="471" y="754"/>
                </a:lnTo>
                <a:lnTo>
                  <a:pt x="471" y="749"/>
                </a:lnTo>
                <a:lnTo>
                  <a:pt x="465" y="749"/>
                </a:lnTo>
                <a:lnTo>
                  <a:pt x="465" y="743"/>
                </a:lnTo>
                <a:lnTo>
                  <a:pt x="460" y="743"/>
                </a:lnTo>
                <a:lnTo>
                  <a:pt x="460" y="737"/>
                </a:lnTo>
                <a:lnTo>
                  <a:pt x="454" y="737"/>
                </a:lnTo>
                <a:lnTo>
                  <a:pt x="454" y="732"/>
                </a:lnTo>
                <a:lnTo>
                  <a:pt x="454" y="726"/>
                </a:lnTo>
                <a:lnTo>
                  <a:pt x="460" y="726"/>
                </a:lnTo>
                <a:lnTo>
                  <a:pt x="465" y="720"/>
                </a:lnTo>
                <a:lnTo>
                  <a:pt x="465" y="715"/>
                </a:lnTo>
                <a:lnTo>
                  <a:pt x="471" y="709"/>
                </a:lnTo>
                <a:lnTo>
                  <a:pt x="471" y="703"/>
                </a:lnTo>
                <a:lnTo>
                  <a:pt x="477" y="698"/>
                </a:lnTo>
                <a:lnTo>
                  <a:pt x="477" y="692"/>
                </a:lnTo>
                <a:lnTo>
                  <a:pt x="477" y="686"/>
                </a:lnTo>
                <a:lnTo>
                  <a:pt x="477" y="681"/>
                </a:lnTo>
                <a:lnTo>
                  <a:pt x="477" y="669"/>
                </a:lnTo>
                <a:lnTo>
                  <a:pt x="477" y="664"/>
                </a:lnTo>
                <a:lnTo>
                  <a:pt x="471" y="658"/>
                </a:lnTo>
                <a:lnTo>
                  <a:pt x="471" y="652"/>
                </a:lnTo>
                <a:lnTo>
                  <a:pt x="471" y="641"/>
                </a:lnTo>
                <a:lnTo>
                  <a:pt x="465" y="618"/>
                </a:lnTo>
                <a:lnTo>
                  <a:pt x="460" y="613"/>
                </a:lnTo>
                <a:lnTo>
                  <a:pt x="460" y="607"/>
                </a:lnTo>
                <a:lnTo>
                  <a:pt x="460" y="601"/>
                </a:lnTo>
                <a:lnTo>
                  <a:pt x="460" y="596"/>
                </a:lnTo>
                <a:lnTo>
                  <a:pt x="454" y="596"/>
                </a:lnTo>
                <a:lnTo>
                  <a:pt x="454" y="590"/>
                </a:lnTo>
                <a:lnTo>
                  <a:pt x="454" y="584"/>
                </a:lnTo>
                <a:lnTo>
                  <a:pt x="448" y="584"/>
                </a:lnTo>
                <a:lnTo>
                  <a:pt x="448" y="579"/>
                </a:lnTo>
                <a:lnTo>
                  <a:pt x="443" y="573"/>
                </a:lnTo>
                <a:lnTo>
                  <a:pt x="443" y="567"/>
                </a:lnTo>
                <a:lnTo>
                  <a:pt x="437" y="562"/>
                </a:lnTo>
                <a:lnTo>
                  <a:pt x="437" y="556"/>
                </a:lnTo>
                <a:lnTo>
                  <a:pt x="437" y="545"/>
                </a:lnTo>
                <a:lnTo>
                  <a:pt x="437" y="539"/>
                </a:lnTo>
                <a:lnTo>
                  <a:pt x="437" y="533"/>
                </a:lnTo>
                <a:lnTo>
                  <a:pt x="431" y="533"/>
                </a:lnTo>
                <a:lnTo>
                  <a:pt x="431" y="528"/>
                </a:lnTo>
                <a:lnTo>
                  <a:pt x="426" y="516"/>
                </a:lnTo>
                <a:lnTo>
                  <a:pt x="426" y="505"/>
                </a:lnTo>
                <a:lnTo>
                  <a:pt x="426" y="494"/>
                </a:lnTo>
                <a:lnTo>
                  <a:pt x="426" y="488"/>
                </a:lnTo>
                <a:lnTo>
                  <a:pt x="426" y="477"/>
                </a:lnTo>
                <a:lnTo>
                  <a:pt x="426" y="471"/>
                </a:lnTo>
                <a:lnTo>
                  <a:pt x="426" y="465"/>
                </a:lnTo>
                <a:lnTo>
                  <a:pt x="420" y="460"/>
                </a:lnTo>
                <a:lnTo>
                  <a:pt x="414" y="448"/>
                </a:lnTo>
                <a:lnTo>
                  <a:pt x="414" y="443"/>
                </a:lnTo>
                <a:lnTo>
                  <a:pt x="414" y="437"/>
                </a:lnTo>
                <a:lnTo>
                  <a:pt x="409" y="431"/>
                </a:lnTo>
                <a:lnTo>
                  <a:pt x="409" y="426"/>
                </a:lnTo>
                <a:lnTo>
                  <a:pt x="409" y="420"/>
                </a:lnTo>
                <a:lnTo>
                  <a:pt x="409" y="409"/>
                </a:lnTo>
                <a:lnTo>
                  <a:pt x="403" y="397"/>
                </a:lnTo>
                <a:lnTo>
                  <a:pt x="403" y="386"/>
                </a:lnTo>
                <a:lnTo>
                  <a:pt x="403" y="375"/>
                </a:lnTo>
                <a:lnTo>
                  <a:pt x="403" y="363"/>
                </a:lnTo>
                <a:lnTo>
                  <a:pt x="403" y="358"/>
                </a:lnTo>
                <a:lnTo>
                  <a:pt x="397" y="352"/>
                </a:lnTo>
                <a:lnTo>
                  <a:pt x="397" y="346"/>
                </a:lnTo>
                <a:lnTo>
                  <a:pt x="386" y="335"/>
                </a:lnTo>
                <a:lnTo>
                  <a:pt x="386" y="329"/>
                </a:lnTo>
                <a:lnTo>
                  <a:pt x="380" y="324"/>
                </a:lnTo>
                <a:lnTo>
                  <a:pt x="375" y="324"/>
                </a:lnTo>
                <a:lnTo>
                  <a:pt x="369" y="318"/>
                </a:lnTo>
                <a:lnTo>
                  <a:pt x="363" y="318"/>
                </a:lnTo>
                <a:lnTo>
                  <a:pt x="358" y="312"/>
                </a:lnTo>
                <a:lnTo>
                  <a:pt x="358" y="307"/>
                </a:lnTo>
                <a:lnTo>
                  <a:pt x="358" y="290"/>
                </a:lnTo>
                <a:lnTo>
                  <a:pt x="352" y="267"/>
                </a:lnTo>
                <a:lnTo>
                  <a:pt x="352" y="256"/>
                </a:lnTo>
                <a:lnTo>
                  <a:pt x="346" y="244"/>
                </a:lnTo>
                <a:lnTo>
                  <a:pt x="346" y="233"/>
                </a:lnTo>
                <a:lnTo>
                  <a:pt x="346" y="222"/>
                </a:lnTo>
                <a:lnTo>
                  <a:pt x="341" y="216"/>
                </a:lnTo>
                <a:lnTo>
                  <a:pt x="335" y="210"/>
                </a:lnTo>
                <a:lnTo>
                  <a:pt x="329" y="210"/>
                </a:lnTo>
                <a:lnTo>
                  <a:pt x="307" y="210"/>
                </a:lnTo>
                <a:lnTo>
                  <a:pt x="301" y="210"/>
                </a:lnTo>
                <a:lnTo>
                  <a:pt x="295" y="210"/>
                </a:lnTo>
                <a:lnTo>
                  <a:pt x="290" y="210"/>
                </a:lnTo>
                <a:lnTo>
                  <a:pt x="290" y="205"/>
                </a:lnTo>
                <a:lnTo>
                  <a:pt x="284" y="205"/>
                </a:lnTo>
                <a:lnTo>
                  <a:pt x="278" y="199"/>
                </a:lnTo>
                <a:lnTo>
                  <a:pt x="273" y="199"/>
                </a:lnTo>
                <a:lnTo>
                  <a:pt x="273" y="205"/>
                </a:lnTo>
                <a:lnTo>
                  <a:pt x="267" y="205"/>
                </a:lnTo>
                <a:lnTo>
                  <a:pt x="261" y="205"/>
                </a:lnTo>
                <a:lnTo>
                  <a:pt x="261" y="210"/>
                </a:lnTo>
                <a:lnTo>
                  <a:pt x="256" y="210"/>
                </a:lnTo>
                <a:lnTo>
                  <a:pt x="250" y="210"/>
                </a:lnTo>
                <a:lnTo>
                  <a:pt x="244" y="205"/>
                </a:lnTo>
                <a:lnTo>
                  <a:pt x="244" y="199"/>
                </a:lnTo>
                <a:lnTo>
                  <a:pt x="244" y="193"/>
                </a:lnTo>
                <a:lnTo>
                  <a:pt x="239" y="193"/>
                </a:lnTo>
                <a:lnTo>
                  <a:pt x="244" y="182"/>
                </a:lnTo>
                <a:lnTo>
                  <a:pt x="239" y="171"/>
                </a:lnTo>
                <a:lnTo>
                  <a:pt x="233" y="159"/>
                </a:lnTo>
                <a:lnTo>
                  <a:pt x="233" y="148"/>
                </a:lnTo>
                <a:lnTo>
                  <a:pt x="233" y="142"/>
                </a:lnTo>
                <a:lnTo>
                  <a:pt x="227" y="136"/>
                </a:lnTo>
                <a:lnTo>
                  <a:pt x="227" y="131"/>
                </a:lnTo>
                <a:lnTo>
                  <a:pt x="222" y="131"/>
                </a:lnTo>
                <a:lnTo>
                  <a:pt x="216" y="131"/>
                </a:lnTo>
                <a:lnTo>
                  <a:pt x="216" y="125"/>
                </a:lnTo>
                <a:lnTo>
                  <a:pt x="205" y="131"/>
                </a:lnTo>
                <a:lnTo>
                  <a:pt x="193" y="136"/>
                </a:lnTo>
                <a:lnTo>
                  <a:pt x="188" y="142"/>
                </a:lnTo>
                <a:lnTo>
                  <a:pt x="176" y="142"/>
                </a:lnTo>
                <a:lnTo>
                  <a:pt x="171" y="148"/>
                </a:lnTo>
                <a:lnTo>
                  <a:pt x="165" y="148"/>
                </a:lnTo>
                <a:lnTo>
                  <a:pt x="154" y="154"/>
                </a:lnTo>
                <a:lnTo>
                  <a:pt x="148" y="154"/>
                </a:lnTo>
                <a:lnTo>
                  <a:pt x="142" y="154"/>
                </a:lnTo>
                <a:lnTo>
                  <a:pt x="137" y="154"/>
                </a:lnTo>
                <a:lnTo>
                  <a:pt x="137" y="159"/>
                </a:lnTo>
                <a:lnTo>
                  <a:pt x="131" y="159"/>
                </a:lnTo>
                <a:lnTo>
                  <a:pt x="131" y="165"/>
                </a:lnTo>
                <a:lnTo>
                  <a:pt x="125" y="165"/>
                </a:lnTo>
                <a:lnTo>
                  <a:pt x="119" y="165"/>
                </a:lnTo>
                <a:lnTo>
                  <a:pt x="119" y="171"/>
                </a:lnTo>
                <a:lnTo>
                  <a:pt x="119" y="176"/>
                </a:lnTo>
                <a:lnTo>
                  <a:pt x="114" y="182"/>
                </a:lnTo>
                <a:lnTo>
                  <a:pt x="108" y="193"/>
                </a:lnTo>
                <a:lnTo>
                  <a:pt x="108" y="199"/>
                </a:lnTo>
                <a:lnTo>
                  <a:pt x="102" y="199"/>
                </a:lnTo>
                <a:lnTo>
                  <a:pt x="102" y="205"/>
                </a:lnTo>
                <a:lnTo>
                  <a:pt x="97" y="205"/>
                </a:lnTo>
                <a:lnTo>
                  <a:pt x="97" y="210"/>
                </a:lnTo>
                <a:lnTo>
                  <a:pt x="91" y="210"/>
                </a:lnTo>
                <a:lnTo>
                  <a:pt x="80" y="210"/>
                </a:lnTo>
                <a:lnTo>
                  <a:pt x="74" y="210"/>
                </a:lnTo>
                <a:lnTo>
                  <a:pt x="68" y="210"/>
                </a:lnTo>
                <a:lnTo>
                  <a:pt x="63" y="210"/>
                </a:lnTo>
                <a:lnTo>
                  <a:pt x="57" y="210"/>
                </a:lnTo>
                <a:lnTo>
                  <a:pt x="51" y="210"/>
                </a:lnTo>
                <a:lnTo>
                  <a:pt x="46" y="210"/>
                </a:lnTo>
                <a:lnTo>
                  <a:pt x="40" y="210"/>
                </a:lnTo>
                <a:lnTo>
                  <a:pt x="34" y="210"/>
                </a:lnTo>
                <a:lnTo>
                  <a:pt x="23" y="210"/>
                </a:lnTo>
                <a:lnTo>
                  <a:pt x="0" y="216"/>
                </a:lnTo>
                <a:lnTo>
                  <a:pt x="0" y="20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2" name="Freeform 19"/>
          <p:cNvSpPr>
            <a:spLocks/>
          </p:cNvSpPr>
          <p:nvPr/>
        </p:nvSpPr>
        <p:spPr bwMode="gray">
          <a:xfrm>
            <a:off x="3762890" y="4188661"/>
            <a:ext cx="1430319" cy="1026918"/>
          </a:xfrm>
          <a:custGeom>
            <a:avLst/>
            <a:gdLst>
              <a:gd name="T0" fmla="*/ 2147483647 w 844"/>
              <a:gd name="T1" fmla="*/ 2147483647 h 607"/>
              <a:gd name="T2" fmla="*/ 2147483647 w 844"/>
              <a:gd name="T3" fmla="*/ 2147483647 h 607"/>
              <a:gd name="T4" fmla="*/ 2147483647 w 844"/>
              <a:gd name="T5" fmla="*/ 2147483647 h 607"/>
              <a:gd name="T6" fmla="*/ 2147483647 w 844"/>
              <a:gd name="T7" fmla="*/ 2147483647 h 607"/>
              <a:gd name="T8" fmla="*/ 2147483647 w 844"/>
              <a:gd name="T9" fmla="*/ 2147483647 h 607"/>
              <a:gd name="T10" fmla="*/ 2147483647 w 844"/>
              <a:gd name="T11" fmla="*/ 2147483647 h 607"/>
              <a:gd name="T12" fmla="*/ 2147483647 w 844"/>
              <a:gd name="T13" fmla="*/ 2147483647 h 607"/>
              <a:gd name="T14" fmla="*/ 2147483647 w 844"/>
              <a:gd name="T15" fmla="*/ 2147483647 h 607"/>
              <a:gd name="T16" fmla="*/ 2147483647 w 844"/>
              <a:gd name="T17" fmla="*/ 2147483647 h 607"/>
              <a:gd name="T18" fmla="*/ 2147483647 w 844"/>
              <a:gd name="T19" fmla="*/ 2147483647 h 607"/>
              <a:gd name="T20" fmla="*/ 2147483647 w 844"/>
              <a:gd name="T21" fmla="*/ 2147483647 h 607"/>
              <a:gd name="T22" fmla="*/ 2147483647 w 844"/>
              <a:gd name="T23" fmla="*/ 2147483647 h 607"/>
              <a:gd name="T24" fmla="*/ 2147483647 w 844"/>
              <a:gd name="T25" fmla="*/ 2147483647 h 607"/>
              <a:gd name="T26" fmla="*/ 2147483647 w 844"/>
              <a:gd name="T27" fmla="*/ 2147483647 h 607"/>
              <a:gd name="T28" fmla="*/ 2147483647 w 844"/>
              <a:gd name="T29" fmla="*/ 2147483647 h 607"/>
              <a:gd name="T30" fmla="*/ 2147483647 w 844"/>
              <a:gd name="T31" fmla="*/ 2147483647 h 607"/>
              <a:gd name="T32" fmla="*/ 2147483647 w 844"/>
              <a:gd name="T33" fmla="*/ 2147483647 h 607"/>
              <a:gd name="T34" fmla="*/ 2147483647 w 844"/>
              <a:gd name="T35" fmla="*/ 2147483647 h 607"/>
              <a:gd name="T36" fmla="*/ 2147483647 w 844"/>
              <a:gd name="T37" fmla="*/ 2147483647 h 607"/>
              <a:gd name="T38" fmla="*/ 2147483647 w 844"/>
              <a:gd name="T39" fmla="*/ 2147483647 h 607"/>
              <a:gd name="T40" fmla="*/ 2147483647 w 844"/>
              <a:gd name="T41" fmla="*/ 2147483647 h 607"/>
              <a:gd name="T42" fmla="*/ 2147483647 w 844"/>
              <a:gd name="T43" fmla="*/ 2147483647 h 607"/>
              <a:gd name="T44" fmla="*/ 2147483647 w 844"/>
              <a:gd name="T45" fmla="*/ 2147483647 h 607"/>
              <a:gd name="T46" fmla="*/ 2147483647 w 844"/>
              <a:gd name="T47" fmla="*/ 2147483647 h 607"/>
              <a:gd name="T48" fmla="*/ 2147483647 w 844"/>
              <a:gd name="T49" fmla="*/ 2147483647 h 607"/>
              <a:gd name="T50" fmla="*/ 2147483647 w 844"/>
              <a:gd name="T51" fmla="*/ 2147483647 h 607"/>
              <a:gd name="T52" fmla="*/ 2147483647 w 844"/>
              <a:gd name="T53" fmla="*/ 2147483647 h 607"/>
              <a:gd name="T54" fmla="*/ 2147483647 w 844"/>
              <a:gd name="T55" fmla="*/ 2147483647 h 607"/>
              <a:gd name="T56" fmla="*/ 2147483647 w 844"/>
              <a:gd name="T57" fmla="*/ 2147483647 h 607"/>
              <a:gd name="T58" fmla="*/ 2147483647 w 844"/>
              <a:gd name="T59" fmla="*/ 2147483647 h 607"/>
              <a:gd name="T60" fmla="*/ 2147483647 w 844"/>
              <a:gd name="T61" fmla="*/ 2147483647 h 607"/>
              <a:gd name="T62" fmla="*/ 2147483647 w 844"/>
              <a:gd name="T63" fmla="*/ 2147483647 h 607"/>
              <a:gd name="T64" fmla="*/ 2147483647 w 844"/>
              <a:gd name="T65" fmla="*/ 2147483647 h 607"/>
              <a:gd name="T66" fmla="*/ 2147483647 w 844"/>
              <a:gd name="T67" fmla="*/ 2147483647 h 607"/>
              <a:gd name="T68" fmla="*/ 2147483647 w 844"/>
              <a:gd name="T69" fmla="*/ 2147483647 h 607"/>
              <a:gd name="T70" fmla="*/ 2147483647 w 844"/>
              <a:gd name="T71" fmla="*/ 2147483647 h 607"/>
              <a:gd name="T72" fmla="*/ 2147483647 w 844"/>
              <a:gd name="T73" fmla="*/ 2147483647 h 607"/>
              <a:gd name="T74" fmla="*/ 2147483647 w 844"/>
              <a:gd name="T75" fmla="*/ 2147483647 h 607"/>
              <a:gd name="T76" fmla="*/ 2147483647 w 844"/>
              <a:gd name="T77" fmla="*/ 2147483647 h 607"/>
              <a:gd name="T78" fmla="*/ 2147483647 w 844"/>
              <a:gd name="T79" fmla="*/ 2147483647 h 607"/>
              <a:gd name="T80" fmla="*/ 2147483647 w 844"/>
              <a:gd name="T81" fmla="*/ 2147483647 h 607"/>
              <a:gd name="T82" fmla="*/ 2147483647 w 844"/>
              <a:gd name="T83" fmla="*/ 2147483647 h 607"/>
              <a:gd name="T84" fmla="*/ 2147483647 w 844"/>
              <a:gd name="T85" fmla="*/ 2147483647 h 607"/>
              <a:gd name="T86" fmla="*/ 2147483647 w 844"/>
              <a:gd name="T87" fmla="*/ 2147483647 h 607"/>
              <a:gd name="T88" fmla="*/ 2147483647 w 844"/>
              <a:gd name="T89" fmla="*/ 2147483647 h 607"/>
              <a:gd name="T90" fmla="*/ 2147483647 w 844"/>
              <a:gd name="T91" fmla="*/ 2147483647 h 607"/>
              <a:gd name="T92" fmla="*/ 2147483647 w 844"/>
              <a:gd name="T93" fmla="*/ 2147483647 h 607"/>
              <a:gd name="T94" fmla="*/ 2147483647 w 844"/>
              <a:gd name="T95" fmla="*/ 2147483647 h 607"/>
              <a:gd name="T96" fmla="*/ 2147483647 w 844"/>
              <a:gd name="T97" fmla="*/ 2147483647 h 607"/>
              <a:gd name="T98" fmla="*/ 2147483647 w 844"/>
              <a:gd name="T99" fmla="*/ 2147483647 h 607"/>
              <a:gd name="T100" fmla="*/ 2147483647 w 844"/>
              <a:gd name="T101" fmla="*/ 2147483647 h 607"/>
              <a:gd name="T102" fmla="*/ 2147483647 w 844"/>
              <a:gd name="T103" fmla="*/ 2147483647 h 607"/>
              <a:gd name="T104" fmla="*/ 2147483647 w 844"/>
              <a:gd name="T105" fmla="*/ 2147483647 h 607"/>
              <a:gd name="T106" fmla="*/ 2147483647 w 844"/>
              <a:gd name="T107" fmla="*/ 2147483647 h 607"/>
              <a:gd name="T108" fmla="*/ 2147483647 w 844"/>
              <a:gd name="T109" fmla="*/ 2147483647 h 607"/>
              <a:gd name="T110" fmla="*/ 2147483647 w 844"/>
              <a:gd name="T111" fmla="*/ 2147483647 h 607"/>
              <a:gd name="T112" fmla="*/ 2147483647 w 844"/>
              <a:gd name="T113" fmla="*/ 2147483647 h 607"/>
              <a:gd name="T114" fmla="*/ 2147483647 w 844"/>
              <a:gd name="T115" fmla="*/ 2147483647 h 607"/>
              <a:gd name="T116" fmla="*/ 2147483647 w 844"/>
              <a:gd name="T117" fmla="*/ 2147483647 h 607"/>
              <a:gd name="T118" fmla="*/ 2147483647 w 844"/>
              <a:gd name="T119" fmla="*/ 2147483647 h 607"/>
              <a:gd name="T120" fmla="*/ 0 w 844"/>
              <a:gd name="T121" fmla="*/ 2147483647 h 60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44"/>
              <a:gd name="T184" fmla="*/ 0 h 607"/>
              <a:gd name="T185" fmla="*/ 844 w 844"/>
              <a:gd name="T186" fmla="*/ 607 h 60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44" h="607">
                <a:moveTo>
                  <a:pt x="0" y="403"/>
                </a:moveTo>
                <a:lnTo>
                  <a:pt x="11" y="409"/>
                </a:lnTo>
                <a:lnTo>
                  <a:pt x="11" y="403"/>
                </a:lnTo>
                <a:lnTo>
                  <a:pt x="11" y="397"/>
                </a:lnTo>
                <a:lnTo>
                  <a:pt x="11" y="392"/>
                </a:lnTo>
                <a:lnTo>
                  <a:pt x="11" y="386"/>
                </a:lnTo>
                <a:lnTo>
                  <a:pt x="11" y="380"/>
                </a:lnTo>
                <a:lnTo>
                  <a:pt x="17" y="380"/>
                </a:lnTo>
                <a:lnTo>
                  <a:pt x="17" y="375"/>
                </a:lnTo>
                <a:lnTo>
                  <a:pt x="22" y="369"/>
                </a:lnTo>
                <a:lnTo>
                  <a:pt x="28" y="363"/>
                </a:lnTo>
                <a:lnTo>
                  <a:pt x="34" y="358"/>
                </a:lnTo>
                <a:lnTo>
                  <a:pt x="39" y="358"/>
                </a:lnTo>
                <a:lnTo>
                  <a:pt x="45" y="352"/>
                </a:lnTo>
                <a:lnTo>
                  <a:pt x="51" y="352"/>
                </a:lnTo>
                <a:lnTo>
                  <a:pt x="56" y="352"/>
                </a:lnTo>
                <a:lnTo>
                  <a:pt x="62" y="352"/>
                </a:lnTo>
                <a:lnTo>
                  <a:pt x="68" y="346"/>
                </a:lnTo>
                <a:lnTo>
                  <a:pt x="73" y="346"/>
                </a:lnTo>
                <a:lnTo>
                  <a:pt x="79" y="341"/>
                </a:lnTo>
                <a:lnTo>
                  <a:pt x="79" y="335"/>
                </a:lnTo>
                <a:lnTo>
                  <a:pt x="85" y="335"/>
                </a:lnTo>
                <a:lnTo>
                  <a:pt x="85" y="329"/>
                </a:lnTo>
                <a:lnTo>
                  <a:pt x="85" y="324"/>
                </a:lnTo>
                <a:lnTo>
                  <a:pt x="85" y="318"/>
                </a:lnTo>
                <a:lnTo>
                  <a:pt x="90" y="318"/>
                </a:lnTo>
                <a:lnTo>
                  <a:pt x="90" y="312"/>
                </a:lnTo>
                <a:lnTo>
                  <a:pt x="90" y="307"/>
                </a:lnTo>
                <a:lnTo>
                  <a:pt x="96" y="307"/>
                </a:lnTo>
                <a:lnTo>
                  <a:pt x="96" y="295"/>
                </a:lnTo>
                <a:lnTo>
                  <a:pt x="96" y="290"/>
                </a:lnTo>
                <a:lnTo>
                  <a:pt x="102" y="290"/>
                </a:lnTo>
                <a:lnTo>
                  <a:pt x="102" y="284"/>
                </a:lnTo>
                <a:lnTo>
                  <a:pt x="102" y="278"/>
                </a:lnTo>
                <a:lnTo>
                  <a:pt x="102" y="273"/>
                </a:lnTo>
                <a:lnTo>
                  <a:pt x="96" y="273"/>
                </a:lnTo>
                <a:lnTo>
                  <a:pt x="96" y="267"/>
                </a:lnTo>
                <a:lnTo>
                  <a:pt x="90" y="267"/>
                </a:lnTo>
                <a:lnTo>
                  <a:pt x="85" y="267"/>
                </a:lnTo>
                <a:lnTo>
                  <a:pt x="79" y="256"/>
                </a:lnTo>
                <a:lnTo>
                  <a:pt x="73" y="256"/>
                </a:lnTo>
                <a:lnTo>
                  <a:pt x="73" y="250"/>
                </a:lnTo>
                <a:lnTo>
                  <a:pt x="73" y="239"/>
                </a:lnTo>
                <a:lnTo>
                  <a:pt x="68" y="239"/>
                </a:lnTo>
                <a:lnTo>
                  <a:pt x="68" y="222"/>
                </a:lnTo>
                <a:lnTo>
                  <a:pt x="68" y="210"/>
                </a:lnTo>
                <a:lnTo>
                  <a:pt x="68" y="193"/>
                </a:lnTo>
                <a:lnTo>
                  <a:pt x="68" y="182"/>
                </a:lnTo>
                <a:lnTo>
                  <a:pt x="68" y="165"/>
                </a:lnTo>
                <a:lnTo>
                  <a:pt x="68" y="154"/>
                </a:lnTo>
                <a:lnTo>
                  <a:pt x="68" y="148"/>
                </a:lnTo>
                <a:lnTo>
                  <a:pt x="62" y="142"/>
                </a:lnTo>
                <a:lnTo>
                  <a:pt x="62" y="137"/>
                </a:lnTo>
                <a:lnTo>
                  <a:pt x="56" y="131"/>
                </a:lnTo>
                <a:lnTo>
                  <a:pt x="51" y="125"/>
                </a:lnTo>
                <a:lnTo>
                  <a:pt x="45" y="119"/>
                </a:lnTo>
                <a:lnTo>
                  <a:pt x="45" y="114"/>
                </a:lnTo>
                <a:lnTo>
                  <a:pt x="45" y="108"/>
                </a:lnTo>
                <a:lnTo>
                  <a:pt x="39" y="102"/>
                </a:lnTo>
                <a:lnTo>
                  <a:pt x="39" y="97"/>
                </a:lnTo>
                <a:lnTo>
                  <a:pt x="34" y="97"/>
                </a:lnTo>
                <a:lnTo>
                  <a:pt x="34" y="91"/>
                </a:lnTo>
                <a:lnTo>
                  <a:pt x="34" y="85"/>
                </a:lnTo>
                <a:lnTo>
                  <a:pt x="28" y="74"/>
                </a:lnTo>
                <a:lnTo>
                  <a:pt x="28" y="68"/>
                </a:lnTo>
                <a:lnTo>
                  <a:pt x="28" y="63"/>
                </a:lnTo>
                <a:lnTo>
                  <a:pt x="28" y="51"/>
                </a:lnTo>
                <a:lnTo>
                  <a:pt x="28" y="40"/>
                </a:lnTo>
                <a:lnTo>
                  <a:pt x="34" y="40"/>
                </a:lnTo>
                <a:lnTo>
                  <a:pt x="39" y="46"/>
                </a:lnTo>
                <a:lnTo>
                  <a:pt x="45" y="46"/>
                </a:lnTo>
                <a:lnTo>
                  <a:pt x="51" y="46"/>
                </a:lnTo>
                <a:lnTo>
                  <a:pt x="56" y="46"/>
                </a:lnTo>
                <a:lnTo>
                  <a:pt x="68" y="51"/>
                </a:lnTo>
                <a:lnTo>
                  <a:pt x="79" y="57"/>
                </a:lnTo>
                <a:lnTo>
                  <a:pt x="85" y="57"/>
                </a:lnTo>
                <a:lnTo>
                  <a:pt x="96" y="57"/>
                </a:lnTo>
                <a:lnTo>
                  <a:pt x="96" y="63"/>
                </a:lnTo>
                <a:lnTo>
                  <a:pt x="107" y="63"/>
                </a:lnTo>
                <a:lnTo>
                  <a:pt x="124" y="68"/>
                </a:lnTo>
                <a:lnTo>
                  <a:pt x="136" y="68"/>
                </a:lnTo>
                <a:lnTo>
                  <a:pt x="141" y="68"/>
                </a:lnTo>
                <a:lnTo>
                  <a:pt x="153" y="68"/>
                </a:lnTo>
                <a:lnTo>
                  <a:pt x="153" y="74"/>
                </a:lnTo>
                <a:lnTo>
                  <a:pt x="158" y="74"/>
                </a:lnTo>
                <a:lnTo>
                  <a:pt x="170" y="74"/>
                </a:lnTo>
                <a:lnTo>
                  <a:pt x="175" y="74"/>
                </a:lnTo>
                <a:lnTo>
                  <a:pt x="181" y="80"/>
                </a:lnTo>
                <a:lnTo>
                  <a:pt x="187" y="80"/>
                </a:lnTo>
                <a:lnTo>
                  <a:pt x="187" y="85"/>
                </a:lnTo>
                <a:lnTo>
                  <a:pt x="192" y="85"/>
                </a:lnTo>
                <a:lnTo>
                  <a:pt x="198" y="85"/>
                </a:lnTo>
                <a:lnTo>
                  <a:pt x="204" y="85"/>
                </a:lnTo>
                <a:lnTo>
                  <a:pt x="215" y="97"/>
                </a:lnTo>
                <a:lnTo>
                  <a:pt x="221" y="97"/>
                </a:lnTo>
                <a:lnTo>
                  <a:pt x="226" y="97"/>
                </a:lnTo>
                <a:lnTo>
                  <a:pt x="232" y="102"/>
                </a:lnTo>
                <a:lnTo>
                  <a:pt x="238" y="102"/>
                </a:lnTo>
                <a:lnTo>
                  <a:pt x="243" y="102"/>
                </a:lnTo>
                <a:lnTo>
                  <a:pt x="249" y="102"/>
                </a:lnTo>
                <a:lnTo>
                  <a:pt x="255" y="108"/>
                </a:lnTo>
                <a:lnTo>
                  <a:pt x="260" y="108"/>
                </a:lnTo>
                <a:lnTo>
                  <a:pt x="266" y="114"/>
                </a:lnTo>
                <a:lnTo>
                  <a:pt x="272" y="114"/>
                </a:lnTo>
                <a:lnTo>
                  <a:pt x="277" y="119"/>
                </a:lnTo>
                <a:lnTo>
                  <a:pt x="283" y="125"/>
                </a:lnTo>
                <a:lnTo>
                  <a:pt x="289" y="125"/>
                </a:lnTo>
                <a:lnTo>
                  <a:pt x="294" y="125"/>
                </a:lnTo>
                <a:lnTo>
                  <a:pt x="306" y="131"/>
                </a:lnTo>
                <a:lnTo>
                  <a:pt x="306" y="137"/>
                </a:lnTo>
                <a:lnTo>
                  <a:pt x="311" y="137"/>
                </a:lnTo>
                <a:lnTo>
                  <a:pt x="311" y="142"/>
                </a:lnTo>
                <a:lnTo>
                  <a:pt x="317" y="142"/>
                </a:lnTo>
                <a:lnTo>
                  <a:pt x="323" y="142"/>
                </a:lnTo>
                <a:lnTo>
                  <a:pt x="323" y="137"/>
                </a:lnTo>
                <a:lnTo>
                  <a:pt x="323" y="131"/>
                </a:lnTo>
                <a:lnTo>
                  <a:pt x="323" y="125"/>
                </a:lnTo>
                <a:lnTo>
                  <a:pt x="317" y="119"/>
                </a:lnTo>
                <a:lnTo>
                  <a:pt x="317" y="114"/>
                </a:lnTo>
                <a:lnTo>
                  <a:pt x="311" y="108"/>
                </a:lnTo>
                <a:lnTo>
                  <a:pt x="311" y="102"/>
                </a:lnTo>
                <a:lnTo>
                  <a:pt x="311" y="97"/>
                </a:lnTo>
                <a:lnTo>
                  <a:pt x="306" y="97"/>
                </a:lnTo>
                <a:lnTo>
                  <a:pt x="306" y="85"/>
                </a:lnTo>
                <a:lnTo>
                  <a:pt x="306" y="80"/>
                </a:lnTo>
                <a:lnTo>
                  <a:pt x="300" y="80"/>
                </a:lnTo>
                <a:lnTo>
                  <a:pt x="300" y="74"/>
                </a:lnTo>
                <a:lnTo>
                  <a:pt x="294" y="68"/>
                </a:lnTo>
                <a:lnTo>
                  <a:pt x="294" y="57"/>
                </a:lnTo>
                <a:lnTo>
                  <a:pt x="300" y="57"/>
                </a:lnTo>
                <a:lnTo>
                  <a:pt x="300" y="51"/>
                </a:lnTo>
                <a:lnTo>
                  <a:pt x="300" y="46"/>
                </a:lnTo>
                <a:lnTo>
                  <a:pt x="306" y="46"/>
                </a:lnTo>
                <a:lnTo>
                  <a:pt x="306" y="40"/>
                </a:lnTo>
                <a:lnTo>
                  <a:pt x="306" y="34"/>
                </a:lnTo>
                <a:lnTo>
                  <a:pt x="311" y="34"/>
                </a:lnTo>
                <a:lnTo>
                  <a:pt x="334" y="17"/>
                </a:lnTo>
                <a:lnTo>
                  <a:pt x="340" y="12"/>
                </a:lnTo>
                <a:lnTo>
                  <a:pt x="345" y="12"/>
                </a:lnTo>
                <a:lnTo>
                  <a:pt x="351" y="6"/>
                </a:lnTo>
                <a:lnTo>
                  <a:pt x="357" y="6"/>
                </a:lnTo>
                <a:lnTo>
                  <a:pt x="368" y="0"/>
                </a:lnTo>
                <a:lnTo>
                  <a:pt x="374" y="0"/>
                </a:lnTo>
                <a:lnTo>
                  <a:pt x="379" y="6"/>
                </a:lnTo>
                <a:lnTo>
                  <a:pt x="385" y="12"/>
                </a:lnTo>
                <a:lnTo>
                  <a:pt x="391" y="12"/>
                </a:lnTo>
                <a:lnTo>
                  <a:pt x="396" y="12"/>
                </a:lnTo>
                <a:lnTo>
                  <a:pt x="396" y="17"/>
                </a:lnTo>
                <a:lnTo>
                  <a:pt x="402" y="17"/>
                </a:lnTo>
                <a:lnTo>
                  <a:pt x="408" y="17"/>
                </a:lnTo>
                <a:lnTo>
                  <a:pt x="419" y="23"/>
                </a:lnTo>
                <a:lnTo>
                  <a:pt x="425" y="23"/>
                </a:lnTo>
                <a:lnTo>
                  <a:pt x="430" y="23"/>
                </a:lnTo>
                <a:lnTo>
                  <a:pt x="442" y="29"/>
                </a:lnTo>
                <a:lnTo>
                  <a:pt x="447" y="29"/>
                </a:lnTo>
                <a:lnTo>
                  <a:pt x="453" y="29"/>
                </a:lnTo>
                <a:lnTo>
                  <a:pt x="453" y="34"/>
                </a:lnTo>
                <a:lnTo>
                  <a:pt x="464" y="34"/>
                </a:lnTo>
                <a:lnTo>
                  <a:pt x="476" y="40"/>
                </a:lnTo>
                <a:lnTo>
                  <a:pt x="487" y="40"/>
                </a:lnTo>
                <a:lnTo>
                  <a:pt x="493" y="40"/>
                </a:lnTo>
                <a:lnTo>
                  <a:pt x="504" y="40"/>
                </a:lnTo>
                <a:lnTo>
                  <a:pt x="510" y="40"/>
                </a:lnTo>
                <a:lnTo>
                  <a:pt x="515" y="40"/>
                </a:lnTo>
                <a:lnTo>
                  <a:pt x="521" y="40"/>
                </a:lnTo>
                <a:lnTo>
                  <a:pt x="527" y="40"/>
                </a:lnTo>
                <a:lnTo>
                  <a:pt x="532" y="34"/>
                </a:lnTo>
                <a:lnTo>
                  <a:pt x="538" y="34"/>
                </a:lnTo>
                <a:lnTo>
                  <a:pt x="544" y="40"/>
                </a:lnTo>
                <a:lnTo>
                  <a:pt x="549" y="46"/>
                </a:lnTo>
                <a:lnTo>
                  <a:pt x="555" y="46"/>
                </a:lnTo>
                <a:lnTo>
                  <a:pt x="561" y="46"/>
                </a:lnTo>
                <a:lnTo>
                  <a:pt x="561" y="51"/>
                </a:lnTo>
                <a:lnTo>
                  <a:pt x="561" y="57"/>
                </a:lnTo>
                <a:lnTo>
                  <a:pt x="566" y="63"/>
                </a:lnTo>
                <a:lnTo>
                  <a:pt x="572" y="63"/>
                </a:lnTo>
                <a:lnTo>
                  <a:pt x="572" y="68"/>
                </a:lnTo>
                <a:lnTo>
                  <a:pt x="572" y="74"/>
                </a:lnTo>
                <a:lnTo>
                  <a:pt x="578" y="80"/>
                </a:lnTo>
                <a:lnTo>
                  <a:pt x="578" y="85"/>
                </a:lnTo>
                <a:lnTo>
                  <a:pt x="578" y="91"/>
                </a:lnTo>
                <a:lnTo>
                  <a:pt x="583" y="91"/>
                </a:lnTo>
                <a:lnTo>
                  <a:pt x="583" y="97"/>
                </a:lnTo>
                <a:lnTo>
                  <a:pt x="589" y="97"/>
                </a:lnTo>
                <a:lnTo>
                  <a:pt x="589" y="102"/>
                </a:lnTo>
                <a:lnTo>
                  <a:pt x="583" y="102"/>
                </a:lnTo>
                <a:lnTo>
                  <a:pt x="583" y="108"/>
                </a:lnTo>
                <a:lnTo>
                  <a:pt x="583" y="114"/>
                </a:lnTo>
                <a:lnTo>
                  <a:pt x="578" y="114"/>
                </a:lnTo>
                <a:lnTo>
                  <a:pt x="578" y="119"/>
                </a:lnTo>
                <a:lnTo>
                  <a:pt x="578" y="125"/>
                </a:lnTo>
                <a:lnTo>
                  <a:pt x="578" y="131"/>
                </a:lnTo>
                <a:lnTo>
                  <a:pt x="572" y="131"/>
                </a:lnTo>
                <a:lnTo>
                  <a:pt x="572" y="137"/>
                </a:lnTo>
                <a:lnTo>
                  <a:pt x="572" y="142"/>
                </a:lnTo>
                <a:lnTo>
                  <a:pt x="572" y="148"/>
                </a:lnTo>
                <a:lnTo>
                  <a:pt x="578" y="148"/>
                </a:lnTo>
                <a:lnTo>
                  <a:pt x="589" y="148"/>
                </a:lnTo>
                <a:lnTo>
                  <a:pt x="589" y="142"/>
                </a:lnTo>
                <a:lnTo>
                  <a:pt x="595" y="142"/>
                </a:lnTo>
                <a:lnTo>
                  <a:pt x="600" y="137"/>
                </a:lnTo>
                <a:lnTo>
                  <a:pt x="606" y="131"/>
                </a:lnTo>
                <a:lnTo>
                  <a:pt x="612" y="125"/>
                </a:lnTo>
                <a:lnTo>
                  <a:pt x="617" y="125"/>
                </a:lnTo>
                <a:lnTo>
                  <a:pt x="623" y="125"/>
                </a:lnTo>
                <a:lnTo>
                  <a:pt x="629" y="125"/>
                </a:lnTo>
                <a:lnTo>
                  <a:pt x="634" y="125"/>
                </a:lnTo>
                <a:lnTo>
                  <a:pt x="657" y="114"/>
                </a:lnTo>
                <a:lnTo>
                  <a:pt x="663" y="114"/>
                </a:lnTo>
                <a:lnTo>
                  <a:pt x="685" y="108"/>
                </a:lnTo>
                <a:lnTo>
                  <a:pt x="691" y="102"/>
                </a:lnTo>
                <a:lnTo>
                  <a:pt x="708" y="102"/>
                </a:lnTo>
                <a:lnTo>
                  <a:pt x="714" y="108"/>
                </a:lnTo>
                <a:lnTo>
                  <a:pt x="719" y="108"/>
                </a:lnTo>
                <a:lnTo>
                  <a:pt x="725" y="114"/>
                </a:lnTo>
                <a:lnTo>
                  <a:pt x="731" y="114"/>
                </a:lnTo>
                <a:lnTo>
                  <a:pt x="736" y="114"/>
                </a:lnTo>
                <a:lnTo>
                  <a:pt x="742" y="114"/>
                </a:lnTo>
                <a:lnTo>
                  <a:pt x="742" y="119"/>
                </a:lnTo>
                <a:lnTo>
                  <a:pt x="742" y="125"/>
                </a:lnTo>
                <a:lnTo>
                  <a:pt x="748" y="125"/>
                </a:lnTo>
                <a:lnTo>
                  <a:pt x="753" y="125"/>
                </a:lnTo>
                <a:lnTo>
                  <a:pt x="753" y="131"/>
                </a:lnTo>
                <a:lnTo>
                  <a:pt x="759" y="131"/>
                </a:lnTo>
                <a:lnTo>
                  <a:pt x="759" y="137"/>
                </a:lnTo>
                <a:lnTo>
                  <a:pt x="765" y="142"/>
                </a:lnTo>
                <a:lnTo>
                  <a:pt x="770" y="142"/>
                </a:lnTo>
                <a:lnTo>
                  <a:pt x="776" y="148"/>
                </a:lnTo>
                <a:lnTo>
                  <a:pt x="782" y="154"/>
                </a:lnTo>
                <a:lnTo>
                  <a:pt x="787" y="159"/>
                </a:lnTo>
                <a:lnTo>
                  <a:pt x="787" y="165"/>
                </a:lnTo>
                <a:lnTo>
                  <a:pt x="799" y="171"/>
                </a:lnTo>
                <a:lnTo>
                  <a:pt x="810" y="176"/>
                </a:lnTo>
                <a:lnTo>
                  <a:pt x="810" y="182"/>
                </a:lnTo>
                <a:lnTo>
                  <a:pt x="816" y="188"/>
                </a:lnTo>
                <a:lnTo>
                  <a:pt x="816" y="193"/>
                </a:lnTo>
                <a:lnTo>
                  <a:pt x="821" y="199"/>
                </a:lnTo>
                <a:lnTo>
                  <a:pt x="827" y="199"/>
                </a:lnTo>
                <a:lnTo>
                  <a:pt x="833" y="210"/>
                </a:lnTo>
                <a:lnTo>
                  <a:pt x="838" y="222"/>
                </a:lnTo>
                <a:lnTo>
                  <a:pt x="844" y="222"/>
                </a:lnTo>
                <a:lnTo>
                  <a:pt x="844" y="227"/>
                </a:lnTo>
                <a:lnTo>
                  <a:pt x="844" y="239"/>
                </a:lnTo>
                <a:lnTo>
                  <a:pt x="844" y="244"/>
                </a:lnTo>
                <a:lnTo>
                  <a:pt x="844" y="250"/>
                </a:lnTo>
                <a:lnTo>
                  <a:pt x="844" y="256"/>
                </a:lnTo>
                <a:lnTo>
                  <a:pt x="844" y="261"/>
                </a:lnTo>
                <a:lnTo>
                  <a:pt x="844" y="273"/>
                </a:lnTo>
                <a:lnTo>
                  <a:pt x="844" y="284"/>
                </a:lnTo>
                <a:lnTo>
                  <a:pt x="844" y="295"/>
                </a:lnTo>
                <a:lnTo>
                  <a:pt x="838" y="324"/>
                </a:lnTo>
                <a:lnTo>
                  <a:pt x="838" y="346"/>
                </a:lnTo>
                <a:lnTo>
                  <a:pt x="833" y="352"/>
                </a:lnTo>
                <a:lnTo>
                  <a:pt x="833" y="358"/>
                </a:lnTo>
                <a:lnTo>
                  <a:pt x="827" y="358"/>
                </a:lnTo>
                <a:lnTo>
                  <a:pt x="827" y="363"/>
                </a:lnTo>
                <a:lnTo>
                  <a:pt x="821" y="363"/>
                </a:lnTo>
                <a:lnTo>
                  <a:pt x="816" y="363"/>
                </a:lnTo>
                <a:lnTo>
                  <a:pt x="816" y="369"/>
                </a:lnTo>
                <a:lnTo>
                  <a:pt x="810" y="369"/>
                </a:lnTo>
                <a:lnTo>
                  <a:pt x="804" y="375"/>
                </a:lnTo>
                <a:lnTo>
                  <a:pt x="799" y="375"/>
                </a:lnTo>
                <a:lnTo>
                  <a:pt x="799" y="380"/>
                </a:lnTo>
                <a:lnTo>
                  <a:pt x="793" y="380"/>
                </a:lnTo>
                <a:lnTo>
                  <a:pt x="787" y="386"/>
                </a:lnTo>
                <a:lnTo>
                  <a:pt x="787" y="392"/>
                </a:lnTo>
                <a:lnTo>
                  <a:pt x="787" y="403"/>
                </a:lnTo>
                <a:lnTo>
                  <a:pt x="782" y="403"/>
                </a:lnTo>
                <a:lnTo>
                  <a:pt x="782" y="409"/>
                </a:lnTo>
                <a:lnTo>
                  <a:pt x="782" y="414"/>
                </a:lnTo>
                <a:lnTo>
                  <a:pt x="782" y="420"/>
                </a:lnTo>
                <a:lnTo>
                  <a:pt x="776" y="426"/>
                </a:lnTo>
                <a:lnTo>
                  <a:pt x="776" y="431"/>
                </a:lnTo>
                <a:lnTo>
                  <a:pt x="770" y="431"/>
                </a:lnTo>
                <a:lnTo>
                  <a:pt x="770" y="437"/>
                </a:lnTo>
                <a:lnTo>
                  <a:pt x="765" y="443"/>
                </a:lnTo>
                <a:lnTo>
                  <a:pt x="765" y="448"/>
                </a:lnTo>
                <a:lnTo>
                  <a:pt x="759" y="448"/>
                </a:lnTo>
                <a:lnTo>
                  <a:pt x="759" y="460"/>
                </a:lnTo>
                <a:lnTo>
                  <a:pt x="759" y="482"/>
                </a:lnTo>
                <a:lnTo>
                  <a:pt x="759" y="488"/>
                </a:lnTo>
                <a:lnTo>
                  <a:pt x="765" y="494"/>
                </a:lnTo>
                <a:lnTo>
                  <a:pt x="765" y="499"/>
                </a:lnTo>
                <a:lnTo>
                  <a:pt x="765" y="505"/>
                </a:lnTo>
                <a:lnTo>
                  <a:pt x="765" y="528"/>
                </a:lnTo>
                <a:lnTo>
                  <a:pt x="765" y="533"/>
                </a:lnTo>
                <a:lnTo>
                  <a:pt x="759" y="550"/>
                </a:lnTo>
                <a:lnTo>
                  <a:pt x="759" y="562"/>
                </a:lnTo>
                <a:lnTo>
                  <a:pt x="753" y="573"/>
                </a:lnTo>
                <a:lnTo>
                  <a:pt x="753" y="579"/>
                </a:lnTo>
                <a:lnTo>
                  <a:pt x="753" y="584"/>
                </a:lnTo>
                <a:lnTo>
                  <a:pt x="748" y="584"/>
                </a:lnTo>
                <a:lnTo>
                  <a:pt x="748" y="579"/>
                </a:lnTo>
                <a:lnTo>
                  <a:pt x="742" y="573"/>
                </a:lnTo>
                <a:lnTo>
                  <a:pt x="742" y="579"/>
                </a:lnTo>
                <a:lnTo>
                  <a:pt x="736" y="579"/>
                </a:lnTo>
                <a:lnTo>
                  <a:pt x="731" y="579"/>
                </a:lnTo>
                <a:lnTo>
                  <a:pt x="725" y="573"/>
                </a:lnTo>
                <a:lnTo>
                  <a:pt x="725" y="579"/>
                </a:lnTo>
                <a:lnTo>
                  <a:pt x="719" y="584"/>
                </a:lnTo>
                <a:lnTo>
                  <a:pt x="719" y="590"/>
                </a:lnTo>
                <a:lnTo>
                  <a:pt x="719" y="596"/>
                </a:lnTo>
                <a:lnTo>
                  <a:pt x="714" y="601"/>
                </a:lnTo>
                <a:lnTo>
                  <a:pt x="708" y="607"/>
                </a:lnTo>
                <a:lnTo>
                  <a:pt x="702" y="607"/>
                </a:lnTo>
                <a:lnTo>
                  <a:pt x="697" y="607"/>
                </a:lnTo>
                <a:lnTo>
                  <a:pt x="691" y="607"/>
                </a:lnTo>
                <a:lnTo>
                  <a:pt x="691" y="590"/>
                </a:lnTo>
                <a:lnTo>
                  <a:pt x="691" y="584"/>
                </a:lnTo>
                <a:lnTo>
                  <a:pt x="685" y="584"/>
                </a:lnTo>
                <a:lnTo>
                  <a:pt x="685" y="579"/>
                </a:lnTo>
                <a:lnTo>
                  <a:pt x="680" y="573"/>
                </a:lnTo>
                <a:lnTo>
                  <a:pt x="668" y="573"/>
                </a:lnTo>
                <a:lnTo>
                  <a:pt x="668" y="567"/>
                </a:lnTo>
                <a:lnTo>
                  <a:pt x="663" y="562"/>
                </a:lnTo>
                <a:lnTo>
                  <a:pt x="657" y="562"/>
                </a:lnTo>
                <a:lnTo>
                  <a:pt x="657" y="556"/>
                </a:lnTo>
                <a:lnTo>
                  <a:pt x="651" y="550"/>
                </a:lnTo>
                <a:lnTo>
                  <a:pt x="651" y="545"/>
                </a:lnTo>
                <a:lnTo>
                  <a:pt x="646" y="545"/>
                </a:lnTo>
                <a:lnTo>
                  <a:pt x="646" y="539"/>
                </a:lnTo>
                <a:lnTo>
                  <a:pt x="646" y="533"/>
                </a:lnTo>
                <a:lnTo>
                  <a:pt x="646" y="528"/>
                </a:lnTo>
                <a:lnTo>
                  <a:pt x="640" y="528"/>
                </a:lnTo>
                <a:lnTo>
                  <a:pt x="634" y="522"/>
                </a:lnTo>
                <a:lnTo>
                  <a:pt x="629" y="522"/>
                </a:lnTo>
                <a:lnTo>
                  <a:pt x="623" y="522"/>
                </a:lnTo>
                <a:lnTo>
                  <a:pt x="617" y="522"/>
                </a:lnTo>
                <a:lnTo>
                  <a:pt x="606" y="522"/>
                </a:lnTo>
                <a:lnTo>
                  <a:pt x="600" y="522"/>
                </a:lnTo>
                <a:lnTo>
                  <a:pt x="589" y="522"/>
                </a:lnTo>
                <a:lnTo>
                  <a:pt x="583" y="528"/>
                </a:lnTo>
                <a:lnTo>
                  <a:pt x="578" y="528"/>
                </a:lnTo>
                <a:lnTo>
                  <a:pt x="572" y="528"/>
                </a:lnTo>
                <a:lnTo>
                  <a:pt x="572" y="533"/>
                </a:lnTo>
                <a:lnTo>
                  <a:pt x="566" y="533"/>
                </a:lnTo>
                <a:lnTo>
                  <a:pt x="561" y="539"/>
                </a:lnTo>
                <a:lnTo>
                  <a:pt x="555" y="539"/>
                </a:lnTo>
                <a:lnTo>
                  <a:pt x="549" y="539"/>
                </a:lnTo>
                <a:lnTo>
                  <a:pt x="549" y="533"/>
                </a:lnTo>
                <a:lnTo>
                  <a:pt x="544" y="533"/>
                </a:lnTo>
                <a:lnTo>
                  <a:pt x="544" y="528"/>
                </a:lnTo>
                <a:lnTo>
                  <a:pt x="538" y="528"/>
                </a:lnTo>
                <a:lnTo>
                  <a:pt x="532" y="528"/>
                </a:lnTo>
                <a:lnTo>
                  <a:pt x="527" y="516"/>
                </a:lnTo>
                <a:lnTo>
                  <a:pt x="521" y="516"/>
                </a:lnTo>
                <a:lnTo>
                  <a:pt x="521" y="505"/>
                </a:lnTo>
                <a:lnTo>
                  <a:pt x="521" y="499"/>
                </a:lnTo>
                <a:lnTo>
                  <a:pt x="521" y="494"/>
                </a:lnTo>
                <a:lnTo>
                  <a:pt x="521" y="488"/>
                </a:lnTo>
                <a:lnTo>
                  <a:pt x="527" y="482"/>
                </a:lnTo>
                <a:lnTo>
                  <a:pt x="527" y="477"/>
                </a:lnTo>
                <a:lnTo>
                  <a:pt x="521" y="477"/>
                </a:lnTo>
                <a:lnTo>
                  <a:pt x="515" y="477"/>
                </a:lnTo>
                <a:lnTo>
                  <a:pt x="510" y="471"/>
                </a:lnTo>
                <a:lnTo>
                  <a:pt x="504" y="471"/>
                </a:lnTo>
                <a:lnTo>
                  <a:pt x="493" y="471"/>
                </a:lnTo>
                <a:lnTo>
                  <a:pt x="487" y="471"/>
                </a:lnTo>
                <a:lnTo>
                  <a:pt x="476" y="465"/>
                </a:lnTo>
                <a:lnTo>
                  <a:pt x="470" y="465"/>
                </a:lnTo>
                <a:lnTo>
                  <a:pt x="459" y="460"/>
                </a:lnTo>
                <a:lnTo>
                  <a:pt x="453" y="460"/>
                </a:lnTo>
                <a:lnTo>
                  <a:pt x="447" y="460"/>
                </a:lnTo>
                <a:lnTo>
                  <a:pt x="442" y="460"/>
                </a:lnTo>
                <a:lnTo>
                  <a:pt x="430" y="454"/>
                </a:lnTo>
                <a:lnTo>
                  <a:pt x="425" y="454"/>
                </a:lnTo>
                <a:lnTo>
                  <a:pt x="413" y="454"/>
                </a:lnTo>
                <a:lnTo>
                  <a:pt x="408" y="454"/>
                </a:lnTo>
                <a:lnTo>
                  <a:pt x="402" y="448"/>
                </a:lnTo>
                <a:lnTo>
                  <a:pt x="396" y="448"/>
                </a:lnTo>
                <a:lnTo>
                  <a:pt x="391" y="448"/>
                </a:lnTo>
                <a:lnTo>
                  <a:pt x="391" y="454"/>
                </a:lnTo>
                <a:lnTo>
                  <a:pt x="385" y="460"/>
                </a:lnTo>
                <a:lnTo>
                  <a:pt x="379" y="460"/>
                </a:lnTo>
                <a:lnTo>
                  <a:pt x="379" y="465"/>
                </a:lnTo>
                <a:lnTo>
                  <a:pt x="374" y="465"/>
                </a:lnTo>
                <a:lnTo>
                  <a:pt x="368" y="471"/>
                </a:lnTo>
                <a:lnTo>
                  <a:pt x="368" y="477"/>
                </a:lnTo>
                <a:lnTo>
                  <a:pt x="379" y="477"/>
                </a:lnTo>
                <a:lnTo>
                  <a:pt x="385" y="477"/>
                </a:lnTo>
                <a:lnTo>
                  <a:pt x="391" y="477"/>
                </a:lnTo>
                <a:lnTo>
                  <a:pt x="396" y="482"/>
                </a:lnTo>
                <a:lnTo>
                  <a:pt x="396" y="488"/>
                </a:lnTo>
                <a:lnTo>
                  <a:pt x="396" y="494"/>
                </a:lnTo>
                <a:lnTo>
                  <a:pt x="396" y="499"/>
                </a:lnTo>
                <a:lnTo>
                  <a:pt x="396" y="505"/>
                </a:lnTo>
                <a:lnTo>
                  <a:pt x="391" y="505"/>
                </a:lnTo>
                <a:lnTo>
                  <a:pt x="385" y="511"/>
                </a:lnTo>
                <a:lnTo>
                  <a:pt x="379" y="516"/>
                </a:lnTo>
                <a:lnTo>
                  <a:pt x="368" y="516"/>
                </a:lnTo>
                <a:lnTo>
                  <a:pt x="368" y="511"/>
                </a:lnTo>
                <a:lnTo>
                  <a:pt x="362" y="511"/>
                </a:lnTo>
                <a:lnTo>
                  <a:pt x="351" y="511"/>
                </a:lnTo>
                <a:lnTo>
                  <a:pt x="340" y="511"/>
                </a:lnTo>
                <a:lnTo>
                  <a:pt x="328" y="516"/>
                </a:lnTo>
                <a:lnTo>
                  <a:pt x="323" y="516"/>
                </a:lnTo>
                <a:lnTo>
                  <a:pt x="317" y="516"/>
                </a:lnTo>
                <a:lnTo>
                  <a:pt x="311" y="528"/>
                </a:lnTo>
                <a:lnTo>
                  <a:pt x="306" y="528"/>
                </a:lnTo>
                <a:lnTo>
                  <a:pt x="306" y="533"/>
                </a:lnTo>
                <a:lnTo>
                  <a:pt x="294" y="539"/>
                </a:lnTo>
                <a:lnTo>
                  <a:pt x="294" y="545"/>
                </a:lnTo>
                <a:lnTo>
                  <a:pt x="289" y="545"/>
                </a:lnTo>
                <a:lnTo>
                  <a:pt x="283" y="545"/>
                </a:lnTo>
                <a:lnTo>
                  <a:pt x="283" y="539"/>
                </a:lnTo>
                <a:lnTo>
                  <a:pt x="283" y="533"/>
                </a:lnTo>
                <a:lnTo>
                  <a:pt x="277" y="533"/>
                </a:lnTo>
                <a:lnTo>
                  <a:pt x="277" y="528"/>
                </a:lnTo>
                <a:lnTo>
                  <a:pt x="277" y="522"/>
                </a:lnTo>
                <a:lnTo>
                  <a:pt x="272" y="516"/>
                </a:lnTo>
                <a:lnTo>
                  <a:pt x="266" y="516"/>
                </a:lnTo>
                <a:lnTo>
                  <a:pt x="266" y="505"/>
                </a:lnTo>
                <a:lnTo>
                  <a:pt x="260" y="505"/>
                </a:lnTo>
                <a:lnTo>
                  <a:pt x="260" y="499"/>
                </a:lnTo>
                <a:lnTo>
                  <a:pt x="255" y="499"/>
                </a:lnTo>
                <a:lnTo>
                  <a:pt x="255" y="494"/>
                </a:lnTo>
                <a:lnTo>
                  <a:pt x="249" y="494"/>
                </a:lnTo>
                <a:lnTo>
                  <a:pt x="243" y="494"/>
                </a:lnTo>
                <a:lnTo>
                  <a:pt x="238" y="494"/>
                </a:lnTo>
                <a:lnTo>
                  <a:pt x="238" y="499"/>
                </a:lnTo>
                <a:lnTo>
                  <a:pt x="232" y="499"/>
                </a:lnTo>
                <a:lnTo>
                  <a:pt x="226" y="499"/>
                </a:lnTo>
                <a:lnTo>
                  <a:pt x="215" y="505"/>
                </a:lnTo>
                <a:lnTo>
                  <a:pt x="209" y="511"/>
                </a:lnTo>
                <a:lnTo>
                  <a:pt x="198" y="516"/>
                </a:lnTo>
                <a:lnTo>
                  <a:pt x="187" y="516"/>
                </a:lnTo>
                <a:lnTo>
                  <a:pt x="181" y="516"/>
                </a:lnTo>
                <a:lnTo>
                  <a:pt x="175" y="516"/>
                </a:lnTo>
                <a:lnTo>
                  <a:pt x="170" y="516"/>
                </a:lnTo>
                <a:lnTo>
                  <a:pt x="164" y="522"/>
                </a:lnTo>
                <a:lnTo>
                  <a:pt x="164" y="528"/>
                </a:lnTo>
                <a:lnTo>
                  <a:pt x="158" y="533"/>
                </a:lnTo>
                <a:lnTo>
                  <a:pt x="158" y="545"/>
                </a:lnTo>
                <a:lnTo>
                  <a:pt x="158" y="556"/>
                </a:lnTo>
                <a:lnTo>
                  <a:pt x="158" y="562"/>
                </a:lnTo>
                <a:lnTo>
                  <a:pt x="158" y="567"/>
                </a:lnTo>
                <a:lnTo>
                  <a:pt x="158" y="573"/>
                </a:lnTo>
                <a:lnTo>
                  <a:pt x="153" y="579"/>
                </a:lnTo>
                <a:lnTo>
                  <a:pt x="153" y="584"/>
                </a:lnTo>
                <a:lnTo>
                  <a:pt x="147" y="584"/>
                </a:lnTo>
                <a:lnTo>
                  <a:pt x="141" y="584"/>
                </a:lnTo>
                <a:lnTo>
                  <a:pt x="141" y="579"/>
                </a:lnTo>
                <a:lnTo>
                  <a:pt x="136" y="579"/>
                </a:lnTo>
                <a:lnTo>
                  <a:pt x="130" y="573"/>
                </a:lnTo>
                <a:lnTo>
                  <a:pt x="124" y="567"/>
                </a:lnTo>
                <a:lnTo>
                  <a:pt x="119" y="562"/>
                </a:lnTo>
                <a:lnTo>
                  <a:pt x="113" y="562"/>
                </a:lnTo>
                <a:lnTo>
                  <a:pt x="113" y="556"/>
                </a:lnTo>
                <a:lnTo>
                  <a:pt x="107" y="550"/>
                </a:lnTo>
                <a:lnTo>
                  <a:pt x="107" y="545"/>
                </a:lnTo>
                <a:lnTo>
                  <a:pt x="107" y="533"/>
                </a:lnTo>
                <a:lnTo>
                  <a:pt x="113" y="533"/>
                </a:lnTo>
                <a:lnTo>
                  <a:pt x="113" y="528"/>
                </a:lnTo>
                <a:lnTo>
                  <a:pt x="113" y="522"/>
                </a:lnTo>
                <a:lnTo>
                  <a:pt x="119" y="516"/>
                </a:lnTo>
                <a:lnTo>
                  <a:pt x="124" y="511"/>
                </a:lnTo>
                <a:lnTo>
                  <a:pt x="124" y="505"/>
                </a:lnTo>
                <a:lnTo>
                  <a:pt x="124" y="499"/>
                </a:lnTo>
                <a:lnTo>
                  <a:pt x="124" y="494"/>
                </a:lnTo>
                <a:lnTo>
                  <a:pt x="124" y="488"/>
                </a:lnTo>
                <a:lnTo>
                  <a:pt x="119" y="477"/>
                </a:lnTo>
                <a:lnTo>
                  <a:pt x="113" y="471"/>
                </a:lnTo>
                <a:lnTo>
                  <a:pt x="113" y="465"/>
                </a:lnTo>
                <a:lnTo>
                  <a:pt x="107" y="465"/>
                </a:lnTo>
                <a:lnTo>
                  <a:pt x="102" y="460"/>
                </a:lnTo>
                <a:lnTo>
                  <a:pt x="102" y="454"/>
                </a:lnTo>
                <a:lnTo>
                  <a:pt x="96" y="454"/>
                </a:lnTo>
                <a:lnTo>
                  <a:pt x="90" y="454"/>
                </a:lnTo>
                <a:lnTo>
                  <a:pt x="85" y="454"/>
                </a:lnTo>
                <a:lnTo>
                  <a:pt x="79" y="460"/>
                </a:lnTo>
                <a:lnTo>
                  <a:pt x="73" y="460"/>
                </a:lnTo>
                <a:lnTo>
                  <a:pt x="68" y="460"/>
                </a:lnTo>
                <a:lnTo>
                  <a:pt x="68" y="465"/>
                </a:lnTo>
                <a:lnTo>
                  <a:pt x="62" y="465"/>
                </a:lnTo>
                <a:lnTo>
                  <a:pt x="51" y="465"/>
                </a:lnTo>
                <a:lnTo>
                  <a:pt x="45" y="465"/>
                </a:lnTo>
                <a:lnTo>
                  <a:pt x="39" y="460"/>
                </a:lnTo>
                <a:lnTo>
                  <a:pt x="34" y="454"/>
                </a:lnTo>
                <a:lnTo>
                  <a:pt x="28" y="448"/>
                </a:lnTo>
                <a:lnTo>
                  <a:pt x="28" y="443"/>
                </a:lnTo>
                <a:lnTo>
                  <a:pt x="22" y="437"/>
                </a:lnTo>
                <a:lnTo>
                  <a:pt x="17" y="437"/>
                </a:lnTo>
                <a:lnTo>
                  <a:pt x="17" y="431"/>
                </a:lnTo>
                <a:lnTo>
                  <a:pt x="11" y="431"/>
                </a:lnTo>
                <a:lnTo>
                  <a:pt x="11" y="426"/>
                </a:lnTo>
                <a:lnTo>
                  <a:pt x="5" y="420"/>
                </a:lnTo>
                <a:lnTo>
                  <a:pt x="0" y="420"/>
                </a:lnTo>
                <a:lnTo>
                  <a:pt x="0" y="414"/>
                </a:lnTo>
                <a:lnTo>
                  <a:pt x="0" y="409"/>
                </a:lnTo>
                <a:lnTo>
                  <a:pt x="0" y="40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3" name="Freeform 20"/>
          <p:cNvSpPr>
            <a:spLocks/>
          </p:cNvSpPr>
          <p:nvPr/>
        </p:nvSpPr>
        <p:spPr bwMode="gray">
          <a:xfrm>
            <a:off x="3926494" y="4946702"/>
            <a:ext cx="1007541" cy="1324951"/>
          </a:xfrm>
          <a:custGeom>
            <a:avLst/>
            <a:gdLst>
              <a:gd name="T0" fmla="*/ 2147483647 w 595"/>
              <a:gd name="T1" fmla="*/ 2147483647 h 783"/>
              <a:gd name="T2" fmla="*/ 2147483647 w 595"/>
              <a:gd name="T3" fmla="*/ 2147483647 h 783"/>
              <a:gd name="T4" fmla="*/ 2147483647 w 595"/>
              <a:gd name="T5" fmla="*/ 2147483647 h 783"/>
              <a:gd name="T6" fmla="*/ 2147483647 w 595"/>
              <a:gd name="T7" fmla="*/ 2147483647 h 783"/>
              <a:gd name="T8" fmla="*/ 2147483647 w 595"/>
              <a:gd name="T9" fmla="*/ 2147483647 h 783"/>
              <a:gd name="T10" fmla="*/ 2147483647 w 595"/>
              <a:gd name="T11" fmla="*/ 2147483647 h 783"/>
              <a:gd name="T12" fmla="*/ 2147483647 w 595"/>
              <a:gd name="T13" fmla="*/ 2147483647 h 783"/>
              <a:gd name="T14" fmla="*/ 2147483647 w 595"/>
              <a:gd name="T15" fmla="*/ 2147483647 h 783"/>
              <a:gd name="T16" fmla="*/ 2147483647 w 595"/>
              <a:gd name="T17" fmla="*/ 2147483647 h 783"/>
              <a:gd name="T18" fmla="*/ 2147483647 w 595"/>
              <a:gd name="T19" fmla="*/ 2147483647 h 783"/>
              <a:gd name="T20" fmla="*/ 2147483647 w 595"/>
              <a:gd name="T21" fmla="*/ 2147483647 h 783"/>
              <a:gd name="T22" fmla="*/ 2147483647 w 595"/>
              <a:gd name="T23" fmla="*/ 2147483647 h 783"/>
              <a:gd name="T24" fmla="*/ 2147483647 w 595"/>
              <a:gd name="T25" fmla="*/ 2147483647 h 783"/>
              <a:gd name="T26" fmla="*/ 2147483647 w 595"/>
              <a:gd name="T27" fmla="*/ 2147483647 h 783"/>
              <a:gd name="T28" fmla="*/ 2147483647 w 595"/>
              <a:gd name="T29" fmla="*/ 2147483647 h 783"/>
              <a:gd name="T30" fmla="*/ 2147483647 w 595"/>
              <a:gd name="T31" fmla="*/ 2147483647 h 783"/>
              <a:gd name="T32" fmla="*/ 2147483647 w 595"/>
              <a:gd name="T33" fmla="*/ 2147483647 h 783"/>
              <a:gd name="T34" fmla="*/ 2147483647 w 595"/>
              <a:gd name="T35" fmla="*/ 2147483647 h 783"/>
              <a:gd name="T36" fmla="*/ 2147483647 w 595"/>
              <a:gd name="T37" fmla="*/ 2147483647 h 783"/>
              <a:gd name="T38" fmla="*/ 2147483647 w 595"/>
              <a:gd name="T39" fmla="*/ 2147483647 h 783"/>
              <a:gd name="T40" fmla="*/ 2147483647 w 595"/>
              <a:gd name="T41" fmla="*/ 2147483647 h 783"/>
              <a:gd name="T42" fmla="*/ 2147483647 w 595"/>
              <a:gd name="T43" fmla="*/ 2147483647 h 783"/>
              <a:gd name="T44" fmla="*/ 2147483647 w 595"/>
              <a:gd name="T45" fmla="*/ 2147483647 h 783"/>
              <a:gd name="T46" fmla="*/ 2147483647 w 595"/>
              <a:gd name="T47" fmla="*/ 2147483647 h 783"/>
              <a:gd name="T48" fmla="*/ 2147483647 w 595"/>
              <a:gd name="T49" fmla="*/ 0 h 783"/>
              <a:gd name="T50" fmla="*/ 2147483647 w 595"/>
              <a:gd name="T51" fmla="*/ 2147483647 h 783"/>
              <a:gd name="T52" fmla="*/ 2147483647 w 595"/>
              <a:gd name="T53" fmla="*/ 2147483647 h 783"/>
              <a:gd name="T54" fmla="*/ 2147483647 w 595"/>
              <a:gd name="T55" fmla="*/ 2147483647 h 783"/>
              <a:gd name="T56" fmla="*/ 2147483647 w 595"/>
              <a:gd name="T57" fmla="*/ 2147483647 h 783"/>
              <a:gd name="T58" fmla="*/ 2147483647 w 595"/>
              <a:gd name="T59" fmla="*/ 2147483647 h 783"/>
              <a:gd name="T60" fmla="*/ 2147483647 w 595"/>
              <a:gd name="T61" fmla="*/ 2147483647 h 783"/>
              <a:gd name="T62" fmla="*/ 2147483647 w 595"/>
              <a:gd name="T63" fmla="*/ 2147483647 h 783"/>
              <a:gd name="T64" fmla="*/ 2147483647 w 595"/>
              <a:gd name="T65" fmla="*/ 2147483647 h 783"/>
              <a:gd name="T66" fmla="*/ 2147483647 w 595"/>
              <a:gd name="T67" fmla="*/ 2147483647 h 783"/>
              <a:gd name="T68" fmla="*/ 2147483647 w 595"/>
              <a:gd name="T69" fmla="*/ 2147483647 h 783"/>
              <a:gd name="T70" fmla="*/ 2147483647 w 595"/>
              <a:gd name="T71" fmla="*/ 2147483647 h 783"/>
              <a:gd name="T72" fmla="*/ 2147483647 w 595"/>
              <a:gd name="T73" fmla="*/ 2147483647 h 783"/>
              <a:gd name="T74" fmla="*/ 2147483647 w 595"/>
              <a:gd name="T75" fmla="*/ 2147483647 h 783"/>
              <a:gd name="T76" fmla="*/ 2147483647 w 595"/>
              <a:gd name="T77" fmla="*/ 2147483647 h 783"/>
              <a:gd name="T78" fmla="*/ 2147483647 w 595"/>
              <a:gd name="T79" fmla="*/ 2147483647 h 783"/>
              <a:gd name="T80" fmla="*/ 2147483647 w 595"/>
              <a:gd name="T81" fmla="*/ 2147483647 h 783"/>
              <a:gd name="T82" fmla="*/ 2147483647 w 595"/>
              <a:gd name="T83" fmla="*/ 2147483647 h 783"/>
              <a:gd name="T84" fmla="*/ 2147483647 w 595"/>
              <a:gd name="T85" fmla="*/ 2147483647 h 783"/>
              <a:gd name="T86" fmla="*/ 2147483647 w 595"/>
              <a:gd name="T87" fmla="*/ 2147483647 h 783"/>
              <a:gd name="T88" fmla="*/ 2147483647 w 595"/>
              <a:gd name="T89" fmla="*/ 2147483647 h 783"/>
              <a:gd name="T90" fmla="*/ 2147483647 w 595"/>
              <a:gd name="T91" fmla="*/ 2147483647 h 783"/>
              <a:gd name="T92" fmla="*/ 2147483647 w 595"/>
              <a:gd name="T93" fmla="*/ 2147483647 h 783"/>
              <a:gd name="T94" fmla="*/ 2147483647 w 595"/>
              <a:gd name="T95" fmla="*/ 2147483647 h 783"/>
              <a:gd name="T96" fmla="*/ 2147483647 w 595"/>
              <a:gd name="T97" fmla="*/ 2147483647 h 783"/>
              <a:gd name="T98" fmla="*/ 2147483647 w 595"/>
              <a:gd name="T99" fmla="*/ 2147483647 h 783"/>
              <a:gd name="T100" fmla="*/ 2147483647 w 595"/>
              <a:gd name="T101" fmla="*/ 2147483647 h 783"/>
              <a:gd name="T102" fmla="*/ 2147483647 w 595"/>
              <a:gd name="T103" fmla="*/ 2147483647 h 783"/>
              <a:gd name="T104" fmla="*/ 2147483647 w 595"/>
              <a:gd name="T105" fmla="*/ 2147483647 h 783"/>
              <a:gd name="T106" fmla="*/ 2147483647 w 595"/>
              <a:gd name="T107" fmla="*/ 2147483647 h 783"/>
              <a:gd name="T108" fmla="*/ 2147483647 w 595"/>
              <a:gd name="T109" fmla="*/ 2147483647 h 783"/>
              <a:gd name="T110" fmla="*/ 2147483647 w 595"/>
              <a:gd name="T111" fmla="*/ 2147483647 h 78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95"/>
              <a:gd name="T169" fmla="*/ 0 h 783"/>
              <a:gd name="T170" fmla="*/ 595 w 595"/>
              <a:gd name="T171" fmla="*/ 783 h 78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95" h="783">
                <a:moveTo>
                  <a:pt x="164" y="726"/>
                </a:moveTo>
                <a:lnTo>
                  <a:pt x="159" y="709"/>
                </a:lnTo>
                <a:lnTo>
                  <a:pt x="142" y="692"/>
                </a:lnTo>
                <a:lnTo>
                  <a:pt x="142" y="686"/>
                </a:lnTo>
                <a:lnTo>
                  <a:pt x="130" y="681"/>
                </a:lnTo>
                <a:lnTo>
                  <a:pt x="119" y="675"/>
                </a:lnTo>
                <a:lnTo>
                  <a:pt x="113" y="675"/>
                </a:lnTo>
                <a:lnTo>
                  <a:pt x="102" y="664"/>
                </a:lnTo>
                <a:lnTo>
                  <a:pt x="96" y="647"/>
                </a:lnTo>
                <a:lnTo>
                  <a:pt x="85" y="630"/>
                </a:lnTo>
                <a:lnTo>
                  <a:pt x="85" y="624"/>
                </a:lnTo>
                <a:lnTo>
                  <a:pt x="85" y="613"/>
                </a:lnTo>
                <a:lnTo>
                  <a:pt x="91" y="601"/>
                </a:lnTo>
                <a:lnTo>
                  <a:pt x="91" y="595"/>
                </a:lnTo>
                <a:lnTo>
                  <a:pt x="85" y="584"/>
                </a:lnTo>
                <a:lnTo>
                  <a:pt x="74" y="578"/>
                </a:lnTo>
                <a:lnTo>
                  <a:pt x="62" y="578"/>
                </a:lnTo>
                <a:lnTo>
                  <a:pt x="57" y="578"/>
                </a:lnTo>
                <a:lnTo>
                  <a:pt x="45" y="578"/>
                </a:lnTo>
                <a:lnTo>
                  <a:pt x="34" y="573"/>
                </a:lnTo>
                <a:lnTo>
                  <a:pt x="28" y="573"/>
                </a:lnTo>
                <a:lnTo>
                  <a:pt x="23" y="567"/>
                </a:lnTo>
                <a:lnTo>
                  <a:pt x="17" y="567"/>
                </a:lnTo>
                <a:lnTo>
                  <a:pt x="6" y="561"/>
                </a:lnTo>
                <a:lnTo>
                  <a:pt x="6" y="556"/>
                </a:lnTo>
                <a:lnTo>
                  <a:pt x="0" y="556"/>
                </a:lnTo>
                <a:lnTo>
                  <a:pt x="0" y="550"/>
                </a:lnTo>
                <a:lnTo>
                  <a:pt x="6" y="550"/>
                </a:lnTo>
                <a:lnTo>
                  <a:pt x="11" y="550"/>
                </a:lnTo>
                <a:lnTo>
                  <a:pt x="11" y="544"/>
                </a:lnTo>
                <a:lnTo>
                  <a:pt x="6" y="539"/>
                </a:lnTo>
                <a:lnTo>
                  <a:pt x="11" y="533"/>
                </a:lnTo>
                <a:lnTo>
                  <a:pt x="17" y="527"/>
                </a:lnTo>
                <a:lnTo>
                  <a:pt x="17" y="533"/>
                </a:lnTo>
                <a:lnTo>
                  <a:pt x="28" y="539"/>
                </a:lnTo>
                <a:lnTo>
                  <a:pt x="34" y="539"/>
                </a:lnTo>
                <a:lnTo>
                  <a:pt x="40" y="527"/>
                </a:lnTo>
                <a:lnTo>
                  <a:pt x="34" y="522"/>
                </a:lnTo>
                <a:lnTo>
                  <a:pt x="34" y="516"/>
                </a:lnTo>
                <a:lnTo>
                  <a:pt x="34" y="510"/>
                </a:lnTo>
                <a:lnTo>
                  <a:pt x="28" y="499"/>
                </a:lnTo>
                <a:lnTo>
                  <a:pt x="23" y="488"/>
                </a:lnTo>
                <a:lnTo>
                  <a:pt x="23" y="482"/>
                </a:lnTo>
                <a:lnTo>
                  <a:pt x="23" y="476"/>
                </a:lnTo>
                <a:lnTo>
                  <a:pt x="23" y="471"/>
                </a:lnTo>
                <a:lnTo>
                  <a:pt x="17" y="454"/>
                </a:lnTo>
                <a:lnTo>
                  <a:pt x="17" y="442"/>
                </a:lnTo>
                <a:lnTo>
                  <a:pt x="17" y="431"/>
                </a:lnTo>
                <a:lnTo>
                  <a:pt x="17" y="425"/>
                </a:lnTo>
                <a:lnTo>
                  <a:pt x="11" y="420"/>
                </a:lnTo>
                <a:lnTo>
                  <a:pt x="17" y="414"/>
                </a:lnTo>
                <a:lnTo>
                  <a:pt x="23" y="403"/>
                </a:lnTo>
                <a:lnTo>
                  <a:pt x="28" y="403"/>
                </a:lnTo>
                <a:lnTo>
                  <a:pt x="28" y="397"/>
                </a:lnTo>
                <a:lnTo>
                  <a:pt x="34" y="391"/>
                </a:lnTo>
                <a:lnTo>
                  <a:pt x="34" y="380"/>
                </a:lnTo>
                <a:lnTo>
                  <a:pt x="28" y="374"/>
                </a:lnTo>
                <a:lnTo>
                  <a:pt x="34" y="369"/>
                </a:lnTo>
                <a:lnTo>
                  <a:pt x="45" y="363"/>
                </a:lnTo>
                <a:lnTo>
                  <a:pt x="45" y="346"/>
                </a:lnTo>
                <a:lnTo>
                  <a:pt x="51" y="335"/>
                </a:lnTo>
                <a:lnTo>
                  <a:pt x="51" y="329"/>
                </a:lnTo>
                <a:lnTo>
                  <a:pt x="45" y="323"/>
                </a:lnTo>
                <a:lnTo>
                  <a:pt x="45" y="318"/>
                </a:lnTo>
                <a:lnTo>
                  <a:pt x="45" y="312"/>
                </a:lnTo>
                <a:lnTo>
                  <a:pt x="57" y="306"/>
                </a:lnTo>
                <a:lnTo>
                  <a:pt x="74" y="306"/>
                </a:lnTo>
                <a:lnTo>
                  <a:pt x="74" y="318"/>
                </a:lnTo>
                <a:lnTo>
                  <a:pt x="79" y="312"/>
                </a:lnTo>
                <a:lnTo>
                  <a:pt x="85" y="312"/>
                </a:lnTo>
                <a:lnTo>
                  <a:pt x="91" y="312"/>
                </a:lnTo>
                <a:lnTo>
                  <a:pt x="91" y="318"/>
                </a:lnTo>
                <a:lnTo>
                  <a:pt x="96" y="318"/>
                </a:lnTo>
                <a:lnTo>
                  <a:pt x="102" y="329"/>
                </a:lnTo>
                <a:lnTo>
                  <a:pt x="108" y="335"/>
                </a:lnTo>
                <a:lnTo>
                  <a:pt x="113" y="335"/>
                </a:lnTo>
                <a:lnTo>
                  <a:pt x="119" y="335"/>
                </a:lnTo>
                <a:lnTo>
                  <a:pt x="125" y="335"/>
                </a:lnTo>
                <a:lnTo>
                  <a:pt x="125" y="329"/>
                </a:lnTo>
                <a:lnTo>
                  <a:pt x="130" y="329"/>
                </a:lnTo>
                <a:lnTo>
                  <a:pt x="130" y="323"/>
                </a:lnTo>
                <a:lnTo>
                  <a:pt x="142" y="318"/>
                </a:lnTo>
                <a:lnTo>
                  <a:pt x="147" y="312"/>
                </a:lnTo>
                <a:lnTo>
                  <a:pt x="153" y="306"/>
                </a:lnTo>
                <a:lnTo>
                  <a:pt x="159" y="306"/>
                </a:lnTo>
                <a:lnTo>
                  <a:pt x="159" y="312"/>
                </a:lnTo>
                <a:lnTo>
                  <a:pt x="170" y="318"/>
                </a:lnTo>
                <a:lnTo>
                  <a:pt x="170" y="312"/>
                </a:lnTo>
                <a:lnTo>
                  <a:pt x="170" y="306"/>
                </a:lnTo>
                <a:lnTo>
                  <a:pt x="176" y="306"/>
                </a:lnTo>
                <a:lnTo>
                  <a:pt x="176" y="301"/>
                </a:lnTo>
                <a:lnTo>
                  <a:pt x="176" y="295"/>
                </a:lnTo>
                <a:lnTo>
                  <a:pt x="176" y="289"/>
                </a:lnTo>
                <a:lnTo>
                  <a:pt x="170" y="284"/>
                </a:lnTo>
                <a:lnTo>
                  <a:pt x="170" y="278"/>
                </a:lnTo>
                <a:lnTo>
                  <a:pt x="170" y="272"/>
                </a:lnTo>
                <a:lnTo>
                  <a:pt x="170" y="267"/>
                </a:lnTo>
                <a:lnTo>
                  <a:pt x="176" y="261"/>
                </a:lnTo>
                <a:lnTo>
                  <a:pt x="181" y="261"/>
                </a:lnTo>
                <a:lnTo>
                  <a:pt x="181" y="255"/>
                </a:lnTo>
                <a:lnTo>
                  <a:pt x="187" y="250"/>
                </a:lnTo>
                <a:lnTo>
                  <a:pt x="193" y="244"/>
                </a:lnTo>
                <a:lnTo>
                  <a:pt x="198" y="244"/>
                </a:lnTo>
                <a:lnTo>
                  <a:pt x="198" y="238"/>
                </a:lnTo>
                <a:lnTo>
                  <a:pt x="204" y="238"/>
                </a:lnTo>
                <a:lnTo>
                  <a:pt x="204" y="233"/>
                </a:lnTo>
                <a:lnTo>
                  <a:pt x="210" y="233"/>
                </a:lnTo>
                <a:lnTo>
                  <a:pt x="210" y="227"/>
                </a:lnTo>
                <a:lnTo>
                  <a:pt x="210" y="221"/>
                </a:lnTo>
                <a:lnTo>
                  <a:pt x="215" y="221"/>
                </a:lnTo>
                <a:lnTo>
                  <a:pt x="215" y="216"/>
                </a:lnTo>
                <a:lnTo>
                  <a:pt x="221" y="210"/>
                </a:lnTo>
                <a:lnTo>
                  <a:pt x="227" y="210"/>
                </a:lnTo>
                <a:lnTo>
                  <a:pt x="232" y="210"/>
                </a:lnTo>
                <a:lnTo>
                  <a:pt x="238" y="210"/>
                </a:lnTo>
                <a:lnTo>
                  <a:pt x="244" y="210"/>
                </a:lnTo>
                <a:lnTo>
                  <a:pt x="249" y="210"/>
                </a:lnTo>
                <a:lnTo>
                  <a:pt x="255" y="204"/>
                </a:lnTo>
                <a:lnTo>
                  <a:pt x="255" y="199"/>
                </a:lnTo>
                <a:lnTo>
                  <a:pt x="255" y="193"/>
                </a:lnTo>
                <a:lnTo>
                  <a:pt x="249" y="193"/>
                </a:lnTo>
                <a:lnTo>
                  <a:pt x="249" y="187"/>
                </a:lnTo>
                <a:lnTo>
                  <a:pt x="244" y="187"/>
                </a:lnTo>
                <a:lnTo>
                  <a:pt x="244" y="182"/>
                </a:lnTo>
                <a:lnTo>
                  <a:pt x="238" y="182"/>
                </a:lnTo>
                <a:lnTo>
                  <a:pt x="238" y="176"/>
                </a:lnTo>
                <a:lnTo>
                  <a:pt x="238" y="170"/>
                </a:lnTo>
                <a:lnTo>
                  <a:pt x="238" y="165"/>
                </a:lnTo>
                <a:lnTo>
                  <a:pt x="232" y="165"/>
                </a:lnTo>
                <a:lnTo>
                  <a:pt x="232" y="159"/>
                </a:lnTo>
                <a:lnTo>
                  <a:pt x="227" y="159"/>
                </a:lnTo>
                <a:lnTo>
                  <a:pt x="227" y="153"/>
                </a:lnTo>
                <a:lnTo>
                  <a:pt x="227" y="148"/>
                </a:lnTo>
                <a:lnTo>
                  <a:pt x="227" y="142"/>
                </a:lnTo>
                <a:lnTo>
                  <a:pt x="221" y="136"/>
                </a:lnTo>
                <a:lnTo>
                  <a:pt x="215" y="131"/>
                </a:lnTo>
                <a:lnTo>
                  <a:pt x="215" y="125"/>
                </a:lnTo>
                <a:lnTo>
                  <a:pt x="198" y="114"/>
                </a:lnTo>
                <a:lnTo>
                  <a:pt x="198" y="108"/>
                </a:lnTo>
                <a:lnTo>
                  <a:pt x="193" y="102"/>
                </a:lnTo>
                <a:lnTo>
                  <a:pt x="187" y="97"/>
                </a:lnTo>
                <a:lnTo>
                  <a:pt x="193" y="97"/>
                </a:lnTo>
                <a:lnTo>
                  <a:pt x="198" y="97"/>
                </a:lnTo>
                <a:lnTo>
                  <a:pt x="198" y="91"/>
                </a:lnTo>
                <a:lnTo>
                  <a:pt x="210" y="85"/>
                </a:lnTo>
                <a:lnTo>
                  <a:pt x="210" y="80"/>
                </a:lnTo>
                <a:lnTo>
                  <a:pt x="215" y="80"/>
                </a:lnTo>
                <a:lnTo>
                  <a:pt x="221" y="68"/>
                </a:lnTo>
                <a:lnTo>
                  <a:pt x="227" y="68"/>
                </a:lnTo>
                <a:lnTo>
                  <a:pt x="232" y="68"/>
                </a:lnTo>
                <a:lnTo>
                  <a:pt x="244" y="63"/>
                </a:lnTo>
                <a:lnTo>
                  <a:pt x="255" y="63"/>
                </a:lnTo>
                <a:lnTo>
                  <a:pt x="266" y="63"/>
                </a:lnTo>
                <a:lnTo>
                  <a:pt x="272" y="63"/>
                </a:lnTo>
                <a:lnTo>
                  <a:pt x="272" y="68"/>
                </a:lnTo>
                <a:lnTo>
                  <a:pt x="283" y="68"/>
                </a:lnTo>
                <a:lnTo>
                  <a:pt x="289" y="63"/>
                </a:lnTo>
                <a:lnTo>
                  <a:pt x="295" y="57"/>
                </a:lnTo>
                <a:lnTo>
                  <a:pt x="300" y="57"/>
                </a:lnTo>
                <a:lnTo>
                  <a:pt x="300" y="51"/>
                </a:lnTo>
                <a:lnTo>
                  <a:pt x="300" y="46"/>
                </a:lnTo>
                <a:lnTo>
                  <a:pt x="300" y="40"/>
                </a:lnTo>
                <a:lnTo>
                  <a:pt x="300" y="34"/>
                </a:lnTo>
                <a:lnTo>
                  <a:pt x="295" y="29"/>
                </a:lnTo>
                <a:lnTo>
                  <a:pt x="289" y="29"/>
                </a:lnTo>
                <a:lnTo>
                  <a:pt x="283" y="29"/>
                </a:lnTo>
                <a:lnTo>
                  <a:pt x="272" y="29"/>
                </a:lnTo>
                <a:lnTo>
                  <a:pt x="272" y="23"/>
                </a:lnTo>
                <a:lnTo>
                  <a:pt x="278" y="17"/>
                </a:lnTo>
                <a:lnTo>
                  <a:pt x="283" y="17"/>
                </a:lnTo>
                <a:lnTo>
                  <a:pt x="283" y="12"/>
                </a:lnTo>
                <a:lnTo>
                  <a:pt x="289" y="12"/>
                </a:lnTo>
                <a:lnTo>
                  <a:pt x="295" y="6"/>
                </a:lnTo>
                <a:lnTo>
                  <a:pt x="295" y="0"/>
                </a:lnTo>
                <a:lnTo>
                  <a:pt x="300" y="0"/>
                </a:lnTo>
                <a:lnTo>
                  <a:pt x="306" y="0"/>
                </a:lnTo>
                <a:lnTo>
                  <a:pt x="312" y="6"/>
                </a:lnTo>
                <a:lnTo>
                  <a:pt x="317" y="6"/>
                </a:lnTo>
                <a:lnTo>
                  <a:pt x="329" y="6"/>
                </a:lnTo>
                <a:lnTo>
                  <a:pt x="334" y="6"/>
                </a:lnTo>
                <a:lnTo>
                  <a:pt x="346" y="12"/>
                </a:lnTo>
                <a:lnTo>
                  <a:pt x="351" y="12"/>
                </a:lnTo>
                <a:lnTo>
                  <a:pt x="357" y="12"/>
                </a:lnTo>
                <a:lnTo>
                  <a:pt x="363" y="12"/>
                </a:lnTo>
                <a:lnTo>
                  <a:pt x="374" y="17"/>
                </a:lnTo>
                <a:lnTo>
                  <a:pt x="380" y="17"/>
                </a:lnTo>
                <a:lnTo>
                  <a:pt x="391" y="23"/>
                </a:lnTo>
                <a:lnTo>
                  <a:pt x="397" y="23"/>
                </a:lnTo>
                <a:lnTo>
                  <a:pt x="408" y="23"/>
                </a:lnTo>
                <a:lnTo>
                  <a:pt x="414" y="23"/>
                </a:lnTo>
                <a:lnTo>
                  <a:pt x="419" y="29"/>
                </a:lnTo>
                <a:lnTo>
                  <a:pt x="425" y="29"/>
                </a:lnTo>
                <a:lnTo>
                  <a:pt x="431" y="29"/>
                </a:lnTo>
                <a:lnTo>
                  <a:pt x="431" y="34"/>
                </a:lnTo>
                <a:lnTo>
                  <a:pt x="425" y="40"/>
                </a:lnTo>
                <a:lnTo>
                  <a:pt x="425" y="46"/>
                </a:lnTo>
                <a:lnTo>
                  <a:pt x="425" y="51"/>
                </a:lnTo>
                <a:lnTo>
                  <a:pt x="425" y="57"/>
                </a:lnTo>
                <a:lnTo>
                  <a:pt x="425" y="68"/>
                </a:lnTo>
                <a:lnTo>
                  <a:pt x="431" y="68"/>
                </a:lnTo>
                <a:lnTo>
                  <a:pt x="436" y="80"/>
                </a:lnTo>
                <a:lnTo>
                  <a:pt x="442" y="80"/>
                </a:lnTo>
                <a:lnTo>
                  <a:pt x="448" y="80"/>
                </a:lnTo>
                <a:lnTo>
                  <a:pt x="448" y="85"/>
                </a:lnTo>
                <a:lnTo>
                  <a:pt x="453" y="85"/>
                </a:lnTo>
                <a:lnTo>
                  <a:pt x="453" y="91"/>
                </a:lnTo>
                <a:lnTo>
                  <a:pt x="459" y="91"/>
                </a:lnTo>
                <a:lnTo>
                  <a:pt x="465" y="91"/>
                </a:lnTo>
                <a:lnTo>
                  <a:pt x="470" y="85"/>
                </a:lnTo>
                <a:lnTo>
                  <a:pt x="476" y="85"/>
                </a:lnTo>
                <a:lnTo>
                  <a:pt x="476" y="80"/>
                </a:lnTo>
                <a:lnTo>
                  <a:pt x="482" y="80"/>
                </a:lnTo>
                <a:lnTo>
                  <a:pt x="487" y="80"/>
                </a:lnTo>
                <a:lnTo>
                  <a:pt x="493" y="74"/>
                </a:lnTo>
                <a:lnTo>
                  <a:pt x="504" y="74"/>
                </a:lnTo>
                <a:lnTo>
                  <a:pt x="510" y="74"/>
                </a:lnTo>
                <a:lnTo>
                  <a:pt x="521" y="74"/>
                </a:lnTo>
                <a:lnTo>
                  <a:pt x="527" y="74"/>
                </a:lnTo>
                <a:lnTo>
                  <a:pt x="533" y="74"/>
                </a:lnTo>
                <a:lnTo>
                  <a:pt x="538" y="74"/>
                </a:lnTo>
                <a:lnTo>
                  <a:pt x="544" y="80"/>
                </a:lnTo>
                <a:lnTo>
                  <a:pt x="550" y="80"/>
                </a:lnTo>
                <a:lnTo>
                  <a:pt x="550" y="85"/>
                </a:lnTo>
                <a:lnTo>
                  <a:pt x="550" y="91"/>
                </a:lnTo>
                <a:lnTo>
                  <a:pt x="550" y="97"/>
                </a:lnTo>
                <a:lnTo>
                  <a:pt x="555" y="97"/>
                </a:lnTo>
                <a:lnTo>
                  <a:pt x="555" y="102"/>
                </a:lnTo>
                <a:lnTo>
                  <a:pt x="561" y="108"/>
                </a:lnTo>
                <a:lnTo>
                  <a:pt x="561" y="114"/>
                </a:lnTo>
                <a:lnTo>
                  <a:pt x="567" y="114"/>
                </a:lnTo>
                <a:lnTo>
                  <a:pt x="572" y="119"/>
                </a:lnTo>
                <a:lnTo>
                  <a:pt x="572" y="125"/>
                </a:lnTo>
                <a:lnTo>
                  <a:pt x="584" y="125"/>
                </a:lnTo>
                <a:lnTo>
                  <a:pt x="589" y="131"/>
                </a:lnTo>
                <a:lnTo>
                  <a:pt x="589" y="136"/>
                </a:lnTo>
                <a:lnTo>
                  <a:pt x="595" y="136"/>
                </a:lnTo>
                <a:lnTo>
                  <a:pt x="595" y="142"/>
                </a:lnTo>
                <a:lnTo>
                  <a:pt x="595" y="159"/>
                </a:lnTo>
                <a:lnTo>
                  <a:pt x="584" y="153"/>
                </a:lnTo>
                <a:lnTo>
                  <a:pt x="584" y="159"/>
                </a:lnTo>
                <a:lnTo>
                  <a:pt x="584" y="165"/>
                </a:lnTo>
                <a:lnTo>
                  <a:pt x="578" y="165"/>
                </a:lnTo>
                <a:lnTo>
                  <a:pt x="584" y="170"/>
                </a:lnTo>
                <a:lnTo>
                  <a:pt x="578" y="170"/>
                </a:lnTo>
                <a:lnTo>
                  <a:pt x="578" y="176"/>
                </a:lnTo>
                <a:lnTo>
                  <a:pt x="578" y="182"/>
                </a:lnTo>
                <a:lnTo>
                  <a:pt x="578" y="187"/>
                </a:lnTo>
                <a:lnTo>
                  <a:pt x="572" y="204"/>
                </a:lnTo>
                <a:lnTo>
                  <a:pt x="567" y="204"/>
                </a:lnTo>
                <a:lnTo>
                  <a:pt x="555" y="199"/>
                </a:lnTo>
                <a:lnTo>
                  <a:pt x="555" y="193"/>
                </a:lnTo>
                <a:lnTo>
                  <a:pt x="550" y="193"/>
                </a:lnTo>
                <a:lnTo>
                  <a:pt x="544" y="193"/>
                </a:lnTo>
                <a:lnTo>
                  <a:pt x="538" y="193"/>
                </a:lnTo>
                <a:lnTo>
                  <a:pt x="538" y="199"/>
                </a:lnTo>
                <a:lnTo>
                  <a:pt x="538" y="204"/>
                </a:lnTo>
                <a:lnTo>
                  <a:pt x="538" y="210"/>
                </a:lnTo>
                <a:lnTo>
                  <a:pt x="538" y="216"/>
                </a:lnTo>
                <a:lnTo>
                  <a:pt x="533" y="216"/>
                </a:lnTo>
                <a:lnTo>
                  <a:pt x="527" y="221"/>
                </a:lnTo>
                <a:lnTo>
                  <a:pt x="521" y="233"/>
                </a:lnTo>
                <a:lnTo>
                  <a:pt x="521" y="238"/>
                </a:lnTo>
                <a:lnTo>
                  <a:pt x="510" y="250"/>
                </a:lnTo>
                <a:lnTo>
                  <a:pt x="504" y="250"/>
                </a:lnTo>
                <a:lnTo>
                  <a:pt x="499" y="255"/>
                </a:lnTo>
                <a:lnTo>
                  <a:pt x="493" y="255"/>
                </a:lnTo>
                <a:lnTo>
                  <a:pt x="482" y="261"/>
                </a:lnTo>
                <a:lnTo>
                  <a:pt x="482" y="267"/>
                </a:lnTo>
                <a:lnTo>
                  <a:pt x="476" y="267"/>
                </a:lnTo>
                <a:lnTo>
                  <a:pt x="476" y="278"/>
                </a:lnTo>
                <a:lnTo>
                  <a:pt x="470" y="284"/>
                </a:lnTo>
                <a:lnTo>
                  <a:pt x="465" y="289"/>
                </a:lnTo>
                <a:lnTo>
                  <a:pt x="453" y="301"/>
                </a:lnTo>
                <a:lnTo>
                  <a:pt x="442" y="306"/>
                </a:lnTo>
                <a:lnTo>
                  <a:pt x="442" y="312"/>
                </a:lnTo>
                <a:lnTo>
                  <a:pt x="431" y="318"/>
                </a:lnTo>
                <a:lnTo>
                  <a:pt x="419" y="329"/>
                </a:lnTo>
                <a:lnTo>
                  <a:pt x="414" y="335"/>
                </a:lnTo>
                <a:lnTo>
                  <a:pt x="408" y="335"/>
                </a:lnTo>
                <a:lnTo>
                  <a:pt x="408" y="340"/>
                </a:lnTo>
                <a:lnTo>
                  <a:pt x="391" y="352"/>
                </a:lnTo>
                <a:lnTo>
                  <a:pt x="385" y="352"/>
                </a:lnTo>
                <a:lnTo>
                  <a:pt x="385" y="357"/>
                </a:lnTo>
                <a:lnTo>
                  <a:pt x="380" y="363"/>
                </a:lnTo>
                <a:lnTo>
                  <a:pt x="368" y="369"/>
                </a:lnTo>
                <a:lnTo>
                  <a:pt x="363" y="374"/>
                </a:lnTo>
                <a:lnTo>
                  <a:pt x="363" y="380"/>
                </a:lnTo>
                <a:lnTo>
                  <a:pt x="363" y="386"/>
                </a:lnTo>
                <a:lnTo>
                  <a:pt x="368" y="386"/>
                </a:lnTo>
                <a:lnTo>
                  <a:pt x="368" y="391"/>
                </a:lnTo>
                <a:lnTo>
                  <a:pt x="363" y="397"/>
                </a:lnTo>
                <a:lnTo>
                  <a:pt x="368" y="403"/>
                </a:lnTo>
                <a:lnTo>
                  <a:pt x="363" y="408"/>
                </a:lnTo>
                <a:lnTo>
                  <a:pt x="357" y="420"/>
                </a:lnTo>
                <a:lnTo>
                  <a:pt x="351" y="414"/>
                </a:lnTo>
                <a:lnTo>
                  <a:pt x="351" y="420"/>
                </a:lnTo>
                <a:lnTo>
                  <a:pt x="351" y="425"/>
                </a:lnTo>
                <a:lnTo>
                  <a:pt x="357" y="431"/>
                </a:lnTo>
                <a:lnTo>
                  <a:pt x="363" y="437"/>
                </a:lnTo>
                <a:lnTo>
                  <a:pt x="368" y="442"/>
                </a:lnTo>
                <a:lnTo>
                  <a:pt x="374" y="448"/>
                </a:lnTo>
                <a:lnTo>
                  <a:pt x="380" y="454"/>
                </a:lnTo>
                <a:lnTo>
                  <a:pt x="385" y="459"/>
                </a:lnTo>
                <a:lnTo>
                  <a:pt x="385" y="465"/>
                </a:lnTo>
                <a:lnTo>
                  <a:pt x="385" y="471"/>
                </a:lnTo>
                <a:lnTo>
                  <a:pt x="380" y="471"/>
                </a:lnTo>
                <a:lnTo>
                  <a:pt x="380" y="476"/>
                </a:lnTo>
                <a:lnTo>
                  <a:pt x="374" y="488"/>
                </a:lnTo>
                <a:lnTo>
                  <a:pt x="368" y="488"/>
                </a:lnTo>
                <a:lnTo>
                  <a:pt x="368" y="493"/>
                </a:lnTo>
                <a:lnTo>
                  <a:pt x="368" y="499"/>
                </a:lnTo>
                <a:lnTo>
                  <a:pt x="368" y="505"/>
                </a:lnTo>
                <a:lnTo>
                  <a:pt x="363" y="510"/>
                </a:lnTo>
                <a:lnTo>
                  <a:pt x="357" y="516"/>
                </a:lnTo>
                <a:lnTo>
                  <a:pt x="363" y="522"/>
                </a:lnTo>
                <a:lnTo>
                  <a:pt x="363" y="527"/>
                </a:lnTo>
                <a:lnTo>
                  <a:pt x="363" y="533"/>
                </a:lnTo>
                <a:lnTo>
                  <a:pt x="357" y="539"/>
                </a:lnTo>
                <a:lnTo>
                  <a:pt x="357" y="550"/>
                </a:lnTo>
                <a:lnTo>
                  <a:pt x="351" y="556"/>
                </a:lnTo>
                <a:lnTo>
                  <a:pt x="351" y="567"/>
                </a:lnTo>
                <a:lnTo>
                  <a:pt x="351" y="578"/>
                </a:lnTo>
                <a:lnTo>
                  <a:pt x="351" y="584"/>
                </a:lnTo>
                <a:lnTo>
                  <a:pt x="351" y="590"/>
                </a:lnTo>
                <a:lnTo>
                  <a:pt x="351" y="595"/>
                </a:lnTo>
                <a:lnTo>
                  <a:pt x="351" y="601"/>
                </a:lnTo>
                <a:lnTo>
                  <a:pt x="351" y="607"/>
                </a:lnTo>
                <a:lnTo>
                  <a:pt x="346" y="613"/>
                </a:lnTo>
                <a:lnTo>
                  <a:pt x="346" y="618"/>
                </a:lnTo>
                <a:lnTo>
                  <a:pt x="340" y="624"/>
                </a:lnTo>
                <a:lnTo>
                  <a:pt x="340" y="630"/>
                </a:lnTo>
                <a:lnTo>
                  <a:pt x="334" y="630"/>
                </a:lnTo>
                <a:lnTo>
                  <a:pt x="329" y="635"/>
                </a:lnTo>
                <a:lnTo>
                  <a:pt x="329" y="641"/>
                </a:lnTo>
                <a:lnTo>
                  <a:pt x="323" y="641"/>
                </a:lnTo>
                <a:lnTo>
                  <a:pt x="317" y="647"/>
                </a:lnTo>
                <a:lnTo>
                  <a:pt x="317" y="652"/>
                </a:lnTo>
                <a:lnTo>
                  <a:pt x="312" y="658"/>
                </a:lnTo>
                <a:lnTo>
                  <a:pt x="317" y="658"/>
                </a:lnTo>
                <a:lnTo>
                  <a:pt x="312" y="658"/>
                </a:lnTo>
                <a:lnTo>
                  <a:pt x="312" y="664"/>
                </a:lnTo>
                <a:lnTo>
                  <a:pt x="306" y="669"/>
                </a:lnTo>
                <a:lnTo>
                  <a:pt x="306" y="675"/>
                </a:lnTo>
                <a:lnTo>
                  <a:pt x="312" y="675"/>
                </a:lnTo>
                <a:lnTo>
                  <a:pt x="306" y="675"/>
                </a:lnTo>
                <a:lnTo>
                  <a:pt x="306" y="681"/>
                </a:lnTo>
                <a:lnTo>
                  <a:pt x="300" y="686"/>
                </a:lnTo>
                <a:lnTo>
                  <a:pt x="295" y="692"/>
                </a:lnTo>
                <a:lnTo>
                  <a:pt x="295" y="698"/>
                </a:lnTo>
                <a:lnTo>
                  <a:pt x="295" y="703"/>
                </a:lnTo>
                <a:lnTo>
                  <a:pt x="283" y="703"/>
                </a:lnTo>
                <a:lnTo>
                  <a:pt x="278" y="709"/>
                </a:lnTo>
                <a:lnTo>
                  <a:pt x="278" y="715"/>
                </a:lnTo>
                <a:lnTo>
                  <a:pt x="278" y="720"/>
                </a:lnTo>
                <a:lnTo>
                  <a:pt x="283" y="726"/>
                </a:lnTo>
                <a:lnTo>
                  <a:pt x="283" y="732"/>
                </a:lnTo>
                <a:lnTo>
                  <a:pt x="278" y="737"/>
                </a:lnTo>
                <a:lnTo>
                  <a:pt x="272" y="743"/>
                </a:lnTo>
                <a:lnTo>
                  <a:pt x="266" y="743"/>
                </a:lnTo>
                <a:lnTo>
                  <a:pt x="266" y="737"/>
                </a:lnTo>
                <a:lnTo>
                  <a:pt x="261" y="737"/>
                </a:lnTo>
                <a:lnTo>
                  <a:pt x="255" y="743"/>
                </a:lnTo>
                <a:lnTo>
                  <a:pt x="249" y="754"/>
                </a:lnTo>
                <a:lnTo>
                  <a:pt x="249" y="760"/>
                </a:lnTo>
                <a:lnTo>
                  <a:pt x="249" y="771"/>
                </a:lnTo>
                <a:lnTo>
                  <a:pt x="249" y="777"/>
                </a:lnTo>
                <a:lnTo>
                  <a:pt x="244" y="777"/>
                </a:lnTo>
                <a:lnTo>
                  <a:pt x="244" y="783"/>
                </a:lnTo>
                <a:lnTo>
                  <a:pt x="238" y="783"/>
                </a:lnTo>
                <a:lnTo>
                  <a:pt x="232" y="783"/>
                </a:lnTo>
                <a:lnTo>
                  <a:pt x="232" y="777"/>
                </a:lnTo>
                <a:lnTo>
                  <a:pt x="227" y="777"/>
                </a:lnTo>
                <a:lnTo>
                  <a:pt x="227" y="771"/>
                </a:lnTo>
                <a:lnTo>
                  <a:pt x="227" y="766"/>
                </a:lnTo>
                <a:lnTo>
                  <a:pt x="232" y="771"/>
                </a:lnTo>
                <a:lnTo>
                  <a:pt x="232" y="766"/>
                </a:lnTo>
                <a:lnTo>
                  <a:pt x="227" y="760"/>
                </a:lnTo>
                <a:lnTo>
                  <a:pt x="221" y="766"/>
                </a:lnTo>
                <a:lnTo>
                  <a:pt x="215" y="766"/>
                </a:lnTo>
                <a:lnTo>
                  <a:pt x="215" y="771"/>
                </a:lnTo>
                <a:lnTo>
                  <a:pt x="210" y="771"/>
                </a:lnTo>
                <a:lnTo>
                  <a:pt x="210" y="766"/>
                </a:lnTo>
                <a:lnTo>
                  <a:pt x="204" y="766"/>
                </a:lnTo>
                <a:lnTo>
                  <a:pt x="198" y="760"/>
                </a:lnTo>
                <a:lnTo>
                  <a:pt x="204" y="754"/>
                </a:lnTo>
                <a:lnTo>
                  <a:pt x="204" y="749"/>
                </a:lnTo>
                <a:lnTo>
                  <a:pt x="198" y="749"/>
                </a:lnTo>
                <a:lnTo>
                  <a:pt x="193" y="749"/>
                </a:lnTo>
                <a:lnTo>
                  <a:pt x="187" y="743"/>
                </a:lnTo>
                <a:lnTo>
                  <a:pt x="181" y="737"/>
                </a:lnTo>
                <a:lnTo>
                  <a:pt x="181" y="732"/>
                </a:lnTo>
                <a:lnTo>
                  <a:pt x="176" y="732"/>
                </a:lnTo>
                <a:lnTo>
                  <a:pt x="170" y="726"/>
                </a:lnTo>
                <a:lnTo>
                  <a:pt x="164" y="72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4" name="Freeform 21"/>
          <p:cNvSpPr>
            <a:spLocks/>
          </p:cNvSpPr>
          <p:nvPr/>
        </p:nvSpPr>
        <p:spPr bwMode="gray">
          <a:xfrm>
            <a:off x="2206223" y="5176705"/>
            <a:ext cx="1065855" cy="902198"/>
          </a:xfrm>
          <a:custGeom>
            <a:avLst/>
            <a:gdLst>
              <a:gd name="T0" fmla="*/ 2147483647 w 629"/>
              <a:gd name="T1" fmla="*/ 2147483647 h 533"/>
              <a:gd name="T2" fmla="*/ 2147483647 w 629"/>
              <a:gd name="T3" fmla="*/ 2147483647 h 533"/>
              <a:gd name="T4" fmla="*/ 2147483647 w 629"/>
              <a:gd name="T5" fmla="*/ 2147483647 h 533"/>
              <a:gd name="T6" fmla="*/ 2147483647 w 629"/>
              <a:gd name="T7" fmla="*/ 2147483647 h 533"/>
              <a:gd name="T8" fmla="*/ 2147483647 w 629"/>
              <a:gd name="T9" fmla="*/ 2147483647 h 533"/>
              <a:gd name="T10" fmla="*/ 2147483647 w 629"/>
              <a:gd name="T11" fmla="*/ 2147483647 h 533"/>
              <a:gd name="T12" fmla="*/ 2147483647 w 629"/>
              <a:gd name="T13" fmla="*/ 2147483647 h 533"/>
              <a:gd name="T14" fmla="*/ 2147483647 w 629"/>
              <a:gd name="T15" fmla="*/ 2147483647 h 533"/>
              <a:gd name="T16" fmla="*/ 2147483647 w 629"/>
              <a:gd name="T17" fmla="*/ 2147483647 h 533"/>
              <a:gd name="T18" fmla="*/ 2147483647 w 629"/>
              <a:gd name="T19" fmla="*/ 2147483647 h 533"/>
              <a:gd name="T20" fmla="*/ 2147483647 w 629"/>
              <a:gd name="T21" fmla="*/ 2147483647 h 533"/>
              <a:gd name="T22" fmla="*/ 2147483647 w 629"/>
              <a:gd name="T23" fmla="*/ 2147483647 h 533"/>
              <a:gd name="T24" fmla="*/ 2147483647 w 629"/>
              <a:gd name="T25" fmla="*/ 2147483647 h 533"/>
              <a:gd name="T26" fmla="*/ 2147483647 w 629"/>
              <a:gd name="T27" fmla="*/ 2147483647 h 533"/>
              <a:gd name="T28" fmla="*/ 2147483647 w 629"/>
              <a:gd name="T29" fmla="*/ 2147483647 h 533"/>
              <a:gd name="T30" fmla="*/ 2147483647 w 629"/>
              <a:gd name="T31" fmla="*/ 2147483647 h 533"/>
              <a:gd name="T32" fmla="*/ 2147483647 w 629"/>
              <a:gd name="T33" fmla="*/ 2147483647 h 533"/>
              <a:gd name="T34" fmla="*/ 2147483647 w 629"/>
              <a:gd name="T35" fmla="*/ 2147483647 h 533"/>
              <a:gd name="T36" fmla="*/ 2147483647 w 629"/>
              <a:gd name="T37" fmla="*/ 2147483647 h 533"/>
              <a:gd name="T38" fmla="*/ 2147483647 w 629"/>
              <a:gd name="T39" fmla="*/ 2147483647 h 533"/>
              <a:gd name="T40" fmla="*/ 2147483647 w 629"/>
              <a:gd name="T41" fmla="*/ 2147483647 h 533"/>
              <a:gd name="T42" fmla="*/ 2147483647 w 629"/>
              <a:gd name="T43" fmla="*/ 2147483647 h 533"/>
              <a:gd name="T44" fmla="*/ 2147483647 w 629"/>
              <a:gd name="T45" fmla="*/ 2147483647 h 533"/>
              <a:gd name="T46" fmla="*/ 2147483647 w 629"/>
              <a:gd name="T47" fmla="*/ 2147483647 h 533"/>
              <a:gd name="T48" fmla="*/ 2147483647 w 629"/>
              <a:gd name="T49" fmla="*/ 2147483647 h 533"/>
              <a:gd name="T50" fmla="*/ 2147483647 w 629"/>
              <a:gd name="T51" fmla="*/ 2147483647 h 533"/>
              <a:gd name="T52" fmla="*/ 2147483647 w 629"/>
              <a:gd name="T53" fmla="*/ 2147483647 h 533"/>
              <a:gd name="T54" fmla="*/ 2147483647 w 629"/>
              <a:gd name="T55" fmla="*/ 2147483647 h 533"/>
              <a:gd name="T56" fmla="*/ 2147483647 w 629"/>
              <a:gd name="T57" fmla="*/ 2147483647 h 533"/>
              <a:gd name="T58" fmla="*/ 2147483647 w 629"/>
              <a:gd name="T59" fmla="*/ 2147483647 h 533"/>
              <a:gd name="T60" fmla="*/ 2147483647 w 629"/>
              <a:gd name="T61" fmla="*/ 2147483647 h 533"/>
              <a:gd name="T62" fmla="*/ 2147483647 w 629"/>
              <a:gd name="T63" fmla="*/ 2147483647 h 533"/>
              <a:gd name="T64" fmla="*/ 2147483647 w 629"/>
              <a:gd name="T65" fmla="*/ 2147483647 h 533"/>
              <a:gd name="T66" fmla="*/ 2147483647 w 629"/>
              <a:gd name="T67" fmla="*/ 2147483647 h 533"/>
              <a:gd name="T68" fmla="*/ 2147483647 w 629"/>
              <a:gd name="T69" fmla="*/ 2147483647 h 533"/>
              <a:gd name="T70" fmla="*/ 2147483647 w 629"/>
              <a:gd name="T71" fmla="*/ 2147483647 h 533"/>
              <a:gd name="T72" fmla="*/ 2147483647 w 629"/>
              <a:gd name="T73" fmla="*/ 2147483647 h 533"/>
              <a:gd name="T74" fmla="*/ 2147483647 w 629"/>
              <a:gd name="T75" fmla="*/ 2147483647 h 533"/>
              <a:gd name="T76" fmla="*/ 2147483647 w 629"/>
              <a:gd name="T77" fmla="*/ 2147483647 h 533"/>
              <a:gd name="T78" fmla="*/ 2147483647 w 629"/>
              <a:gd name="T79" fmla="*/ 2147483647 h 533"/>
              <a:gd name="T80" fmla="*/ 2147483647 w 629"/>
              <a:gd name="T81" fmla="*/ 2147483647 h 533"/>
              <a:gd name="T82" fmla="*/ 2147483647 w 629"/>
              <a:gd name="T83" fmla="*/ 2147483647 h 533"/>
              <a:gd name="T84" fmla="*/ 2147483647 w 629"/>
              <a:gd name="T85" fmla="*/ 2147483647 h 533"/>
              <a:gd name="T86" fmla="*/ 2147483647 w 629"/>
              <a:gd name="T87" fmla="*/ 2147483647 h 533"/>
              <a:gd name="T88" fmla="*/ 2147483647 w 629"/>
              <a:gd name="T89" fmla="*/ 2147483647 h 533"/>
              <a:gd name="T90" fmla="*/ 2147483647 w 629"/>
              <a:gd name="T91" fmla="*/ 2147483647 h 533"/>
              <a:gd name="T92" fmla="*/ 2147483647 w 629"/>
              <a:gd name="T93" fmla="*/ 2147483647 h 533"/>
              <a:gd name="T94" fmla="*/ 2147483647 w 629"/>
              <a:gd name="T95" fmla="*/ 2147483647 h 533"/>
              <a:gd name="T96" fmla="*/ 2147483647 w 629"/>
              <a:gd name="T97" fmla="*/ 2147483647 h 533"/>
              <a:gd name="T98" fmla="*/ 2147483647 w 629"/>
              <a:gd name="T99" fmla="*/ 2147483647 h 533"/>
              <a:gd name="T100" fmla="*/ 2147483647 w 629"/>
              <a:gd name="T101" fmla="*/ 2147483647 h 533"/>
              <a:gd name="T102" fmla="*/ 2147483647 w 629"/>
              <a:gd name="T103" fmla="*/ 2147483647 h 533"/>
              <a:gd name="T104" fmla="*/ 2147483647 w 629"/>
              <a:gd name="T105" fmla="*/ 2147483647 h 533"/>
              <a:gd name="T106" fmla="*/ 2147483647 w 629"/>
              <a:gd name="T107" fmla="*/ 2147483647 h 533"/>
              <a:gd name="T108" fmla="*/ 2147483647 w 629"/>
              <a:gd name="T109" fmla="*/ 2147483647 h 533"/>
              <a:gd name="T110" fmla="*/ 2147483647 w 629"/>
              <a:gd name="T111" fmla="*/ 2147483647 h 533"/>
              <a:gd name="T112" fmla="*/ 2147483647 w 629"/>
              <a:gd name="T113" fmla="*/ 2147483647 h 533"/>
              <a:gd name="T114" fmla="*/ 2147483647 w 629"/>
              <a:gd name="T115" fmla="*/ 2147483647 h 533"/>
              <a:gd name="T116" fmla="*/ 2147483647 w 629"/>
              <a:gd name="T117" fmla="*/ 2147483647 h 533"/>
              <a:gd name="T118" fmla="*/ 2147483647 w 629"/>
              <a:gd name="T119" fmla="*/ 2147483647 h 533"/>
              <a:gd name="T120" fmla="*/ 2147483647 w 629"/>
              <a:gd name="T121" fmla="*/ 2147483647 h 53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29"/>
              <a:gd name="T184" fmla="*/ 0 h 533"/>
              <a:gd name="T185" fmla="*/ 629 w 629"/>
              <a:gd name="T186" fmla="*/ 533 h 53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29" h="533">
                <a:moveTo>
                  <a:pt x="0" y="221"/>
                </a:moveTo>
                <a:lnTo>
                  <a:pt x="0" y="216"/>
                </a:lnTo>
                <a:lnTo>
                  <a:pt x="12" y="204"/>
                </a:lnTo>
                <a:lnTo>
                  <a:pt x="17" y="199"/>
                </a:lnTo>
                <a:lnTo>
                  <a:pt x="17" y="193"/>
                </a:lnTo>
                <a:lnTo>
                  <a:pt x="17" y="187"/>
                </a:lnTo>
                <a:lnTo>
                  <a:pt x="23" y="182"/>
                </a:lnTo>
                <a:lnTo>
                  <a:pt x="29" y="176"/>
                </a:lnTo>
                <a:lnTo>
                  <a:pt x="29" y="170"/>
                </a:lnTo>
                <a:lnTo>
                  <a:pt x="29" y="165"/>
                </a:lnTo>
                <a:lnTo>
                  <a:pt x="34" y="159"/>
                </a:lnTo>
                <a:lnTo>
                  <a:pt x="34" y="153"/>
                </a:lnTo>
                <a:lnTo>
                  <a:pt x="40" y="153"/>
                </a:lnTo>
                <a:lnTo>
                  <a:pt x="40" y="142"/>
                </a:lnTo>
                <a:lnTo>
                  <a:pt x="40" y="136"/>
                </a:lnTo>
                <a:lnTo>
                  <a:pt x="46" y="136"/>
                </a:lnTo>
                <a:lnTo>
                  <a:pt x="46" y="131"/>
                </a:lnTo>
                <a:lnTo>
                  <a:pt x="51" y="131"/>
                </a:lnTo>
                <a:lnTo>
                  <a:pt x="51" y="125"/>
                </a:lnTo>
                <a:lnTo>
                  <a:pt x="57" y="125"/>
                </a:lnTo>
                <a:lnTo>
                  <a:pt x="63" y="125"/>
                </a:lnTo>
                <a:lnTo>
                  <a:pt x="68" y="131"/>
                </a:lnTo>
                <a:lnTo>
                  <a:pt x="74" y="131"/>
                </a:lnTo>
                <a:lnTo>
                  <a:pt x="74" y="136"/>
                </a:lnTo>
                <a:lnTo>
                  <a:pt x="80" y="136"/>
                </a:lnTo>
                <a:lnTo>
                  <a:pt x="80" y="142"/>
                </a:lnTo>
                <a:lnTo>
                  <a:pt x="85" y="142"/>
                </a:lnTo>
                <a:lnTo>
                  <a:pt x="91" y="148"/>
                </a:lnTo>
                <a:lnTo>
                  <a:pt x="91" y="153"/>
                </a:lnTo>
                <a:lnTo>
                  <a:pt x="91" y="159"/>
                </a:lnTo>
                <a:lnTo>
                  <a:pt x="97" y="159"/>
                </a:lnTo>
                <a:lnTo>
                  <a:pt x="102" y="165"/>
                </a:lnTo>
                <a:lnTo>
                  <a:pt x="102" y="170"/>
                </a:lnTo>
                <a:lnTo>
                  <a:pt x="97" y="170"/>
                </a:lnTo>
                <a:lnTo>
                  <a:pt x="97" y="182"/>
                </a:lnTo>
                <a:lnTo>
                  <a:pt x="97" y="187"/>
                </a:lnTo>
                <a:lnTo>
                  <a:pt x="97" y="193"/>
                </a:lnTo>
                <a:lnTo>
                  <a:pt x="97" y="199"/>
                </a:lnTo>
                <a:lnTo>
                  <a:pt x="102" y="199"/>
                </a:lnTo>
                <a:lnTo>
                  <a:pt x="102" y="204"/>
                </a:lnTo>
                <a:lnTo>
                  <a:pt x="108" y="210"/>
                </a:lnTo>
                <a:lnTo>
                  <a:pt x="114" y="210"/>
                </a:lnTo>
                <a:lnTo>
                  <a:pt x="119" y="210"/>
                </a:lnTo>
                <a:lnTo>
                  <a:pt x="119" y="204"/>
                </a:lnTo>
                <a:lnTo>
                  <a:pt x="125" y="199"/>
                </a:lnTo>
                <a:lnTo>
                  <a:pt x="131" y="199"/>
                </a:lnTo>
                <a:lnTo>
                  <a:pt x="136" y="199"/>
                </a:lnTo>
                <a:lnTo>
                  <a:pt x="136" y="193"/>
                </a:lnTo>
                <a:lnTo>
                  <a:pt x="136" y="187"/>
                </a:lnTo>
                <a:lnTo>
                  <a:pt x="136" y="182"/>
                </a:lnTo>
                <a:lnTo>
                  <a:pt x="131" y="182"/>
                </a:lnTo>
                <a:lnTo>
                  <a:pt x="131" y="176"/>
                </a:lnTo>
                <a:lnTo>
                  <a:pt x="131" y="170"/>
                </a:lnTo>
                <a:lnTo>
                  <a:pt x="136" y="170"/>
                </a:lnTo>
                <a:lnTo>
                  <a:pt x="142" y="170"/>
                </a:lnTo>
                <a:lnTo>
                  <a:pt x="148" y="170"/>
                </a:lnTo>
                <a:lnTo>
                  <a:pt x="153" y="170"/>
                </a:lnTo>
                <a:lnTo>
                  <a:pt x="153" y="176"/>
                </a:lnTo>
                <a:lnTo>
                  <a:pt x="159" y="176"/>
                </a:lnTo>
                <a:lnTo>
                  <a:pt x="165" y="176"/>
                </a:lnTo>
                <a:lnTo>
                  <a:pt x="165" y="170"/>
                </a:lnTo>
                <a:lnTo>
                  <a:pt x="170" y="170"/>
                </a:lnTo>
                <a:lnTo>
                  <a:pt x="176" y="170"/>
                </a:lnTo>
                <a:lnTo>
                  <a:pt x="176" y="176"/>
                </a:lnTo>
                <a:lnTo>
                  <a:pt x="182" y="170"/>
                </a:lnTo>
                <a:lnTo>
                  <a:pt x="193" y="170"/>
                </a:lnTo>
                <a:lnTo>
                  <a:pt x="193" y="176"/>
                </a:lnTo>
                <a:lnTo>
                  <a:pt x="199" y="182"/>
                </a:lnTo>
                <a:lnTo>
                  <a:pt x="204" y="182"/>
                </a:lnTo>
                <a:lnTo>
                  <a:pt x="210" y="182"/>
                </a:lnTo>
                <a:lnTo>
                  <a:pt x="216" y="182"/>
                </a:lnTo>
                <a:lnTo>
                  <a:pt x="216" y="176"/>
                </a:lnTo>
                <a:lnTo>
                  <a:pt x="221" y="176"/>
                </a:lnTo>
                <a:lnTo>
                  <a:pt x="221" y="170"/>
                </a:lnTo>
                <a:lnTo>
                  <a:pt x="227" y="170"/>
                </a:lnTo>
                <a:lnTo>
                  <a:pt x="233" y="170"/>
                </a:lnTo>
                <a:lnTo>
                  <a:pt x="238" y="165"/>
                </a:lnTo>
                <a:lnTo>
                  <a:pt x="244" y="165"/>
                </a:lnTo>
                <a:lnTo>
                  <a:pt x="244" y="159"/>
                </a:lnTo>
                <a:lnTo>
                  <a:pt x="250" y="159"/>
                </a:lnTo>
                <a:lnTo>
                  <a:pt x="261" y="165"/>
                </a:lnTo>
                <a:lnTo>
                  <a:pt x="261" y="170"/>
                </a:lnTo>
                <a:lnTo>
                  <a:pt x="267" y="170"/>
                </a:lnTo>
                <a:lnTo>
                  <a:pt x="272" y="176"/>
                </a:lnTo>
                <a:lnTo>
                  <a:pt x="278" y="176"/>
                </a:lnTo>
                <a:lnTo>
                  <a:pt x="278" y="182"/>
                </a:lnTo>
                <a:lnTo>
                  <a:pt x="284" y="182"/>
                </a:lnTo>
                <a:lnTo>
                  <a:pt x="289" y="182"/>
                </a:lnTo>
                <a:lnTo>
                  <a:pt x="295" y="187"/>
                </a:lnTo>
                <a:lnTo>
                  <a:pt x="306" y="193"/>
                </a:lnTo>
                <a:lnTo>
                  <a:pt x="306" y="199"/>
                </a:lnTo>
                <a:lnTo>
                  <a:pt x="312" y="199"/>
                </a:lnTo>
                <a:lnTo>
                  <a:pt x="312" y="204"/>
                </a:lnTo>
                <a:lnTo>
                  <a:pt x="318" y="210"/>
                </a:lnTo>
                <a:lnTo>
                  <a:pt x="323" y="210"/>
                </a:lnTo>
                <a:lnTo>
                  <a:pt x="329" y="216"/>
                </a:lnTo>
                <a:lnTo>
                  <a:pt x="335" y="221"/>
                </a:lnTo>
                <a:lnTo>
                  <a:pt x="340" y="221"/>
                </a:lnTo>
                <a:lnTo>
                  <a:pt x="340" y="227"/>
                </a:lnTo>
                <a:lnTo>
                  <a:pt x="340" y="233"/>
                </a:lnTo>
                <a:lnTo>
                  <a:pt x="335" y="238"/>
                </a:lnTo>
                <a:lnTo>
                  <a:pt x="329" y="244"/>
                </a:lnTo>
                <a:lnTo>
                  <a:pt x="329" y="250"/>
                </a:lnTo>
                <a:lnTo>
                  <a:pt x="329" y="255"/>
                </a:lnTo>
                <a:lnTo>
                  <a:pt x="335" y="255"/>
                </a:lnTo>
                <a:lnTo>
                  <a:pt x="335" y="267"/>
                </a:lnTo>
                <a:lnTo>
                  <a:pt x="340" y="267"/>
                </a:lnTo>
                <a:lnTo>
                  <a:pt x="346" y="272"/>
                </a:lnTo>
                <a:lnTo>
                  <a:pt x="352" y="272"/>
                </a:lnTo>
                <a:lnTo>
                  <a:pt x="357" y="267"/>
                </a:lnTo>
                <a:lnTo>
                  <a:pt x="363" y="267"/>
                </a:lnTo>
                <a:lnTo>
                  <a:pt x="369" y="267"/>
                </a:lnTo>
                <a:lnTo>
                  <a:pt x="374" y="267"/>
                </a:lnTo>
                <a:lnTo>
                  <a:pt x="374" y="261"/>
                </a:lnTo>
                <a:lnTo>
                  <a:pt x="380" y="261"/>
                </a:lnTo>
                <a:lnTo>
                  <a:pt x="386" y="255"/>
                </a:lnTo>
                <a:lnTo>
                  <a:pt x="391" y="255"/>
                </a:lnTo>
                <a:lnTo>
                  <a:pt x="397" y="255"/>
                </a:lnTo>
                <a:lnTo>
                  <a:pt x="397" y="250"/>
                </a:lnTo>
                <a:lnTo>
                  <a:pt x="403" y="250"/>
                </a:lnTo>
                <a:lnTo>
                  <a:pt x="408" y="244"/>
                </a:lnTo>
                <a:lnTo>
                  <a:pt x="408" y="238"/>
                </a:lnTo>
                <a:lnTo>
                  <a:pt x="414" y="238"/>
                </a:lnTo>
                <a:lnTo>
                  <a:pt x="414" y="233"/>
                </a:lnTo>
                <a:lnTo>
                  <a:pt x="420" y="233"/>
                </a:lnTo>
                <a:lnTo>
                  <a:pt x="420" y="227"/>
                </a:lnTo>
                <a:lnTo>
                  <a:pt x="425" y="227"/>
                </a:lnTo>
                <a:lnTo>
                  <a:pt x="431" y="221"/>
                </a:lnTo>
                <a:lnTo>
                  <a:pt x="437" y="221"/>
                </a:lnTo>
                <a:lnTo>
                  <a:pt x="442" y="216"/>
                </a:lnTo>
                <a:lnTo>
                  <a:pt x="442" y="210"/>
                </a:lnTo>
                <a:lnTo>
                  <a:pt x="448" y="204"/>
                </a:lnTo>
                <a:lnTo>
                  <a:pt x="448" y="199"/>
                </a:lnTo>
                <a:lnTo>
                  <a:pt x="454" y="193"/>
                </a:lnTo>
                <a:lnTo>
                  <a:pt x="454" y="187"/>
                </a:lnTo>
                <a:lnTo>
                  <a:pt x="459" y="182"/>
                </a:lnTo>
                <a:lnTo>
                  <a:pt x="459" y="176"/>
                </a:lnTo>
                <a:lnTo>
                  <a:pt x="459" y="170"/>
                </a:lnTo>
                <a:lnTo>
                  <a:pt x="448" y="170"/>
                </a:lnTo>
                <a:lnTo>
                  <a:pt x="448" y="165"/>
                </a:lnTo>
                <a:lnTo>
                  <a:pt x="442" y="165"/>
                </a:lnTo>
                <a:lnTo>
                  <a:pt x="437" y="159"/>
                </a:lnTo>
                <a:lnTo>
                  <a:pt x="437" y="153"/>
                </a:lnTo>
                <a:lnTo>
                  <a:pt x="431" y="153"/>
                </a:lnTo>
                <a:lnTo>
                  <a:pt x="431" y="148"/>
                </a:lnTo>
                <a:lnTo>
                  <a:pt x="425" y="142"/>
                </a:lnTo>
                <a:lnTo>
                  <a:pt x="420" y="142"/>
                </a:lnTo>
                <a:lnTo>
                  <a:pt x="420" y="136"/>
                </a:lnTo>
                <a:lnTo>
                  <a:pt x="420" y="131"/>
                </a:lnTo>
                <a:lnTo>
                  <a:pt x="414" y="131"/>
                </a:lnTo>
                <a:lnTo>
                  <a:pt x="414" y="125"/>
                </a:lnTo>
                <a:lnTo>
                  <a:pt x="414" y="114"/>
                </a:lnTo>
                <a:lnTo>
                  <a:pt x="414" y="102"/>
                </a:lnTo>
                <a:lnTo>
                  <a:pt x="408" y="97"/>
                </a:lnTo>
                <a:lnTo>
                  <a:pt x="403" y="91"/>
                </a:lnTo>
                <a:lnTo>
                  <a:pt x="397" y="91"/>
                </a:lnTo>
                <a:lnTo>
                  <a:pt x="391" y="85"/>
                </a:lnTo>
                <a:lnTo>
                  <a:pt x="391" y="80"/>
                </a:lnTo>
                <a:lnTo>
                  <a:pt x="397" y="74"/>
                </a:lnTo>
                <a:lnTo>
                  <a:pt x="403" y="68"/>
                </a:lnTo>
                <a:lnTo>
                  <a:pt x="403" y="63"/>
                </a:lnTo>
                <a:lnTo>
                  <a:pt x="403" y="57"/>
                </a:lnTo>
                <a:lnTo>
                  <a:pt x="408" y="57"/>
                </a:lnTo>
                <a:lnTo>
                  <a:pt x="414" y="57"/>
                </a:lnTo>
                <a:lnTo>
                  <a:pt x="420" y="57"/>
                </a:lnTo>
                <a:lnTo>
                  <a:pt x="425" y="57"/>
                </a:lnTo>
                <a:lnTo>
                  <a:pt x="431" y="57"/>
                </a:lnTo>
                <a:lnTo>
                  <a:pt x="437" y="63"/>
                </a:lnTo>
                <a:lnTo>
                  <a:pt x="437" y="68"/>
                </a:lnTo>
                <a:lnTo>
                  <a:pt x="442" y="68"/>
                </a:lnTo>
                <a:lnTo>
                  <a:pt x="442" y="74"/>
                </a:lnTo>
                <a:lnTo>
                  <a:pt x="442" y="80"/>
                </a:lnTo>
                <a:lnTo>
                  <a:pt x="448" y="80"/>
                </a:lnTo>
                <a:lnTo>
                  <a:pt x="448" y="74"/>
                </a:lnTo>
                <a:lnTo>
                  <a:pt x="454" y="68"/>
                </a:lnTo>
                <a:lnTo>
                  <a:pt x="459" y="68"/>
                </a:lnTo>
                <a:lnTo>
                  <a:pt x="459" y="63"/>
                </a:lnTo>
                <a:lnTo>
                  <a:pt x="471" y="57"/>
                </a:lnTo>
                <a:lnTo>
                  <a:pt x="476" y="57"/>
                </a:lnTo>
                <a:lnTo>
                  <a:pt x="476" y="51"/>
                </a:lnTo>
                <a:lnTo>
                  <a:pt x="482" y="51"/>
                </a:lnTo>
                <a:lnTo>
                  <a:pt x="488" y="46"/>
                </a:lnTo>
                <a:lnTo>
                  <a:pt x="493" y="46"/>
                </a:lnTo>
                <a:lnTo>
                  <a:pt x="499" y="40"/>
                </a:lnTo>
                <a:lnTo>
                  <a:pt x="505" y="40"/>
                </a:lnTo>
                <a:lnTo>
                  <a:pt x="510" y="40"/>
                </a:lnTo>
                <a:lnTo>
                  <a:pt x="510" y="34"/>
                </a:lnTo>
                <a:lnTo>
                  <a:pt x="516" y="29"/>
                </a:lnTo>
                <a:lnTo>
                  <a:pt x="522" y="29"/>
                </a:lnTo>
                <a:lnTo>
                  <a:pt x="527" y="29"/>
                </a:lnTo>
                <a:lnTo>
                  <a:pt x="527" y="23"/>
                </a:lnTo>
                <a:lnTo>
                  <a:pt x="533" y="23"/>
                </a:lnTo>
                <a:lnTo>
                  <a:pt x="539" y="17"/>
                </a:lnTo>
                <a:lnTo>
                  <a:pt x="544" y="17"/>
                </a:lnTo>
                <a:lnTo>
                  <a:pt x="550" y="17"/>
                </a:lnTo>
                <a:lnTo>
                  <a:pt x="556" y="6"/>
                </a:lnTo>
                <a:lnTo>
                  <a:pt x="561" y="6"/>
                </a:lnTo>
                <a:lnTo>
                  <a:pt x="567" y="6"/>
                </a:lnTo>
                <a:lnTo>
                  <a:pt x="584" y="6"/>
                </a:lnTo>
                <a:lnTo>
                  <a:pt x="590" y="6"/>
                </a:lnTo>
                <a:lnTo>
                  <a:pt x="601" y="0"/>
                </a:lnTo>
                <a:lnTo>
                  <a:pt x="601" y="6"/>
                </a:lnTo>
                <a:lnTo>
                  <a:pt x="601" y="17"/>
                </a:lnTo>
                <a:lnTo>
                  <a:pt x="607" y="29"/>
                </a:lnTo>
                <a:lnTo>
                  <a:pt x="612" y="46"/>
                </a:lnTo>
                <a:lnTo>
                  <a:pt x="612" y="51"/>
                </a:lnTo>
                <a:lnTo>
                  <a:pt x="618" y="68"/>
                </a:lnTo>
                <a:lnTo>
                  <a:pt x="624" y="80"/>
                </a:lnTo>
                <a:lnTo>
                  <a:pt x="624" y="91"/>
                </a:lnTo>
                <a:lnTo>
                  <a:pt x="624" y="97"/>
                </a:lnTo>
                <a:lnTo>
                  <a:pt x="624" y="114"/>
                </a:lnTo>
                <a:lnTo>
                  <a:pt x="629" y="125"/>
                </a:lnTo>
                <a:lnTo>
                  <a:pt x="629" y="131"/>
                </a:lnTo>
                <a:lnTo>
                  <a:pt x="624" y="142"/>
                </a:lnTo>
                <a:lnTo>
                  <a:pt x="618" y="153"/>
                </a:lnTo>
                <a:lnTo>
                  <a:pt x="618" y="165"/>
                </a:lnTo>
                <a:lnTo>
                  <a:pt x="612" y="170"/>
                </a:lnTo>
                <a:lnTo>
                  <a:pt x="612" y="182"/>
                </a:lnTo>
                <a:lnTo>
                  <a:pt x="612" y="193"/>
                </a:lnTo>
                <a:lnTo>
                  <a:pt x="607" y="199"/>
                </a:lnTo>
                <a:lnTo>
                  <a:pt x="601" y="210"/>
                </a:lnTo>
                <a:lnTo>
                  <a:pt x="601" y="216"/>
                </a:lnTo>
                <a:lnTo>
                  <a:pt x="595" y="221"/>
                </a:lnTo>
                <a:lnTo>
                  <a:pt x="595" y="227"/>
                </a:lnTo>
                <a:lnTo>
                  <a:pt x="595" y="238"/>
                </a:lnTo>
                <a:lnTo>
                  <a:pt x="590" y="250"/>
                </a:lnTo>
                <a:lnTo>
                  <a:pt x="590" y="261"/>
                </a:lnTo>
                <a:lnTo>
                  <a:pt x="584" y="267"/>
                </a:lnTo>
                <a:lnTo>
                  <a:pt x="590" y="267"/>
                </a:lnTo>
                <a:lnTo>
                  <a:pt x="584" y="267"/>
                </a:lnTo>
                <a:lnTo>
                  <a:pt x="578" y="278"/>
                </a:lnTo>
                <a:lnTo>
                  <a:pt x="573" y="284"/>
                </a:lnTo>
                <a:lnTo>
                  <a:pt x="573" y="295"/>
                </a:lnTo>
                <a:lnTo>
                  <a:pt x="573" y="301"/>
                </a:lnTo>
                <a:lnTo>
                  <a:pt x="573" y="312"/>
                </a:lnTo>
                <a:lnTo>
                  <a:pt x="573" y="318"/>
                </a:lnTo>
                <a:lnTo>
                  <a:pt x="567" y="323"/>
                </a:lnTo>
                <a:lnTo>
                  <a:pt x="556" y="335"/>
                </a:lnTo>
                <a:lnTo>
                  <a:pt x="550" y="340"/>
                </a:lnTo>
                <a:lnTo>
                  <a:pt x="550" y="352"/>
                </a:lnTo>
                <a:lnTo>
                  <a:pt x="556" y="363"/>
                </a:lnTo>
                <a:lnTo>
                  <a:pt x="556" y="374"/>
                </a:lnTo>
                <a:lnTo>
                  <a:pt x="550" y="380"/>
                </a:lnTo>
                <a:lnTo>
                  <a:pt x="544" y="380"/>
                </a:lnTo>
                <a:lnTo>
                  <a:pt x="539" y="391"/>
                </a:lnTo>
                <a:lnTo>
                  <a:pt x="539" y="403"/>
                </a:lnTo>
                <a:lnTo>
                  <a:pt x="544" y="408"/>
                </a:lnTo>
                <a:lnTo>
                  <a:pt x="544" y="414"/>
                </a:lnTo>
                <a:lnTo>
                  <a:pt x="539" y="420"/>
                </a:lnTo>
                <a:lnTo>
                  <a:pt x="527" y="420"/>
                </a:lnTo>
                <a:lnTo>
                  <a:pt x="527" y="425"/>
                </a:lnTo>
                <a:lnTo>
                  <a:pt x="522" y="431"/>
                </a:lnTo>
                <a:lnTo>
                  <a:pt x="510" y="431"/>
                </a:lnTo>
                <a:lnTo>
                  <a:pt x="505" y="431"/>
                </a:lnTo>
                <a:lnTo>
                  <a:pt x="499" y="431"/>
                </a:lnTo>
                <a:lnTo>
                  <a:pt x="488" y="431"/>
                </a:lnTo>
                <a:lnTo>
                  <a:pt x="476" y="431"/>
                </a:lnTo>
                <a:lnTo>
                  <a:pt x="471" y="437"/>
                </a:lnTo>
                <a:lnTo>
                  <a:pt x="459" y="437"/>
                </a:lnTo>
                <a:lnTo>
                  <a:pt x="459" y="448"/>
                </a:lnTo>
                <a:lnTo>
                  <a:pt x="454" y="454"/>
                </a:lnTo>
                <a:lnTo>
                  <a:pt x="448" y="448"/>
                </a:lnTo>
                <a:lnTo>
                  <a:pt x="442" y="448"/>
                </a:lnTo>
                <a:lnTo>
                  <a:pt x="437" y="448"/>
                </a:lnTo>
                <a:lnTo>
                  <a:pt x="431" y="454"/>
                </a:lnTo>
                <a:lnTo>
                  <a:pt x="431" y="459"/>
                </a:lnTo>
                <a:lnTo>
                  <a:pt x="431" y="465"/>
                </a:lnTo>
                <a:lnTo>
                  <a:pt x="431" y="471"/>
                </a:lnTo>
                <a:lnTo>
                  <a:pt x="431" y="477"/>
                </a:lnTo>
                <a:lnTo>
                  <a:pt x="420" y="482"/>
                </a:lnTo>
                <a:lnTo>
                  <a:pt x="420" y="488"/>
                </a:lnTo>
                <a:lnTo>
                  <a:pt x="414" y="488"/>
                </a:lnTo>
                <a:lnTo>
                  <a:pt x="408" y="488"/>
                </a:lnTo>
                <a:lnTo>
                  <a:pt x="403" y="482"/>
                </a:lnTo>
                <a:lnTo>
                  <a:pt x="397" y="482"/>
                </a:lnTo>
                <a:lnTo>
                  <a:pt x="391" y="488"/>
                </a:lnTo>
                <a:lnTo>
                  <a:pt x="386" y="488"/>
                </a:lnTo>
                <a:lnTo>
                  <a:pt x="386" y="494"/>
                </a:lnTo>
                <a:lnTo>
                  <a:pt x="380" y="494"/>
                </a:lnTo>
                <a:lnTo>
                  <a:pt x="374" y="499"/>
                </a:lnTo>
                <a:lnTo>
                  <a:pt x="369" y="499"/>
                </a:lnTo>
                <a:lnTo>
                  <a:pt x="363" y="494"/>
                </a:lnTo>
                <a:lnTo>
                  <a:pt x="357" y="488"/>
                </a:lnTo>
                <a:lnTo>
                  <a:pt x="352" y="482"/>
                </a:lnTo>
                <a:lnTo>
                  <a:pt x="346" y="477"/>
                </a:lnTo>
                <a:lnTo>
                  <a:pt x="340" y="482"/>
                </a:lnTo>
                <a:lnTo>
                  <a:pt x="335" y="482"/>
                </a:lnTo>
                <a:lnTo>
                  <a:pt x="335" y="488"/>
                </a:lnTo>
                <a:lnTo>
                  <a:pt x="335" y="494"/>
                </a:lnTo>
                <a:lnTo>
                  <a:pt x="329" y="494"/>
                </a:lnTo>
                <a:lnTo>
                  <a:pt x="329" y="499"/>
                </a:lnTo>
                <a:lnTo>
                  <a:pt x="318" y="505"/>
                </a:lnTo>
                <a:lnTo>
                  <a:pt x="312" y="505"/>
                </a:lnTo>
                <a:lnTo>
                  <a:pt x="306" y="511"/>
                </a:lnTo>
                <a:lnTo>
                  <a:pt x="306" y="516"/>
                </a:lnTo>
                <a:lnTo>
                  <a:pt x="301" y="516"/>
                </a:lnTo>
                <a:lnTo>
                  <a:pt x="295" y="516"/>
                </a:lnTo>
                <a:lnTo>
                  <a:pt x="289" y="522"/>
                </a:lnTo>
                <a:lnTo>
                  <a:pt x="278" y="528"/>
                </a:lnTo>
                <a:lnTo>
                  <a:pt x="267" y="528"/>
                </a:lnTo>
                <a:lnTo>
                  <a:pt x="267" y="533"/>
                </a:lnTo>
                <a:lnTo>
                  <a:pt x="261" y="533"/>
                </a:lnTo>
                <a:lnTo>
                  <a:pt x="255" y="533"/>
                </a:lnTo>
                <a:lnTo>
                  <a:pt x="250" y="533"/>
                </a:lnTo>
                <a:lnTo>
                  <a:pt x="244" y="528"/>
                </a:lnTo>
                <a:lnTo>
                  <a:pt x="238" y="528"/>
                </a:lnTo>
                <a:lnTo>
                  <a:pt x="233" y="522"/>
                </a:lnTo>
                <a:lnTo>
                  <a:pt x="227" y="522"/>
                </a:lnTo>
                <a:lnTo>
                  <a:pt x="221" y="516"/>
                </a:lnTo>
                <a:lnTo>
                  <a:pt x="210" y="516"/>
                </a:lnTo>
                <a:lnTo>
                  <a:pt x="204" y="511"/>
                </a:lnTo>
                <a:lnTo>
                  <a:pt x="199" y="511"/>
                </a:lnTo>
                <a:lnTo>
                  <a:pt x="193" y="511"/>
                </a:lnTo>
                <a:lnTo>
                  <a:pt x="193" y="505"/>
                </a:lnTo>
                <a:lnTo>
                  <a:pt x="176" y="494"/>
                </a:lnTo>
                <a:lnTo>
                  <a:pt x="170" y="488"/>
                </a:lnTo>
                <a:lnTo>
                  <a:pt x="165" y="488"/>
                </a:lnTo>
                <a:lnTo>
                  <a:pt x="159" y="488"/>
                </a:lnTo>
                <a:lnTo>
                  <a:pt x="153" y="488"/>
                </a:lnTo>
                <a:lnTo>
                  <a:pt x="142" y="488"/>
                </a:lnTo>
                <a:lnTo>
                  <a:pt x="142" y="482"/>
                </a:lnTo>
                <a:lnTo>
                  <a:pt x="136" y="477"/>
                </a:lnTo>
                <a:lnTo>
                  <a:pt x="136" y="471"/>
                </a:lnTo>
                <a:lnTo>
                  <a:pt x="136" y="459"/>
                </a:lnTo>
                <a:lnTo>
                  <a:pt x="136" y="448"/>
                </a:lnTo>
                <a:lnTo>
                  <a:pt x="131" y="442"/>
                </a:lnTo>
                <a:lnTo>
                  <a:pt x="125" y="425"/>
                </a:lnTo>
                <a:lnTo>
                  <a:pt x="125" y="420"/>
                </a:lnTo>
                <a:lnTo>
                  <a:pt x="125" y="414"/>
                </a:lnTo>
                <a:lnTo>
                  <a:pt x="125" y="408"/>
                </a:lnTo>
                <a:lnTo>
                  <a:pt x="125" y="403"/>
                </a:lnTo>
                <a:lnTo>
                  <a:pt x="131" y="408"/>
                </a:lnTo>
                <a:lnTo>
                  <a:pt x="136" y="408"/>
                </a:lnTo>
                <a:lnTo>
                  <a:pt x="142" y="408"/>
                </a:lnTo>
                <a:lnTo>
                  <a:pt x="148" y="403"/>
                </a:lnTo>
                <a:lnTo>
                  <a:pt x="148" y="397"/>
                </a:lnTo>
                <a:lnTo>
                  <a:pt x="142" y="397"/>
                </a:lnTo>
                <a:lnTo>
                  <a:pt x="136" y="391"/>
                </a:lnTo>
                <a:lnTo>
                  <a:pt x="131" y="391"/>
                </a:lnTo>
                <a:lnTo>
                  <a:pt x="125" y="391"/>
                </a:lnTo>
                <a:lnTo>
                  <a:pt x="119" y="386"/>
                </a:lnTo>
                <a:lnTo>
                  <a:pt x="114" y="386"/>
                </a:lnTo>
                <a:lnTo>
                  <a:pt x="108" y="386"/>
                </a:lnTo>
                <a:lnTo>
                  <a:pt x="102" y="380"/>
                </a:lnTo>
                <a:lnTo>
                  <a:pt x="97" y="380"/>
                </a:lnTo>
                <a:lnTo>
                  <a:pt x="97" y="374"/>
                </a:lnTo>
                <a:lnTo>
                  <a:pt x="80" y="357"/>
                </a:lnTo>
                <a:lnTo>
                  <a:pt x="74" y="357"/>
                </a:lnTo>
                <a:lnTo>
                  <a:pt x="74" y="352"/>
                </a:lnTo>
                <a:lnTo>
                  <a:pt x="74" y="346"/>
                </a:lnTo>
                <a:lnTo>
                  <a:pt x="74" y="340"/>
                </a:lnTo>
                <a:lnTo>
                  <a:pt x="74" y="329"/>
                </a:lnTo>
                <a:lnTo>
                  <a:pt x="63" y="318"/>
                </a:lnTo>
                <a:lnTo>
                  <a:pt x="57" y="312"/>
                </a:lnTo>
                <a:lnTo>
                  <a:pt x="51" y="312"/>
                </a:lnTo>
                <a:lnTo>
                  <a:pt x="51" y="306"/>
                </a:lnTo>
                <a:lnTo>
                  <a:pt x="46" y="295"/>
                </a:lnTo>
                <a:lnTo>
                  <a:pt x="40" y="284"/>
                </a:lnTo>
                <a:lnTo>
                  <a:pt x="34" y="284"/>
                </a:lnTo>
                <a:lnTo>
                  <a:pt x="34" y="278"/>
                </a:lnTo>
                <a:lnTo>
                  <a:pt x="34" y="272"/>
                </a:lnTo>
                <a:lnTo>
                  <a:pt x="34" y="267"/>
                </a:lnTo>
                <a:lnTo>
                  <a:pt x="34" y="261"/>
                </a:lnTo>
                <a:lnTo>
                  <a:pt x="29" y="261"/>
                </a:lnTo>
                <a:lnTo>
                  <a:pt x="23" y="261"/>
                </a:lnTo>
                <a:lnTo>
                  <a:pt x="12" y="244"/>
                </a:lnTo>
                <a:lnTo>
                  <a:pt x="12" y="233"/>
                </a:lnTo>
                <a:lnTo>
                  <a:pt x="6" y="233"/>
                </a:lnTo>
                <a:lnTo>
                  <a:pt x="6" y="221"/>
                </a:lnTo>
                <a:lnTo>
                  <a:pt x="0" y="221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5" name="Freeform 22"/>
          <p:cNvSpPr>
            <a:spLocks/>
          </p:cNvSpPr>
          <p:nvPr/>
        </p:nvSpPr>
        <p:spPr bwMode="gray">
          <a:xfrm>
            <a:off x="2235380" y="4525568"/>
            <a:ext cx="1036698" cy="1111145"/>
          </a:xfrm>
          <a:custGeom>
            <a:avLst/>
            <a:gdLst>
              <a:gd name="T0" fmla="*/ 2147483647 w 612"/>
              <a:gd name="T1" fmla="*/ 2147483647 h 657"/>
              <a:gd name="T2" fmla="*/ 0 w 612"/>
              <a:gd name="T3" fmla="*/ 2147483647 h 657"/>
              <a:gd name="T4" fmla="*/ 2147483647 w 612"/>
              <a:gd name="T5" fmla="*/ 2147483647 h 657"/>
              <a:gd name="T6" fmla="*/ 2147483647 w 612"/>
              <a:gd name="T7" fmla="*/ 2147483647 h 657"/>
              <a:gd name="T8" fmla="*/ 2147483647 w 612"/>
              <a:gd name="T9" fmla="*/ 2147483647 h 657"/>
              <a:gd name="T10" fmla="*/ 2147483647 w 612"/>
              <a:gd name="T11" fmla="*/ 2147483647 h 657"/>
              <a:gd name="T12" fmla="*/ 2147483647 w 612"/>
              <a:gd name="T13" fmla="*/ 2147483647 h 657"/>
              <a:gd name="T14" fmla="*/ 2147483647 w 612"/>
              <a:gd name="T15" fmla="*/ 2147483647 h 657"/>
              <a:gd name="T16" fmla="*/ 2147483647 w 612"/>
              <a:gd name="T17" fmla="*/ 2147483647 h 657"/>
              <a:gd name="T18" fmla="*/ 2147483647 w 612"/>
              <a:gd name="T19" fmla="*/ 2147483647 h 657"/>
              <a:gd name="T20" fmla="*/ 2147483647 w 612"/>
              <a:gd name="T21" fmla="*/ 2147483647 h 657"/>
              <a:gd name="T22" fmla="*/ 2147483647 w 612"/>
              <a:gd name="T23" fmla="*/ 2147483647 h 657"/>
              <a:gd name="T24" fmla="*/ 2147483647 w 612"/>
              <a:gd name="T25" fmla="*/ 2147483647 h 657"/>
              <a:gd name="T26" fmla="*/ 2147483647 w 612"/>
              <a:gd name="T27" fmla="*/ 2147483647 h 657"/>
              <a:gd name="T28" fmla="*/ 2147483647 w 612"/>
              <a:gd name="T29" fmla="*/ 2147483647 h 657"/>
              <a:gd name="T30" fmla="*/ 2147483647 w 612"/>
              <a:gd name="T31" fmla="*/ 2147483647 h 657"/>
              <a:gd name="T32" fmla="*/ 2147483647 w 612"/>
              <a:gd name="T33" fmla="*/ 2147483647 h 657"/>
              <a:gd name="T34" fmla="*/ 2147483647 w 612"/>
              <a:gd name="T35" fmla="*/ 2147483647 h 657"/>
              <a:gd name="T36" fmla="*/ 2147483647 w 612"/>
              <a:gd name="T37" fmla="*/ 2147483647 h 657"/>
              <a:gd name="T38" fmla="*/ 2147483647 w 612"/>
              <a:gd name="T39" fmla="*/ 2147483647 h 657"/>
              <a:gd name="T40" fmla="*/ 2147483647 w 612"/>
              <a:gd name="T41" fmla="*/ 2147483647 h 657"/>
              <a:gd name="T42" fmla="*/ 2147483647 w 612"/>
              <a:gd name="T43" fmla="*/ 2147483647 h 657"/>
              <a:gd name="T44" fmla="*/ 2147483647 w 612"/>
              <a:gd name="T45" fmla="*/ 2147483647 h 657"/>
              <a:gd name="T46" fmla="*/ 2147483647 w 612"/>
              <a:gd name="T47" fmla="*/ 2147483647 h 657"/>
              <a:gd name="T48" fmla="*/ 2147483647 w 612"/>
              <a:gd name="T49" fmla="*/ 2147483647 h 657"/>
              <a:gd name="T50" fmla="*/ 2147483647 w 612"/>
              <a:gd name="T51" fmla="*/ 2147483647 h 657"/>
              <a:gd name="T52" fmla="*/ 2147483647 w 612"/>
              <a:gd name="T53" fmla="*/ 2147483647 h 657"/>
              <a:gd name="T54" fmla="*/ 2147483647 w 612"/>
              <a:gd name="T55" fmla="*/ 2147483647 h 657"/>
              <a:gd name="T56" fmla="*/ 2147483647 w 612"/>
              <a:gd name="T57" fmla="*/ 2147483647 h 657"/>
              <a:gd name="T58" fmla="*/ 2147483647 w 612"/>
              <a:gd name="T59" fmla="*/ 2147483647 h 657"/>
              <a:gd name="T60" fmla="*/ 2147483647 w 612"/>
              <a:gd name="T61" fmla="*/ 2147483647 h 657"/>
              <a:gd name="T62" fmla="*/ 2147483647 w 612"/>
              <a:gd name="T63" fmla="*/ 2147483647 h 657"/>
              <a:gd name="T64" fmla="*/ 2147483647 w 612"/>
              <a:gd name="T65" fmla="*/ 2147483647 h 657"/>
              <a:gd name="T66" fmla="*/ 2147483647 w 612"/>
              <a:gd name="T67" fmla="*/ 2147483647 h 657"/>
              <a:gd name="T68" fmla="*/ 2147483647 w 612"/>
              <a:gd name="T69" fmla="*/ 2147483647 h 657"/>
              <a:gd name="T70" fmla="*/ 2147483647 w 612"/>
              <a:gd name="T71" fmla="*/ 2147483647 h 657"/>
              <a:gd name="T72" fmla="*/ 2147483647 w 612"/>
              <a:gd name="T73" fmla="*/ 2147483647 h 657"/>
              <a:gd name="T74" fmla="*/ 2147483647 w 612"/>
              <a:gd name="T75" fmla="*/ 2147483647 h 657"/>
              <a:gd name="T76" fmla="*/ 2147483647 w 612"/>
              <a:gd name="T77" fmla="*/ 2147483647 h 657"/>
              <a:gd name="T78" fmla="*/ 2147483647 w 612"/>
              <a:gd name="T79" fmla="*/ 2147483647 h 657"/>
              <a:gd name="T80" fmla="*/ 2147483647 w 612"/>
              <a:gd name="T81" fmla="*/ 2147483647 h 657"/>
              <a:gd name="T82" fmla="*/ 2147483647 w 612"/>
              <a:gd name="T83" fmla="*/ 2147483647 h 657"/>
              <a:gd name="T84" fmla="*/ 2147483647 w 612"/>
              <a:gd name="T85" fmla="*/ 2147483647 h 657"/>
              <a:gd name="T86" fmla="*/ 2147483647 w 612"/>
              <a:gd name="T87" fmla="*/ 2147483647 h 657"/>
              <a:gd name="T88" fmla="*/ 2147483647 w 612"/>
              <a:gd name="T89" fmla="*/ 2147483647 h 657"/>
              <a:gd name="T90" fmla="*/ 2147483647 w 612"/>
              <a:gd name="T91" fmla="*/ 2147483647 h 657"/>
              <a:gd name="T92" fmla="*/ 2147483647 w 612"/>
              <a:gd name="T93" fmla="*/ 2147483647 h 657"/>
              <a:gd name="T94" fmla="*/ 2147483647 w 612"/>
              <a:gd name="T95" fmla="*/ 2147483647 h 657"/>
              <a:gd name="T96" fmla="*/ 2147483647 w 612"/>
              <a:gd name="T97" fmla="*/ 2147483647 h 657"/>
              <a:gd name="T98" fmla="*/ 2147483647 w 612"/>
              <a:gd name="T99" fmla="*/ 2147483647 h 657"/>
              <a:gd name="T100" fmla="*/ 2147483647 w 612"/>
              <a:gd name="T101" fmla="*/ 2147483647 h 657"/>
              <a:gd name="T102" fmla="*/ 2147483647 w 612"/>
              <a:gd name="T103" fmla="*/ 2147483647 h 657"/>
              <a:gd name="T104" fmla="*/ 2147483647 w 612"/>
              <a:gd name="T105" fmla="*/ 2147483647 h 657"/>
              <a:gd name="T106" fmla="*/ 2147483647 w 612"/>
              <a:gd name="T107" fmla="*/ 2147483647 h 657"/>
              <a:gd name="T108" fmla="*/ 2147483647 w 612"/>
              <a:gd name="T109" fmla="*/ 2147483647 h 657"/>
              <a:gd name="T110" fmla="*/ 2147483647 w 612"/>
              <a:gd name="T111" fmla="*/ 2147483647 h 657"/>
              <a:gd name="T112" fmla="*/ 2147483647 w 612"/>
              <a:gd name="T113" fmla="*/ 2147483647 h 657"/>
              <a:gd name="T114" fmla="*/ 2147483647 w 612"/>
              <a:gd name="T115" fmla="*/ 2147483647 h 657"/>
              <a:gd name="T116" fmla="*/ 2147483647 w 612"/>
              <a:gd name="T117" fmla="*/ 2147483647 h 657"/>
              <a:gd name="T118" fmla="*/ 2147483647 w 612"/>
              <a:gd name="T119" fmla="*/ 2147483647 h 657"/>
              <a:gd name="T120" fmla="*/ 2147483647 w 612"/>
              <a:gd name="T121" fmla="*/ 2147483647 h 657"/>
              <a:gd name="T122" fmla="*/ 2147483647 w 612"/>
              <a:gd name="T123" fmla="*/ 2147483647 h 65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12"/>
              <a:gd name="T187" fmla="*/ 0 h 657"/>
              <a:gd name="T188" fmla="*/ 612 w 612"/>
              <a:gd name="T189" fmla="*/ 657 h 65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12" h="657">
                <a:moveTo>
                  <a:pt x="40" y="510"/>
                </a:moveTo>
                <a:lnTo>
                  <a:pt x="40" y="504"/>
                </a:lnTo>
                <a:lnTo>
                  <a:pt x="34" y="499"/>
                </a:lnTo>
                <a:lnTo>
                  <a:pt x="29" y="493"/>
                </a:lnTo>
                <a:lnTo>
                  <a:pt x="23" y="487"/>
                </a:lnTo>
                <a:lnTo>
                  <a:pt x="17" y="487"/>
                </a:lnTo>
                <a:lnTo>
                  <a:pt x="12" y="487"/>
                </a:lnTo>
                <a:lnTo>
                  <a:pt x="12" y="482"/>
                </a:lnTo>
                <a:lnTo>
                  <a:pt x="6" y="482"/>
                </a:lnTo>
                <a:lnTo>
                  <a:pt x="6" y="476"/>
                </a:lnTo>
                <a:lnTo>
                  <a:pt x="0" y="470"/>
                </a:lnTo>
                <a:lnTo>
                  <a:pt x="0" y="465"/>
                </a:lnTo>
                <a:lnTo>
                  <a:pt x="0" y="459"/>
                </a:lnTo>
                <a:lnTo>
                  <a:pt x="0" y="453"/>
                </a:lnTo>
                <a:lnTo>
                  <a:pt x="6" y="453"/>
                </a:lnTo>
                <a:lnTo>
                  <a:pt x="6" y="448"/>
                </a:lnTo>
                <a:lnTo>
                  <a:pt x="6" y="442"/>
                </a:lnTo>
                <a:lnTo>
                  <a:pt x="6" y="436"/>
                </a:lnTo>
                <a:lnTo>
                  <a:pt x="17" y="436"/>
                </a:lnTo>
                <a:lnTo>
                  <a:pt x="23" y="436"/>
                </a:lnTo>
                <a:lnTo>
                  <a:pt x="23" y="431"/>
                </a:lnTo>
                <a:lnTo>
                  <a:pt x="29" y="425"/>
                </a:lnTo>
                <a:lnTo>
                  <a:pt x="29" y="419"/>
                </a:lnTo>
                <a:lnTo>
                  <a:pt x="29" y="414"/>
                </a:lnTo>
                <a:lnTo>
                  <a:pt x="34" y="408"/>
                </a:lnTo>
                <a:lnTo>
                  <a:pt x="34" y="402"/>
                </a:lnTo>
                <a:lnTo>
                  <a:pt x="40" y="397"/>
                </a:lnTo>
                <a:lnTo>
                  <a:pt x="46" y="391"/>
                </a:lnTo>
                <a:lnTo>
                  <a:pt x="46" y="385"/>
                </a:lnTo>
                <a:lnTo>
                  <a:pt x="51" y="380"/>
                </a:lnTo>
                <a:lnTo>
                  <a:pt x="51" y="374"/>
                </a:lnTo>
                <a:lnTo>
                  <a:pt x="51" y="368"/>
                </a:lnTo>
                <a:lnTo>
                  <a:pt x="51" y="363"/>
                </a:lnTo>
                <a:lnTo>
                  <a:pt x="46" y="363"/>
                </a:lnTo>
                <a:lnTo>
                  <a:pt x="46" y="357"/>
                </a:lnTo>
                <a:lnTo>
                  <a:pt x="40" y="357"/>
                </a:lnTo>
                <a:lnTo>
                  <a:pt x="34" y="351"/>
                </a:lnTo>
                <a:lnTo>
                  <a:pt x="34" y="346"/>
                </a:lnTo>
                <a:lnTo>
                  <a:pt x="34" y="334"/>
                </a:lnTo>
                <a:lnTo>
                  <a:pt x="40" y="329"/>
                </a:lnTo>
                <a:lnTo>
                  <a:pt x="40" y="317"/>
                </a:lnTo>
                <a:lnTo>
                  <a:pt x="46" y="317"/>
                </a:lnTo>
                <a:lnTo>
                  <a:pt x="46" y="306"/>
                </a:lnTo>
                <a:lnTo>
                  <a:pt x="46" y="300"/>
                </a:lnTo>
                <a:lnTo>
                  <a:pt x="51" y="300"/>
                </a:lnTo>
                <a:lnTo>
                  <a:pt x="57" y="300"/>
                </a:lnTo>
                <a:lnTo>
                  <a:pt x="57" y="295"/>
                </a:lnTo>
                <a:lnTo>
                  <a:pt x="63" y="295"/>
                </a:lnTo>
                <a:lnTo>
                  <a:pt x="63" y="289"/>
                </a:lnTo>
                <a:lnTo>
                  <a:pt x="63" y="278"/>
                </a:lnTo>
                <a:lnTo>
                  <a:pt x="68" y="278"/>
                </a:lnTo>
                <a:lnTo>
                  <a:pt x="74" y="272"/>
                </a:lnTo>
                <a:lnTo>
                  <a:pt x="74" y="266"/>
                </a:lnTo>
                <a:lnTo>
                  <a:pt x="80" y="261"/>
                </a:lnTo>
                <a:lnTo>
                  <a:pt x="85" y="249"/>
                </a:lnTo>
                <a:lnTo>
                  <a:pt x="91" y="249"/>
                </a:lnTo>
                <a:lnTo>
                  <a:pt x="97" y="249"/>
                </a:lnTo>
                <a:lnTo>
                  <a:pt x="108" y="249"/>
                </a:lnTo>
                <a:lnTo>
                  <a:pt x="136" y="255"/>
                </a:lnTo>
                <a:lnTo>
                  <a:pt x="148" y="255"/>
                </a:lnTo>
                <a:lnTo>
                  <a:pt x="159" y="255"/>
                </a:lnTo>
                <a:lnTo>
                  <a:pt x="165" y="255"/>
                </a:lnTo>
                <a:lnTo>
                  <a:pt x="176" y="255"/>
                </a:lnTo>
                <a:lnTo>
                  <a:pt x="187" y="255"/>
                </a:lnTo>
                <a:lnTo>
                  <a:pt x="187" y="261"/>
                </a:lnTo>
                <a:lnTo>
                  <a:pt x="193" y="261"/>
                </a:lnTo>
                <a:lnTo>
                  <a:pt x="199" y="261"/>
                </a:lnTo>
                <a:lnTo>
                  <a:pt x="199" y="266"/>
                </a:lnTo>
                <a:lnTo>
                  <a:pt x="199" y="272"/>
                </a:lnTo>
                <a:lnTo>
                  <a:pt x="187" y="272"/>
                </a:lnTo>
                <a:lnTo>
                  <a:pt x="182" y="272"/>
                </a:lnTo>
                <a:lnTo>
                  <a:pt x="182" y="278"/>
                </a:lnTo>
                <a:lnTo>
                  <a:pt x="187" y="283"/>
                </a:lnTo>
                <a:lnTo>
                  <a:pt x="187" y="289"/>
                </a:lnTo>
                <a:lnTo>
                  <a:pt x="193" y="295"/>
                </a:lnTo>
                <a:lnTo>
                  <a:pt x="193" y="300"/>
                </a:lnTo>
                <a:lnTo>
                  <a:pt x="199" y="306"/>
                </a:lnTo>
                <a:lnTo>
                  <a:pt x="199" y="312"/>
                </a:lnTo>
                <a:lnTo>
                  <a:pt x="204" y="312"/>
                </a:lnTo>
                <a:lnTo>
                  <a:pt x="204" y="306"/>
                </a:lnTo>
                <a:lnTo>
                  <a:pt x="210" y="306"/>
                </a:lnTo>
                <a:lnTo>
                  <a:pt x="210" y="300"/>
                </a:lnTo>
                <a:lnTo>
                  <a:pt x="216" y="300"/>
                </a:lnTo>
                <a:lnTo>
                  <a:pt x="221" y="300"/>
                </a:lnTo>
                <a:lnTo>
                  <a:pt x="227" y="295"/>
                </a:lnTo>
                <a:lnTo>
                  <a:pt x="233" y="300"/>
                </a:lnTo>
                <a:lnTo>
                  <a:pt x="238" y="306"/>
                </a:lnTo>
                <a:lnTo>
                  <a:pt x="244" y="306"/>
                </a:lnTo>
                <a:lnTo>
                  <a:pt x="250" y="300"/>
                </a:lnTo>
                <a:lnTo>
                  <a:pt x="255" y="295"/>
                </a:lnTo>
                <a:lnTo>
                  <a:pt x="255" y="289"/>
                </a:lnTo>
                <a:lnTo>
                  <a:pt x="261" y="289"/>
                </a:lnTo>
                <a:lnTo>
                  <a:pt x="261" y="283"/>
                </a:lnTo>
                <a:lnTo>
                  <a:pt x="261" y="278"/>
                </a:lnTo>
                <a:lnTo>
                  <a:pt x="261" y="272"/>
                </a:lnTo>
                <a:lnTo>
                  <a:pt x="261" y="266"/>
                </a:lnTo>
                <a:lnTo>
                  <a:pt x="261" y="261"/>
                </a:lnTo>
                <a:lnTo>
                  <a:pt x="267" y="261"/>
                </a:lnTo>
                <a:lnTo>
                  <a:pt x="272" y="261"/>
                </a:lnTo>
                <a:lnTo>
                  <a:pt x="272" y="255"/>
                </a:lnTo>
                <a:lnTo>
                  <a:pt x="272" y="249"/>
                </a:lnTo>
                <a:lnTo>
                  <a:pt x="278" y="244"/>
                </a:lnTo>
                <a:lnTo>
                  <a:pt x="284" y="238"/>
                </a:lnTo>
                <a:lnTo>
                  <a:pt x="284" y="232"/>
                </a:lnTo>
                <a:lnTo>
                  <a:pt x="284" y="227"/>
                </a:lnTo>
                <a:lnTo>
                  <a:pt x="284" y="221"/>
                </a:lnTo>
                <a:lnTo>
                  <a:pt x="284" y="215"/>
                </a:lnTo>
                <a:lnTo>
                  <a:pt x="284" y="210"/>
                </a:lnTo>
                <a:lnTo>
                  <a:pt x="284" y="204"/>
                </a:lnTo>
                <a:lnTo>
                  <a:pt x="289" y="198"/>
                </a:lnTo>
                <a:lnTo>
                  <a:pt x="289" y="193"/>
                </a:lnTo>
                <a:lnTo>
                  <a:pt x="295" y="193"/>
                </a:lnTo>
                <a:lnTo>
                  <a:pt x="295" y="187"/>
                </a:lnTo>
                <a:lnTo>
                  <a:pt x="301" y="181"/>
                </a:lnTo>
                <a:lnTo>
                  <a:pt x="301" y="176"/>
                </a:lnTo>
                <a:lnTo>
                  <a:pt x="306" y="176"/>
                </a:lnTo>
                <a:lnTo>
                  <a:pt x="306" y="170"/>
                </a:lnTo>
                <a:lnTo>
                  <a:pt x="312" y="159"/>
                </a:lnTo>
                <a:lnTo>
                  <a:pt x="312" y="153"/>
                </a:lnTo>
                <a:lnTo>
                  <a:pt x="312" y="147"/>
                </a:lnTo>
                <a:lnTo>
                  <a:pt x="318" y="142"/>
                </a:lnTo>
                <a:lnTo>
                  <a:pt x="318" y="136"/>
                </a:lnTo>
                <a:lnTo>
                  <a:pt x="318" y="130"/>
                </a:lnTo>
                <a:lnTo>
                  <a:pt x="318" y="125"/>
                </a:lnTo>
                <a:lnTo>
                  <a:pt x="318" y="119"/>
                </a:lnTo>
                <a:lnTo>
                  <a:pt x="323" y="119"/>
                </a:lnTo>
                <a:lnTo>
                  <a:pt x="329" y="108"/>
                </a:lnTo>
                <a:lnTo>
                  <a:pt x="329" y="102"/>
                </a:lnTo>
                <a:lnTo>
                  <a:pt x="329" y="96"/>
                </a:lnTo>
                <a:lnTo>
                  <a:pt x="335" y="96"/>
                </a:lnTo>
                <a:lnTo>
                  <a:pt x="340" y="91"/>
                </a:lnTo>
                <a:lnTo>
                  <a:pt x="346" y="91"/>
                </a:lnTo>
                <a:lnTo>
                  <a:pt x="346" y="85"/>
                </a:lnTo>
                <a:lnTo>
                  <a:pt x="346" y="79"/>
                </a:lnTo>
                <a:lnTo>
                  <a:pt x="346" y="74"/>
                </a:lnTo>
                <a:lnTo>
                  <a:pt x="346" y="68"/>
                </a:lnTo>
                <a:lnTo>
                  <a:pt x="346" y="62"/>
                </a:lnTo>
                <a:lnTo>
                  <a:pt x="346" y="57"/>
                </a:lnTo>
                <a:lnTo>
                  <a:pt x="352" y="57"/>
                </a:lnTo>
                <a:lnTo>
                  <a:pt x="352" y="51"/>
                </a:lnTo>
                <a:lnTo>
                  <a:pt x="346" y="51"/>
                </a:lnTo>
                <a:lnTo>
                  <a:pt x="346" y="45"/>
                </a:lnTo>
                <a:lnTo>
                  <a:pt x="340" y="45"/>
                </a:lnTo>
                <a:lnTo>
                  <a:pt x="340" y="40"/>
                </a:lnTo>
                <a:lnTo>
                  <a:pt x="340" y="34"/>
                </a:lnTo>
                <a:lnTo>
                  <a:pt x="340" y="28"/>
                </a:lnTo>
                <a:lnTo>
                  <a:pt x="346" y="28"/>
                </a:lnTo>
                <a:lnTo>
                  <a:pt x="346" y="23"/>
                </a:lnTo>
                <a:lnTo>
                  <a:pt x="352" y="23"/>
                </a:lnTo>
                <a:lnTo>
                  <a:pt x="357" y="23"/>
                </a:lnTo>
                <a:lnTo>
                  <a:pt x="363" y="17"/>
                </a:lnTo>
                <a:lnTo>
                  <a:pt x="363" y="11"/>
                </a:lnTo>
                <a:lnTo>
                  <a:pt x="369" y="11"/>
                </a:lnTo>
                <a:lnTo>
                  <a:pt x="369" y="6"/>
                </a:lnTo>
                <a:lnTo>
                  <a:pt x="374" y="6"/>
                </a:lnTo>
                <a:lnTo>
                  <a:pt x="380" y="0"/>
                </a:lnTo>
                <a:lnTo>
                  <a:pt x="386" y="0"/>
                </a:lnTo>
                <a:lnTo>
                  <a:pt x="386" y="6"/>
                </a:lnTo>
                <a:lnTo>
                  <a:pt x="386" y="11"/>
                </a:lnTo>
                <a:lnTo>
                  <a:pt x="391" y="11"/>
                </a:lnTo>
                <a:lnTo>
                  <a:pt x="391" y="17"/>
                </a:lnTo>
                <a:lnTo>
                  <a:pt x="397" y="17"/>
                </a:lnTo>
                <a:lnTo>
                  <a:pt x="403" y="11"/>
                </a:lnTo>
                <a:lnTo>
                  <a:pt x="408" y="17"/>
                </a:lnTo>
                <a:lnTo>
                  <a:pt x="408" y="23"/>
                </a:lnTo>
                <a:lnTo>
                  <a:pt x="403" y="28"/>
                </a:lnTo>
                <a:lnTo>
                  <a:pt x="397" y="28"/>
                </a:lnTo>
                <a:lnTo>
                  <a:pt x="397" y="40"/>
                </a:lnTo>
                <a:lnTo>
                  <a:pt x="397" y="45"/>
                </a:lnTo>
                <a:lnTo>
                  <a:pt x="397" y="51"/>
                </a:lnTo>
                <a:lnTo>
                  <a:pt x="403" y="51"/>
                </a:lnTo>
                <a:lnTo>
                  <a:pt x="408" y="51"/>
                </a:lnTo>
                <a:lnTo>
                  <a:pt x="414" y="51"/>
                </a:lnTo>
                <a:lnTo>
                  <a:pt x="420" y="51"/>
                </a:lnTo>
                <a:lnTo>
                  <a:pt x="425" y="51"/>
                </a:lnTo>
                <a:lnTo>
                  <a:pt x="431" y="51"/>
                </a:lnTo>
                <a:lnTo>
                  <a:pt x="437" y="45"/>
                </a:lnTo>
                <a:lnTo>
                  <a:pt x="442" y="40"/>
                </a:lnTo>
                <a:lnTo>
                  <a:pt x="454" y="40"/>
                </a:lnTo>
                <a:lnTo>
                  <a:pt x="459" y="45"/>
                </a:lnTo>
                <a:lnTo>
                  <a:pt x="465" y="51"/>
                </a:lnTo>
                <a:lnTo>
                  <a:pt x="471" y="51"/>
                </a:lnTo>
                <a:lnTo>
                  <a:pt x="471" y="57"/>
                </a:lnTo>
                <a:lnTo>
                  <a:pt x="471" y="62"/>
                </a:lnTo>
                <a:lnTo>
                  <a:pt x="476" y="62"/>
                </a:lnTo>
                <a:lnTo>
                  <a:pt x="476" y="68"/>
                </a:lnTo>
                <a:lnTo>
                  <a:pt x="482" y="68"/>
                </a:lnTo>
                <a:lnTo>
                  <a:pt x="488" y="68"/>
                </a:lnTo>
                <a:lnTo>
                  <a:pt x="493" y="68"/>
                </a:lnTo>
                <a:lnTo>
                  <a:pt x="499" y="68"/>
                </a:lnTo>
                <a:lnTo>
                  <a:pt x="499" y="74"/>
                </a:lnTo>
                <a:lnTo>
                  <a:pt x="499" y="79"/>
                </a:lnTo>
                <a:lnTo>
                  <a:pt x="499" y="85"/>
                </a:lnTo>
                <a:lnTo>
                  <a:pt x="505" y="85"/>
                </a:lnTo>
                <a:lnTo>
                  <a:pt x="510" y="85"/>
                </a:lnTo>
                <a:lnTo>
                  <a:pt x="516" y="85"/>
                </a:lnTo>
                <a:lnTo>
                  <a:pt x="522" y="79"/>
                </a:lnTo>
                <a:lnTo>
                  <a:pt x="522" y="85"/>
                </a:lnTo>
                <a:lnTo>
                  <a:pt x="522" y="91"/>
                </a:lnTo>
                <a:lnTo>
                  <a:pt x="527" y="96"/>
                </a:lnTo>
                <a:lnTo>
                  <a:pt x="527" y="102"/>
                </a:lnTo>
                <a:lnTo>
                  <a:pt x="527" y="108"/>
                </a:lnTo>
                <a:lnTo>
                  <a:pt x="533" y="108"/>
                </a:lnTo>
                <a:lnTo>
                  <a:pt x="533" y="113"/>
                </a:lnTo>
                <a:lnTo>
                  <a:pt x="539" y="113"/>
                </a:lnTo>
                <a:lnTo>
                  <a:pt x="544" y="113"/>
                </a:lnTo>
                <a:lnTo>
                  <a:pt x="550" y="113"/>
                </a:lnTo>
                <a:lnTo>
                  <a:pt x="550" y="108"/>
                </a:lnTo>
                <a:lnTo>
                  <a:pt x="556" y="108"/>
                </a:lnTo>
                <a:lnTo>
                  <a:pt x="567" y="108"/>
                </a:lnTo>
                <a:lnTo>
                  <a:pt x="573" y="108"/>
                </a:lnTo>
                <a:lnTo>
                  <a:pt x="578" y="102"/>
                </a:lnTo>
                <a:lnTo>
                  <a:pt x="584" y="108"/>
                </a:lnTo>
                <a:lnTo>
                  <a:pt x="590" y="108"/>
                </a:lnTo>
                <a:lnTo>
                  <a:pt x="595" y="108"/>
                </a:lnTo>
                <a:lnTo>
                  <a:pt x="595" y="113"/>
                </a:lnTo>
                <a:lnTo>
                  <a:pt x="595" y="119"/>
                </a:lnTo>
                <a:lnTo>
                  <a:pt x="601" y="125"/>
                </a:lnTo>
                <a:lnTo>
                  <a:pt x="601" y="130"/>
                </a:lnTo>
                <a:lnTo>
                  <a:pt x="607" y="130"/>
                </a:lnTo>
                <a:lnTo>
                  <a:pt x="607" y="136"/>
                </a:lnTo>
                <a:lnTo>
                  <a:pt x="607" y="142"/>
                </a:lnTo>
                <a:lnTo>
                  <a:pt x="607" y="147"/>
                </a:lnTo>
                <a:lnTo>
                  <a:pt x="612" y="153"/>
                </a:lnTo>
                <a:lnTo>
                  <a:pt x="612" y="159"/>
                </a:lnTo>
                <a:lnTo>
                  <a:pt x="607" y="164"/>
                </a:lnTo>
                <a:lnTo>
                  <a:pt x="607" y="176"/>
                </a:lnTo>
                <a:lnTo>
                  <a:pt x="607" y="181"/>
                </a:lnTo>
                <a:lnTo>
                  <a:pt x="607" y="187"/>
                </a:lnTo>
                <a:lnTo>
                  <a:pt x="601" y="187"/>
                </a:lnTo>
                <a:lnTo>
                  <a:pt x="601" y="193"/>
                </a:lnTo>
                <a:lnTo>
                  <a:pt x="595" y="204"/>
                </a:lnTo>
                <a:lnTo>
                  <a:pt x="595" y="210"/>
                </a:lnTo>
                <a:lnTo>
                  <a:pt x="595" y="221"/>
                </a:lnTo>
                <a:lnTo>
                  <a:pt x="595" y="232"/>
                </a:lnTo>
                <a:lnTo>
                  <a:pt x="590" y="238"/>
                </a:lnTo>
                <a:lnTo>
                  <a:pt x="590" y="244"/>
                </a:lnTo>
                <a:lnTo>
                  <a:pt x="584" y="249"/>
                </a:lnTo>
                <a:lnTo>
                  <a:pt x="584" y="255"/>
                </a:lnTo>
                <a:lnTo>
                  <a:pt x="578" y="261"/>
                </a:lnTo>
                <a:lnTo>
                  <a:pt x="578" y="266"/>
                </a:lnTo>
                <a:lnTo>
                  <a:pt x="578" y="272"/>
                </a:lnTo>
                <a:lnTo>
                  <a:pt x="578" y="278"/>
                </a:lnTo>
                <a:lnTo>
                  <a:pt x="578" y="283"/>
                </a:lnTo>
                <a:lnTo>
                  <a:pt x="578" y="289"/>
                </a:lnTo>
                <a:lnTo>
                  <a:pt x="578" y="300"/>
                </a:lnTo>
                <a:lnTo>
                  <a:pt x="578" y="306"/>
                </a:lnTo>
                <a:lnTo>
                  <a:pt x="578" y="317"/>
                </a:lnTo>
                <a:lnTo>
                  <a:pt x="584" y="329"/>
                </a:lnTo>
                <a:lnTo>
                  <a:pt x="584" y="334"/>
                </a:lnTo>
                <a:lnTo>
                  <a:pt x="584" y="340"/>
                </a:lnTo>
                <a:lnTo>
                  <a:pt x="590" y="346"/>
                </a:lnTo>
                <a:lnTo>
                  <a:pt x="590" y="351"/>
                </a:lnTo>
                <a:lnTo>
                  <a:pt x="590" y="357"/>
                </a:lnTo>
                <a:lnTo>
                  <a:pt x="590" y="368"/>
                </a:lnTo>
                <a:lnTo>
                  <a:pt x="590" y="374"/>
                </a:lnTo>
                <a:lnTo>
                  <a:pt x="595" y="385"/>
                </a:lnTo>
                <a:lnTo>
                  <a:pt x="590" y="385"/>
                </a:lnTo>
                <a:lnTo>
                  <a:pt x="584" y="385"/>
                </a:lnTo>
                <a:lnTo>
                  <a:pt x="573" y="391"/>
                </a:lnTo>
                <a:lnTo>
                  <a:pt x="567" y="391"/>
                </a:lnTo>
                <a:lnTo>
                  <a:pt x="550" y="391"/>
                </a:lnTo>
                <a:lnTo>
                  <a:pt x="544" y="391"/>
                </a:lnTo>
                <a:lnTo>
                  <a:pt x="539" y="391"/>
                </a:lnTo>
                <a:lnTo>
                  <a:pt x="533" y="402"/>
                </a:lnTo>
                <a:lnTo>
                  <a:pt x="527" y="402"/>
                </a:lnTo>
                <a:lnTo>
                  <a:pt x="522" y="402"/>
                </a:lnTo>
                <a:lnTo>
                  <a:pt x="516" y="408"/>
                </a:lnTo>
                <a:lnTo>
                  <a:pt x="510" y="408"/>
                </a:lnTo>
                <a:lnTo>
                  <a:pt x="510" y="414"/>
                </a:lnTo>
                <a:lnTo>
                  <a:pt x="505" y="414"/>
                </a:lnTo>
                <a:lnTo>
                  <a:pt x="499" y="414"/>
                </a:lnTo>
                <a:lnTo>
                  <a:pt x="493" y="419"/>
                </a:lnTo>
                <a:lnTo>
                  <a:pt x="493" y="425"/>
                </a:lnTo>
                <a:lnTo>
                  <a:pt x="488" y="425"/>
                </a:lnTo>
                <a:lnTo>
                  <a:pt x="482" y="425"/>
                </a:lnTo>
                <a:lnTo>
                  <a:pt x="476" y="431"/>
                </a:lnTo>
                <a:lnTo>
                  <a:pt x="471" y="431"/>
                </a:lnTo>
                <a:lnTo>
                  <a:pt x="465" y="436"/>
                </a:lnTo>
                <a:lnTo>
                  <a:pt x="459" y="436"/>
                </a:lnTo>
                <a:lnTo>
                  <a:pt x="459" y="442"/>
                </a:lnTo>
                <a:lnTo>
                  <a:pt x="454" y="442"/>
                </a:lnTo>
                <a:lnTo>
                  <a:pt x="442" y="448"/>
                </a:lnTo>
                <a:lnTo>
                  <a:pt x="442" y="453"/>
                </a:lnTo>
                <a:lnTo>
                  <a:pt x="437" y="453"/>
                </a:lnTo>
                <a:lnTo>
                  <a:pt x="431" y="459"/>
                </a:lnTo>
                <a:lnTo>
                  <a:pt x="431" y="465"/>
                </a:lnTo>
                <a:lnTo>
                  <a:pt x="425" y="465"/>
                </a:lnTo>
                <a:lnTo>
                  <a:pt x="425" y="459"/>
                </a:lnTo>
                <a:lnTo>
                  <a:pt x="425" y="453"/>
                </a:lnTo>
                <a:lnTo>
                  <a:pt x="420" y="453"/>
                </a:lnTo>
                <a:lnTo>
                  <a:pt x="420" y="448"/>
                </a:lnTo>
                <a:lnTo>
                  <a:pt x="414" y="442"/>
                </a:lnTo>
                <a:lnTo>
                  <a:pt x="408" y="442"/>
                </a:lnTo>
                <a:lnTo>
                  <a:pt x="403" y="442"/>
                </a:lnTo>
                <a:lnTo>
                  <a:pt x="397" y="442"/>
                </a:lnTo>
                <a:lnTo>
                  <a:pt x="391" y="442"/>
                </a:lnTo>
                <a:lnTo>
                  <a:pt x="386" y="442"/>
                </a:lnTo>
                <a:lnTo>
                  <a:pt x="386" y="448"/>
                </a:lnTo>
                <a:lnTo>
                  <a:pt x="386" y="453"/>
                </a:lnTo>
                <a:lnTo>
                  <a:pt x="380" y="459"/>
                </a:lnTo>
                <a:lnTo>
                  <a:pt x="374" y="465"/>
                </a:lnTo>
                <a:lnTo>
                  <a:pt x="374" y="470"/>
                </a:lnTo>
                <a:lnTo>
                  <a:pt x="380" y="476"/>
                </a:lnTo>
                <a:lnTo>
                  <a:pt x="386" y="476"/>
                </a:lnTo>
                <a:lnTo>
                  <a:pt x="391" y="482"/>
                </a:lnTo>
                <a:lnTo>
                  <a:pt x="397" y="487"/>
                </a:lnTo>
                <a:lnTo>
                  <a:pt x="397" y="499"/>
                </a:lnTo>
                <a:lnTo>
                  <a:pt x="397" y="510"/>
                </a:lnTo>
                <a:lnTo>
                  <a:pt x="397" y="516"/>
                </a:lnTo>
                <a:lnTo>
                  <a:pt x="403" y="516"/>
                </a:lnTo>
                <a:lnTo>
                  <a:pt x="403" y="521"/>
                </a:lnTo>
                <a:lnTo>
                  <a:pt x="403" y="527"/>
                </a:lnTo>
                <a:lnTo>
                  <a:pt x="408" y="527"/>
                </a:lnTo>
                <a:lnTo>
                  <a:pt x="414" y="533"/>
                </a:lnTo>
                <a:lnTo>
                  <a:pt x="414" y="538"/>
                </a:lnTo>
                <a:lnTo>
                  <a:pt x="420" y="538"/>
                </a:lnTo>
                <a:lnTo>
                  <a:pt x="420" y="544"/>
                </a:lnTo>
                <a:lnTo>
                  <a:pt x="425" y="550"/>
                </a:lnTo>
                <a:lnTo>
                  <a:pt x="431" y="550"/>
                </a:lnTo>
                <a:lnTo>
                  <a:pt x="431" y="555"/>
                </a:lnTo>
                <a:lnTo>
                  <a:pt x="442" y="555"/>
                </a:lnTo>
                <a:lnTo>
                  <a:pt x="442" y="561"/>
                </a:lnTo>
                <a:lnTo>
                  <a:pt x="442" y="567"/>
                </a:lnTo>
                <a:lnTo>
                  <a:pt x="437" y="572"/>
                </a:lnTo>
                <a:lnTo>
                  <a:pt x="437" y="578"/>
                </a:lnTo>
                <a:lnTo>
                  <a:pt x="431" y="584"/>
                </a:lnTo>
                <a:lnTo>
                  <a:pt x="431" y="589"/>
                </a:lnTo>
                <a:lnTo>
                  <a:pt x="425" y="595"/>
                </a:lnTo>
                <a:lnTo>
                  <a:pt x="425" y="601"/>
                </a:lnTo>
                <a:lnTo>
                  <a:pt x="420" y="606"/>
                </a:lnTo>
                <a:lnTo>
                  <a:pt x="414" y="606"/>
                </a:lnTo>
                <a:lnTo>
                  <a:pt x="408" y="612"/>
                </a:lnTo>
                <a:lnTo>
                  <a:pt x="403" y="612"/>
                </a:lnTo>
                <a:lnTo>
                  <a:pt x="403" y="618"/>
                </a:lnTo>
                <a:lnTo>
                  <a:pt x="397" y="618"/>
                </a:lnTo>
                <a:lnTo>
                  <a:pt x="397" y="623"/>
                </a:lnTo>
                <a:lnTo>
                  <a:pt x="391" y="623"/>
                </a:lnTo>
                <a:lnTo>
                  <a:pt x="391" y="629"/>
                </a:lnTo>
                <a:lnTo>
                  <a:pt x="386" y="635"/>
                </a:lnTo>
                <a:lnTo>
                  <a:pt x="380" y="635"/>
                </a:lnTo>
                <a:lnTo>
                  <a:pt x="380" y="640"/>
                </a:lnTo>
                <a:lnTo>
                  <a:pt x="374" y="640"/>
                </a:lnTo>
                <a:lnTo>
                  <a:pt x="369" y="640"/>
                </a:lnTo>
                <a:lnTo>
                  <a:pt x="363" y="646"/>
                </a:lnTo>
                <a:lnTo>
                  <a:pt x="357" y="646"/>
                </a:lnTo>
                <a:lnTo>
                  <a:pt x="357" y="652"/>
                </a:lnTo>
                <a:lnTo>
                  <a:pt x="352" y="652"/>
                </a:lnTo>
                <a:lnTo>
                  <a:pt x="346" y="652"/>
                </a:lnTo>
                <a:lnTo>
                  <a:pt x="340" y="652"/>
                </a:lnTo>
                <a:lnTo>
                  <a:pt x="335" y="657"/>
                </a:lnTo>
                <a:lnTo>
                  <a:pt x="329" y="657"/>
                </a:lnTo>
                <a:lnTo>
                  <a:pt x="323" y="652"/>
                </a:lnTo>
                <a:lnTo>
                  <a:pt x="318" y="652"/>
                </a:lnTo>
                <a:lnTo>
                  <a:pt x="318" y="640"/>
                </a:lnTo>
                <a:lnTo>
                  <a:pt x="312" y="640"/>
                </a:lnTo>
                <a:lnTo>
                  <a:pt x="312" y="635"/>
                </a:lnTo>
                <a:lnTo>
                  <a:pt x="312" y="629"/>
                </a:lnTo>
                <a:lnTo>
                  <a:pt x="318" y="623"/>
                </a:lnTo>
                <a:lnTo>
                  <a:pt x="323" y="618"/>
                </a:lnTo>
                <a:lnTo>
                  <a:pt x="323" y="612"/>
                </a:lnTo>
                <a:lnTo>
                  <a:pt x="323" y="606"/>
                </a:lnTo>
                <a:lnTo>
                  <a:pt x="318" y="606"/>
                </a:lnTo>
                <a:lnTo>
                  <a:pt x="312" y="601"/>
                </a:lnTo>
                <a:lnTo>
                  <a:pt x="306" y="595"/>
                </a:lnTo>
                <a:lnTo>
                  <a:pt x="301" y="595"/>
                </a:lnTo>
                <a:lnTo>
                  <a:pt x="295" y="589"/>
                </a:lnTo>
                <a:lnTo>
                  <a:pt x="295" y="584"/>
                </a:lnTo>
                <a:lnTo>
                  <a:pt x="289" y="584"/>
                </a:lnTo>
                <a:lnTo>
                  <a:pt x="289" y="578"/>
                </a:lnTo>
                <a:lnTo>
                  <a:pt x="278" y="572"/>
                </a:lnTo>
                <a:lnTo>
                  <a:pt x="272" y="567"/>
                </a:lnTo>
                <a:lnTo>
                  <a:pt x="267" y="567"/>
                </a:lnTo>
                <a:lnTo>
                  <a:pt x="261" y="567"/>
                </a:lnTo>
                <a:lnTo>
                  <a:pt x="261" y="561"/>
                </a:lnTo>
                <a:lnTo>
                  <a:pt x="255" y="561"/>
                </a:lnTo>
                <a:lnTo>
                  <a:pt x="250" y="555"/>
                </a:lnTo>
                <a:lnTo>
                  <a:pt x="244" y="555"/>
                </a:lnTo>
                <a:lnTo>
                  <a:pt x="244" y="550"/>
                </a:lnTo>
                <a:lnTo>
                  <a:pt x="233" y="544"/>
                </a:lnTo>
                <a:lnTo>
                  <a:pt x="227" y="544"/>
                </a:lnTo>
                <a:lnTo>
                  <a:pt x="227" y="550"/>
                </a:lnTo>
                <a:lnTo>
                  <a:pt x="221" y="550"/>
                </a:lnTo>
                <a:lnTo>
                  <a:pt x="216" y="555"/>
                </a:lnTo>
                <a:lnTo>
                  <a:pt x="210" y="555"/>
                </a:lnTo>
                <a:lnTo>
                  <a:pt x="204" y="555"/>
                </a:lnTo>
                <a:lnTo>
                  <a:pt x="204" y="561"/>
                </a:lnTo>
                <a:lnTo>
                  <a:pt x="199" y="561"/>
                </a:lnTo>
                <a:lnTo>
                  <a:pt x="199" y="567"/>
                </a:lnTo>
                <a:lnTo>
                  <a:pt x="193" y="567"/>
                </a:lnTo>
                <a:lnTo>
                  <a:pt x="187" y="567"/>
                </a:lnTo>
                <a:lnTo>
                  <a:pt x="182" y="567"/>
                </a:lnTo>
                <a:lnTo>
                  <a:pt x="176" y="561"/>
                </a:lnTo>
                <a:lnTo>
                  <a:pt x="176" y="555"/>
                </a:lnTo>
                <a:lnTo>
                  <a:pt x="165" y="555"/>
                </a:lnTo>
                <a:lnTo>
                  <a:pt x="159" y="561"/>
                </a:lnTo>
                <a:lnTo>
                  <a:pt x="159" y="555"/>
                </a:lnTo>
                <a:lnTo>
                  <a:pt x="153" y="555"/>
                </a:lnTo>
                <a:lnTo>
                  <a:pt x="148" y="555"/>
                </a:lnTo>
                <a:lnTo>
                  <a:pt x="148" y="561"/>
                </a:lnTo>
                <a:lnTo>
                  <a:pt x="142" y="561"/>
                </a:lnTo>
                <a:lnTo>
                  <a:pt x="136" y="561"/>
                </a:lnTo>
                <a:lnTo>
                  <a:pt x="136" y="555"/>
                </a:lnTo>
                <a:lnTo>
                  <a:pt x="131" y="555"/>
                </a:lnTo>
                <a:lnTo>
                  <a:pt x="125" y="555"/>
                </a:lnTo>
                <a:lnTo>
                  <a:pt x="119" y="555"/>
                </a:lnTo>
                <a:lnTo>
                  <a:pt x="114" y="555"/>
                </a:lnTo>
                <a:lnTo>
                  <a:pt x="114" y="561"/>
                </a:lnTo>
                <a:lnTo>
                  <a:pt x="114" y="567"/>
                </a:lnTo>
                <a:lnTo>
                  <a:pt x="119" y="567"/>
                </a:lnTo>
                <a:lnTo>
                  <a:pt x="119" y="572"/>
                </a:lnTo>
                <a:lnTo>
                  <a:pt x="119" y="578"/>
                </a:lnTo>
                <a:lnTo>
                  <a:pt x="119" y="584"/>
                </a:lnTo>
                <a:lnTo>
                  <a:pt x="114" y="584"/>
                </a:lnTo>
                <a:lnTo>
                  <a:pt x="108" y="584"/>
                </a:lnTo>
                <a:lnTo>
                  <a:pt x="102" y="589"/>
                </a:lnTo>
                <a:lnTo>
                  <a:pt x="102" y="595"/>
                </a:lnTo>
                <a:lnTo>
                  <a:pt x="97" y="595"/>
                </a:lnTo>
                <a:lnTo>
                  <a:pt x="91" y="595"/>
                </a:lnTo>
                <a:lnTo>
                  <a:pt x="85" y="589"/>
                </a:lnTo>
                <a:lnTo>
                  <a:pt x="85" y="584"/>
                </a:lnTo>
                <a:lnTo>
                  <a:pt x="80" y="584"/>
                </a:lnTo>
                <a:lnTo>
                  <a:pt x="80" y="578"/>
                </a:lnTo>
                <a:lnTo>
                  <a:pt x="80" y="572"/>
                </a:lnTo>
                <a:lnTo>
                  <a:pt x="80" y="567"/>
                </a:lnTo>
                <a:lnTo>
                  <a:pt x="80" y="555"/>
                </a:lnTo>
                <a:lnTo>
                  <a:pt x="85" y="555"/>
                </a:lnTo>
                <a:lnTo>
                  <a:pt x="85" y="550"/>
                </a:lnTo>
                <a:lnTo>
                  <a:pt x="80" y="544"/>
                </a:lnTo>
                <a:lnTo>
                  <a:pt x="74" y="544"/>
                </a:lnTo>
                <a:lnTo>
                  <a:pt x="74" y="538"/>
                </a:lnTo>
                <a:lnTo>
                  <a:pt x="74" y="533"/>
                </a:lnTo>
                <a:lnTo>
                  <a:pt x="68" y="527"/>
                </a:lnTo>
                <a:lnTo>
                  <a:pt x="63" y="527"/>
                </a:lnTo>
                <a:lnTo>
                  <a:pt x="63" y="521"/>
                </a:lnTo>
                <a:lnTo>
                  <a:pt x="57" y="521"/>
                </a:lnTo>
                <a:lnTo>
                  <a:pt x="57" y="516"/>
                </a:lnTo>
                <a:lnTo>
                  <a:pt x="51" y="516"/>
                </a:lnTo>
                <a:lnTo>
                  <a:pt x="46" y="510"/>
                </a:lnTo>
                <a:lnTo>
                  <a:pt x="40" y="51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6" name="Freeform 23"/>
          <p:cNvSpPr>
            <a:spLocks/>
          </p:cNvSpPr>
          <p:nvPr/>
        </p:nvSpPr>
        <p:spPr bwMode="gray">
          <a:xfrm>
            <a:off x="3387087" y="4823601"/>
            <a:ext cx="971904" cy="709448"/>
          </a:xfrm>
          <a:custGeom>
            <a:avLst/>
            <a:gdLst>
              <a:gd name="T0" fmla="*/ 2147483647 w 573"/>
              <a:gd name="T1" fmla="*/ 2147483647 h 419"/>
              <a:gd name="T2" fmla="*/ 2147483647 w 573"/>
              <a:gd name="T3" fmla="*/ 2147483647 h 419"/>
              <a:gd name="T4" fmla="*/ 2147483647 w 573"/>
              <a:gd name="T5" fmla="*/ 2147483647 h 419"/>
              <a:gd name="T6" fmla="*/ 2147483647 w 573"/>
              <a:gd name="T7" fmla="*/ 2147483647 h 419"/>
              <a:gd name="T8" fmla="*/ 2147483647 w 573"/>
              <a:gd name="T9" fmla="*/ 2147483647 h 419"/>
              <a:gd name="T10" fmla="*/ 2147483647 w 573"/>
              <a:gd name="T11" fmla="*/ 2147483647 h 419"/>
              <a:gd name="T12" fmla="*/ 2147483647 w 573"/>
              <a:gd name="T13" fmla="*/ 2147483647 h 419"/>
              <a:gd name="T14" fmla="*/ 2147483647 w 573"/>
              <a:gd name="T15" fmla="*/ 2147483647 h 419"/>
              <a:gd name="T16" fmla="*/ 2147483647 w 573"/>
              <a:gd name="T17" fmla="*/ 2147483647 h 419"/>
              <a:gd name="T18" fmla="*/ 2147483647 w 573"/>
              <a:gd name="T19" fmla="*/ 2147483647 h 419"/>
              <a:gd name="T20" fmla="*/ 2147483647 w 573"/>
              <a:gd name="T21" fmla="*/ 2147483647 h 419"/>
              <a:gd name="T22" fmla="*/ 0 w 573"/>
              <a:gd name="T23" fmla="*/ 2147483647 h 419"/>
              <a:gd name="T24" fmla="*/ 2147483647 w 573"/>
              <a:gd name="T25" fmla="*/ 2147483647 h 419"/>
              <a:gd name="T26" fmla="*/ 2147483647 w 573"/>
              <a:gd name="T27" fmla="*/ 2147483647 h 419"/>
              <a:gd name="T28" fmla="*/ 2147483647 w 573"/>
              <a:gd name="T29" fmla="*/ 2147483647 h 419"/>
              <a:gd name="T30" fmla="*/ 2147483647 w 573"/>
              <a:gd name="T31" fmla="*/ 2147483647 h 419"/>
              <a:gd name="T32" fmla="*/ 2147483647 w 573"/>
              <a:gd name="T33" fmla="*/ 2147483647 h 419"/>
              <a:gd name="T34" fmla="*/ 2147483647 w 573"/>
              <a:gd name="T35" fmla="*/ 2147483647 h 419"/>
              <a:gd name="T36" fmla="*/ 2147483647 w 573"/>
              <a:gd name="T37" fmla="*/ 2147483647 h 419"/>
              <a:gd name="T38" fmla="*/ 2147483647 w 573"/>
              <a:gd name="T39" fmla="*/ 0 h 419"/>
              <a:gd name="T40" fmla="*/ 2147483647 w 573"/>
              <a:gd name="T41" fmla="*/ 2147483647 h 419"/>
              <a:gd name="T42" fmla="*/ 2147483647 w 573"/>
              <a:gd name="T43" fmla="*/ 2147483647 h 419"/>
              <a:gd name="T44" fmla="*/ 2147483647 w 573"/>
              <a:gd name="T45" fmla="*/ 2147483647 h 419"/>
              <a:gd name="T46" fmla="*/ 2147483647 w 573"/>
              <a:gd name="T47" fmla="*/ 2147483647 h 419"/>
              <a:gd name="T48" fmla="*/ 2147483647 w 573"/>
              <a:gd name="T49" fmla="*/ 2147483647 h 419"/>
              <a:gd name="T50" fmla="*/ 2147483647 w 573"/>
              <a:gd name="T51" fmla="*/ 2147483647 h 419"/>
              <a:gd name="T52" fmla="*/ 2147483647 w 573"/>
              <a:gd name="T53" fmla="*/ 2147483647 h 419"/>
              <a:gd name="T54" fmla="*/ 2147483647 w 573"/>
              <a:gd name="T55" fmla="*/ 2147483647 h 419"/>
              <a:gd name="T56" fmla="*/ 2147483647 w 573"/>
              <a:gd name="T57" fmla="*/ 2147483647 h 419"/>
              <a:gd name="T58" fmla="*/ 2147483647 w 573"/>
              <a:gd name="T59" fmla="*/ 2147483647 h 419"/>
              <a:gd name="T60" fmla="*/ 2147483647 w 573"/>
              <a:gd name="T61" fmla="*/ 2147483647 h 419"/>
              <a:gd name="T62" fmla="*/ 2147483647 w 573"/>
              <a:gd name="T63" fmla="*/ 2147483647 h 419"/>
              <a:gd name="T64" fmla="*/ 2147483647 w 573"/>
              <a:gd name="T65" fmla="*/ 2147483647 h 419"/>
              <a:gd name="T66" fmla="*/ 2147483647 w 573"/>
              <a:gd name="T67" fmla="*/ 2147483647 h 419"/>
              <a:gd name="T68" fmla="*/ 2147483647 w 573"/>
              <a:gd name="T69" fmla="*/ 2147483647 h 419"/>
              <a:gd name="T70" fmla="*/ 2147483647 w 573"/>
              <a:gd name="T71" fmla="*/ 2147483647 h 419"/>
              <a:gd name="T72" fmla="*/ 2147483647 w 573"/>
              <a:gd name="T73" fmla="*/ 2147483647 h 419"/>
              <a:gd name="T74" fmla="*/ 2147483647 w 573"/>
              <a:gd name="T75" fmla="*/ 2147483647 h 419"/>
              <a:gd name="T76" fmla="*/ 2147483647 w 573"/>
              <a:gd name="T77" fmla="*/ 2147483647 h 419"/>
              <a:gd name="T78" fmla="*/ 2147483647 w 573"/>
              <a:gd name="T79" fmla="*/ 2147483647 h 419"/>
              <a:gd name="T80" fmla="*/ 2147483647 w 573"/>
              <a:gd name="T81" fmla="*/ 2147483647 h 419"/>
              <a:gd name="T82" fmla="*/ 2147483647 w 573"/>
              <a:gd name="T83" fmla="*/ 2147483647 h 419"/>
              <a:gd name="T84" fmla="*/ 2147483647 w 573"/>
              <a:gd name="T85" fmla="*/ 2147483647 h 419"/>
              <a:gd name="T86" fmla="*/ 2147483647 w 573"/>
              <a:gd name="T87" fmla="*/ 2147483647 h 419"/>
              <a:gd name="T88" fmla="*/ 2147483647 w 573"/>
              <a:gd name="T89" fmla="*/ 2147483647 h 419"/>
              <a:gd name="T90" fmla="*/ 2147483647 w 573"/>
              <a:gd name="T91" fmla="*/ 2147483647 h 419"/>
              <a:gd name="T92" fmla="*/ 2147483647 w 573"/>
              <a:gd name="T93" fmla="*/ 2147483647 h 419"/>
              <a:gd name="T94" fmla="*/ 2147483647 w 573"/>
              <a:gd name="T95" fmla="*/ 2147483647 h 419"/>
              <a:gd name="T96" fmla="*/ 2147483647 w 573"/>
              <a:gd name="T97" fmla="*/ 2147483647 h 419"/>
              <a:gd name="T98" fmla="*/ 2147483647 w 573"/>
              <a:gd name="T99" fmla="*/ 2147483647 h 419"/>
              <a:gd name="T100" fmla="*/ 2147483647 w 573"/>
              <a:gd name="T101" fmla="*/ 2147483647 h 419"/>
              <a:gd name="T102" fmla="*/ 2147483647 w 573"/>
              <a:gd name="T103" fmla="*/ 2147483647 h 419"/>
              <a:gd name="T104" fmla="*/ 2147483647 w 573"/>
              <a:gd name="T105" fmla="*/ 2147483647 h 419"/>
              <a:gd name="T106" fmla="*/ 2147483647 w 573"/>
              <a:gd name="T107" fmla="*/ 2147483647 h 419"/>
              <a:gd name="T108" fmla="*/ 2147483647 w 573"/>
              <a:gd name="T109" fmla="*/ 2147483647 h 419"/>
              <a:gd name="T110" fmla="*/ 2147483647 w 573"/>
              <a:gd name="T111" fmla="*/ 2147483647 h 419"/>
              <a:gd name="T112" fmla="*/ 2147483647 w 573"/>
              <a:gd name="T113" fmla="*/ 2147483647 h 419"/>
              <a:gd name="T114" fmla="*/ 2147483647 w 573"/>
              <a:gd name="T115" fmla="*/ 2147483647 h 419"/>
              <a:gd name="T116" fmla="*/ 2147483647 w 573"/>
              <a:gd name="T117" fmla="*/ 2147483647 h 419"/>
              <a:gd name="T118" fmla="*/ 2147483647 w 573"/>
              <a:gd name="T119" fmla="*/ 2147483647 h 41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73"/>
              <a:gd name="T181" fmla="*/ 0 h 419"/>
              <a:gd name="T182" fmla="*/ 573 w 573"/>
              <a:gd name="T183" fmla="*/ 419 h 41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73" h="419">
                <a:moveTo>
                  <a:pt x="153" y="374"/>
                </a:moveTo>
                <a:lnTo>
                  <a:pt x="148" y="374"/>
                </a:lnTo>
                <a:lnTo>
                  <a:pt x="142" y="374"/>
                </a:lnTo>
                <a:lnTo>
                  <a:pt x="136" y="374"/>
                </a:lnTo>
                <a:lnTo>
                  <a:pt x="131" y="374"/>
                </a:lnTo>
                <a:lnTo>
                  <a:pt x="125" y="374"/>
                </a:lnTo>
                <a:lnTo>
                  <a:pt x="125" y="368"/>
                </a:lnTo>
                <a:lnTo>
                  <a:pt x="119" y="368"/>
                </a:lnTo>
                <a:lnTo>
                  <a:pt x="114" y="362"/>
                </a:lnTo>
                <a:lnTo>
                  <a:pt x="114" y="351"/>
                </a:lnTo>
                <a:lnTo>
                  <a:pt x="108" y="345"/>
                </a:lnTo>
                <a:lnTo>
                  <a:pt x="108" y="340"/>
                </a:lnTo>
                <a:lnTo>
                  <a:pt x="108" y="328"/>
                </a:lnTo>
                <a:lnTo>
                  <a:pt x="108" y="323"/>
                </a:lnTo>
                <a:lnTo>
                  <a:pt x="102" y="323"/>
                </a:lnTo>
                <a:lnTo>
                  <a:pt x="97" y="323"/>
                </a:lnTo>
                <a:lnTo>
                  <a:pt x="97" y="317"/>
                </a:lnTo>
                <a:lnTo>
                  <a:pt x="97" y="311"/>
                </a:lnTo>
                <a:lnTo>
                  <a:pt x="97" y="306"/>
                </a:lnTo>
                <a:lnTo>
                  <a:pt x="91" y="306"/>
                </a:lnTo>
                <a:lnTo>
                  <a:pt x="85" y="306"/>
                </a:lnTo>
                <a:lnTo>
                  <a:pt x="80" y="306"/>
                </a:lnTo>
                <a:lnTo>
                  <a:pt x="80" y="300"/>
                </a:lnTo>
                <a:lnTo>
                  <a:pt x="80" y="294"/>
                </a:lnTo>
                <a:lnTo>
                  <a:pt x="80" y="289"/>
                </a:lnTo>
                <a:lnTo>
                  <a:pt x="85" y="283"/>
                </a:lnTo>
                <a:lnTo>
                  <a:pt x="85" y="277"/>
                </a:lnTo>
                <a:lnTo>
                  <a:pt x="80" y="277"/>
                </a:lnTo>
                <a:lnTo>
                  <a:pt x="80" y="266"/>
                </a:lnTo>
                <a:lnTo>
                  <a:pt x="80" y="260"/>
                </a:lnTo>
                <a:lnTo>
                  <a:pt x="74" y="255"/>
                </a:lnTo>
                <a:lnTo>
                  <a:pt x="68" y="255"/>
                </a:lnTo>
                <a:lnTo>
                  <a:pt x="68" y="249"/>
                </a:lnTo>
                <a:lnTo>
                  <a:pt x="63" y="249"/>
                </a:lnTo>
                <a:lnTo>
                  <a:pt x="57" y="243"/>
                </a:lnTo>
                <a:lnTo>
                  <a:pt x="57" y="238"/>
                </a:lnTo>
                <a:lnTo>
                  <a:pt x="51" y="238"/>
                </a:lnTo>
                <a:lnTo>
                  <a:pt x="46" y="238"/>
                </a:lnTo>
                <a:lnTo>
                  <a:pt x="40" y="238"/>
                </a:lnTo>
                <a:lnTo>
                  <a:pt x="40" y="232"/>
                </a:lnTo>
                <a:lnTo>
                  <a:pt x="40" y="226"/>
                </a:lnTo>
                <a:lnTo>
                  <a:pt x="40" y="221"/>
                </a:lnTo>
                <a:lnTo>
                  <a:pt x="46" y="221"/>
                </a:lnTo>
                <a:lnTo>
                  <a:pt x="40" y="215"/>
                </a:lnTo>
                <a:lnTo>
                  <a:pt x="40" y="209"/>
                </a:lnTo>
                <a:lnTo>
                  <a:pt x="46" y="204"/>
                </a:lnTo>
                <a:lnTo>
                  <a:pt x="46" y="198"/>
                </a:lnTo>
                <a:lnTo>
                  <a:pt x="51" y="192"/>
                </a:lnTo>
                <a:lnTo>
                  <a:pt x="57" y="187"/>
                </a:lnTo>
                <a:lnTo>
                  <a:pt x="63" y="187"/>
                </a:lnTo>
                <a:lnTo>
                  <a:pt x="63" y="181"/>
                </a:lnTo>
                <a:lnTo>
                  <a:pt x="68" y="181"/>
                </a:lnTo>
                <a:lnTo>
                  <a:pt x="68" y="175"/>
                </a:lnTo>
                <a:lnTo>
                  <a:pt x="68" y="170"/>
                </a:lnTo>
                <a:lnTo>
                  <a:pt x="74" y="164"/>
                </a:lnTo>
                <a:lnTo>
                  <a:pt x="74" y="158"/>
                </a:lnTo>
                <a:lnTo>
                  <a:pt x="68" y="153"/>
                </a:lnTo>
                <a:lnTo>
                  <a:pt x="63" y="153"/>
                </a:lnTo>
                <a:lnTo>
                  <a:pt x="57" y="147"/>
                </a:lnTo>
                <a:lnTo>
                  <a:pt x="51" y="147"/>
                </a:lnTo>
                <a:lnTo>
                  <a:pt x="46" y="147"/>
                </a:lnTo>
                <a:lnTo>
                  <a:pt x="40" y="141"/>
                </a:lnTo>
                <a:lnTo>
                  <a:pt x="34" y="141"/>
                </a:lnTo>
                <a:lnTo>
                  <a:pt x="29" y="136"/>
                </a:lnTo>
                <a:lnTo>
                  <a:pt x="23" y="136"/>
                </a:lnTo>
                <a:lnTo>
                  <a:pt x="17" y="136"/>
                </a:lnTo>
                <a:lnTo>
                  <a:pt x="12" y="136"/>
                </a:lnTo>
                <a:lnTo>
                  <a:pt x="12" y="141"/>
                </a:lnTo>
                <a:lnTo>
                  <a:pt x="6" y="141"/>
                </a:lnTo>
                <a:lnTo>
                  <a:pt x="0" y="141"/>
                </a:lnTo>
                <a:lnTo>
                  <a:pt x="0" y="136"/>
                </a:lnTo>
                <a:lnTo>
                  <a:pt x="0" y="130"/>
                </a:lnTo>
                <a:lnTo>
                  <a:pt x="0" y="124"/>
                </a:lnTo>
                <a:lnTo>
                  <a:pt x="0" y="119"/>
                </a:lnTo>
                <a:lnTo>
                  <a:pt x="0" y="113"/>
                </a:lnTo>
                <a:lnTo>
                  <a:pt x="6" y="113"/>
                </a:lnTo>
                <a:lnTo>
                  <a:pt x="6" y="107"/>
                </a:lnTo>
                <a:lnTo>
                  <a:pt x="12" y="102"/>
                </a:lnTo>
                <a:lnTo>
                  <a:pt x="12" y="96"/>
                </a:lnTo>
                <a:lnTo>
                  <a:pt x="12" y="90"/>
                </a:lnTo>
                <a:lnTo>
                  <a:pt x="12" y="85"/>
                </a:lnTo>
                <a:lnTo>
                  <a:pt x="17" y="85"/>
                </a:lnTo>
                <a:lnTo>
                  <a:pt x="23" y="90"/>
                </a:lnTo>
                <a:lnTo>
                  <a:pt x="23" y="96"/>
                </a:lnTo>
                <a:lnTo>
                  <a:pt x="23" y="102"/>
                </a:lnTo>
                <a:lnTo>
                  <a:pt x="29" y="102"/>
                </a:lnTo>
                <a:lnTo>
                  <a:pt x="29" y="107"/>
                </a:lnTo>
                <a:lnTo>
                  <a:pt x="29" y="113"/>
                </a:lnTo>
                <a:lnTo>
                  <a:pt x="34" y="113"/>
                </a:lnTo>
                <a:lnTo>
                  <a:pt x="40" y="113"/>
                </a:lnTo>
                <a:lnTo>
                  <a:pt x="46" y="113"/>
                </a:lnTo>
                <a:lnTo>
                  <a:pt x="51" y="107"/>
                </a:lnTo>
                <a:lnTo>
                  <a:pt x="57" y="102"/>
                </a:lnTo>
                <a:lnTo>
                  <a:pt x="63" y="96"/>
                </a:lnTo>
                <a:lnTo>
                  <a:pt x="68" y="96"/>
                </a:lnTo>
                <a:lnTo>
                  <a:pt x="68" y="90"/>
                </a:lnTo>
                <a:lnTo>
                  <a:pt x="80" y="85"/>
                </a:lnTo>
                <a:lnTo>
                  <a:pt x="85" y="79"/>
                </a:lnTo>
                <a:lnTo>
                  <a:pt x="91" y="73"/>
                </a:lnTo>
                <a:lnTo>
                  <a:pt x="97" y="73"/>
                </a:lnTo>
                <a:lnTo>
                  <a:pt x="97" y="62"/>
                </a:lnTo>
                <a:lnTo>
                  <a:pt x="102" y="62"/>
                </a:lnTo>
                <a:lnTo>
                  <a:pt x="108" y="56"/>
                </a:lnTo>
                <a:lnTo>
                  <a:pt x="114" y="56"/>
                </a:lnTo>
                <a:lnTo>
                  <a:pt x="114" y="51"/>
                </a:lnTo>
                <a:lnTo>
                  <a:pt x="125" y="45"/>
                </a:lnTo>
                <a:lnTo>
                  <a:pt x="125" y="39"/>
                </a:lnTo>
                <a:lnTo>
                  <a:pt x="125" y="34"/>
                </a:lnTo>
                <a:lnTo>
                  <a:pt x="131" y="34"/>
                </a:lnTo>
                <a:lnTo>
                  <a:pt x="136" y="28"/>
                </a:lnTo>
                <a:lnTo>
                  <a:pt x="142" y="28"/>
                </a:lnTo>
                <a:lnTo>
                  <a:pt x="142" y="22"/>
                </a:lnTo>
                <a:lnTo>
                  <a:pt x="148" y="17"/>
                </a:lnTo>
                <a:lnTo>
                  <a:pt x="153" y="17"/>
                </a:lnTo>
                <a:lnTo>
                  <a:pt x="153" y="11"/>
                </a:lnTo>
                <a:lnTo>
                  <a:pt x="159" y="11"/>
                </a:lnTo>
                <a:lnTo>
                  <a:pt x="159" y="5"/>
                </a:lnTo>
                <a:lnTo>
                  <a:pt x="165" y="5"/>
                </a:lnTo>
                <a:lnTo>
                  <a:pt x="165" y="0"/>
                </a:lnTo>
                <a:lnTo>
                  <a:pt x="171" y="0"/>
                </a:lnTo>
                <a:lnTo>
                  <a:pt x="182" y="0"/>
                </a:lnTo>
                <a:lnTo>
                  <a:pt x="188" y="0"/>
                </a:lnTo>
                <a:lnTo>
                  <a:pt x="193" y="0"/>
                </a:lnTo>
                <a:lnTo>
                  <a:pt x="199" y="0"/>
                </a:lnTo>
                <a:lnTo>
                  <a:pt x="205" y="5"/>
                </a:lnTo>
                <a:lnTo>
                  <a:pt x="210" y="11"/>
                </a:lnTo>
                <a:lnTo>
                  <a:pt x="216" y="22"/>
                </a:lnTo>
                <a:lnTo>
                  <a:pt x="222" y="28"/>
                </a:lnTo>
                <a:lnTo>
                  <a:pt x="222" y="34"/>
                </a:lnTo>
                <a:lnTo>
                  <a:pt x="222" y="39"/>
                </a:lnTo>
                <a:lnTo>
                  <a:pt x="222" y="45"/>
                </a:lnTo>
                <a:lnTo>
                  <a:pt x="227" y="45"/>
                </a:lnTo>
                <a:lnTo>
                  <a:pt x="233" y="51"/>
                </a:lnTo>
                <a:lnTo>
                  <a:pt x="233" y="56"/>
                </a:lnTo>
                <a:lnTo>
                  <a:pt x="239" y="56"/>
                </a:lnTo>
                <a:lnTo>
                  <a:pt x="239" y="62"/>
                </a:lnTo>
                <a:lnTo>
                  <a:pt x="244" y="62"/>
                </a:lnTo>
                <a:lnTo>
                  <a:pt x="250" y="68"/>
                </a:lnTo>
                <a:lnTo>
                  <a:pt x="250" y="73"/>
                </a:lnTo>
                <a:lnTo>
                  <a:pt x="256" y="79"/>
                </a:lnTo>
                <a:lnTo>
                  <a:pt x="261" y="85"/>
                </a:lnTo>
                <a:lnTo>
                  <a:pt x="267" y="90"/>
                </a:lnTo>
                <a:lnTo>
                  <a:pt x="273" y="90"/>
                </a:lnTo>
                <a:lnTo>
                  <a:pt x="284" y="90"/>
                </a:lnTo>
                <a:lnTo>
                  <a:pt x="290" y="90"/>
                </a:lnTo>
                <a:lnTo>
                  <a:pt x="290" y="85"/>
                </a:lnTo>
                <a:lnTo>
                  <a:pt x="295" y="85"/>
                </a:lnTo>
                <a:lnTo>
                  <a:pt x="301" y="85"/>
                </a:lnTo>
                <a:lnTo>
                  <a:pt x="307" y="79"/>
                </a:lnTo>
                <a:lnTo>
                  <a:pt x="312" y="79"/>
                </a:lnTo>
                <a:lnTo>
                  <a:pt x="318" y="79"/>
                </a:lnTo>
                <a:lnTo>
                  <a:pt x="324" y="79"/>
                </a:lnTo>
                <a:lnTo>
                  <a:pt x="324" y="85"/>
                </a:lnTo>
                <a:lnTo>
                  <a:pt x="329" y="90"/>
                </a:lnTo>
                <a:lnTo>
                  <a:pt x="335" y="90"/>
                </a:lnTo>
                <a:lnTo>
                  <a:pt x="335" y="96"/>
                </a:lnTo>
                <a:lnTo>
                  <a:pt x="341" y="102"/>
                </a:lnTo>
                <a:lnTo>
                  <a:pt x="346" y="113"/>
                </a:lnTo>
                <a:lnTo>
                  <a:pt x="346" y="119"/>
                </a:lnTo>
                <a:lnTo>
                  <a:pt x="346" y="124"/>
                </a:lnTo>
                <a:lnTo>
                  <a:pt x="346" y="130"/>
                </a:lnTo>
                <a:lnTo>
                  <a:pt x="346" y="136"/>
                </a:lnTo>
                <a:lnTo>
                  <a:pt x="341" y="141"/>
                </a:lnTo>
                <a:lnTo>
                  <a:pt x="335" y="147"/>
                </a:lnTo>
                <a:lnTo>
                  <a:pt x="335" y="153"/>
                </a:lnTo>
                <a:lnTo>
                  <a:pt x="335" y="158"/>
                </a:lnTo>
                <a:lnTo>
                  <a:pt x="329" y="158"/>
                </a:lnTo>
                <a:lnTo>
                  <a:pt x="329" y="170"/>
                </a:lnTo>
                <a:lnTo>
                  <a:pt x="329" y="175"/>
                </a:lnTo>
                <a:lnTo>
                  <a:pt x="335" y="181"/>
                </a:lnTo>
                <a:lnTo>
                  <a:pt x="335" y="187"/>
                </a:lnTo>
                <a:lnTo>
                  <a:pt x="341" y="187"/>
                </a:lnTo>
                <a:lnTo>
                  <a:pt x="346" y="192"/>
                </a:lnTo>
                <a:lnTo>
                  <a:pt x="352" y="198"/>
                </a:lnTo>
                <a:lnTo>
                  <a:pt x="358" y="204"/>
                </a:lnTo>
                <a:lnTo>
                  <a:pt x="363" y="204"/>
                </a:lnTo>
                <a:lnTo>
                  <a:pt x="363" y="209"/>
                </a:lnTo>
                <a:lnTo>
                  <a:pt x="369" y="209"/>
                </a:lnTo>
                <a:lnTo>
                  <a:pt x="375" y="209"/>
                </a:lnTo>
                <a:lnTo>
                  <a:pt x="375" y="204"/>
                </a:lnTo>
                <a:lnTo>
                  <a:pt x="380" y="198"/>
                </a:lnTo>
                <a:lnTo>
                  <a:pt x="380" y="192"/>
                </a:lnTo>
                <a:lnTo>
                  <a:pt x="380" y="187"/>
                </a:lnTo>
                <a:lnTo>
                  <a:pt x="380" y="181"/>
                </a:lnTo>
                <a:lnTo>
                  <a:pt x="380" y="170"/>
                </a:lnTo>
                <a:lnTo>
                  <a:pt x="380" y="158"/>
                </a:lnTo>
                <a:lnTo>
                  <a:pt x="386" y="153"/>
                </a:lnTo>
                <a:lnTo>
                  <a:pt x="386" y="147"/>
                </a:lnTo>
                <a:lnTo>
                  <a:pt x="392" y="141"/>
                </a:lnTo>
                <a:lnTo>
                  <a:pt x="397" y="141"/>
                </a:lnTo>
                <a:lnTo>
                  <a:pt x="403" y="141"/>
                </a:lnTo>
                <a:lnTo>
                  <a:pt x="409" y="141"/>
                </a:lnTo>
                <a:lnTo>
                  <a:pt x="420" y="141"/>
                </a:lnTo>
                <a:lnTo>
                  <a:pt x="431" y="136"/>
                </a:lnTo>
                <a:lnTo>
                  <a:pt x="437" y="130"/>
                </a:lnTo>
                <a:lnTo>
                  <a:pt x="448" y="124"/>
                </a:lnTo>
                <a:lnTo>
                  <a:pt x="454" y="124"/>
                </a:lnTo>
                <a:lnTo>
                  <a:pt x="460" y="124"/>
                </a:lnTo>
                <a:lnTo>
                  <a:pt x="460" y="119"/>
                </a:lnTo>
                <a:lnTo>
                  <a:pt x="465" y="119"/>
                </a:lnTo>
                <a:lnTo>
                  <a:pt x="471" y="119"/>
                </a:lnTo>
                <a:lnTo>
                  <a:pt x="477" y="119"/>
                </a:lnTo>
                <a:lnTo>
                  <a:pt x="477" y="124"/>
                </a:lnTo>
                <a:lnTo>
                  <a:pt x="482" y="124"/>
                </a:lnTo>
                <a:lnTo>
                  <a:pt x="482" y="130"/>
                </a:lnTo>
                <a:lnTo>
                  <a:pt x="488" y="130"/>
                </a:lnTo>
                <a:lnTo>
                  <a:pt x="488" y="141"/>
                </a:lnTo>
                <a:lnTo>
                  <a:pt x="494" y="141"/>
                </a:lnTo>
                <a:lnTo>
                  <a:pt x="499" y="147"/>
                </a:lnTo>
                <a:lnTo>
                  <a:pt x="499" y="153"/>
                </a:lnTo>
                <a:lnTo>
                  <a:pt x="499" y="158"/>
                </a:lnTo>
                <a:lnTo>
                  <a:pt x="505" y="158"/>
                </a:lnTo>
                <a:lnTo>
                  <a:pt x="505" y="164"/>
                </a:lnTo>
                <a:lnTo>
                  <a:pt x="505" y="170"/>
                </a:lnTo>
                <a:lnTo>
                  <a:pt x="511" y="175"/>
                </a:lnTo>
                <a:lnTo>
                  <a:pt x="516" y="181"/>
                </a:lnTo>
                <a:lnTo>
                  <a:pt x="516" y="187"/>
                </a:lnTo>
                <a:lnTo>
                  <a:pt x="533" y="198"/>
                </a:lnTo>
                <a:lnTo>
                  <a:pt x="533" y="204"/>
                </a:lnTo>
                <a:lnTo>
                  <a:pt x="539" y="209"/>
                </a:lnTo>
                <a:lnTo>
                  <a:pt x="545" y="215"/>
                </a:lnTo>
                <a:lnTo>
                  <a:pt x="545" y="221"/>
                </a:lnTo>
                <a:lnTo>
                  <a:pt x="545" y="226"/>
                </a:lnTo>
                <a:lnTo>
                  <a:pt x="545" y="232"/>
                </a:lnTo>
                <a:lnTo>
                  <a:pt x="550" y="232"/>
                </a:lnTo>
                <a:lnTo>
                  <a:pt x="550" y="238"/>
                </a:lnTo>
                <a:lnTo>
                  <a:pt x="556" y="238"/>
                </a:lnTo>
                <a:lnTo>
                  <a:pt x="556" y="243"/>
                </a:lnTo>
                <a:lnTo>
                  <a:pt x="556" y="249"/>
                </a:lnTo>
                <a:lnTo>
                  <a:pt x="556" y="255"/>
                </a:lnTo>
                <a:lnTo>
                  <a:pt x="562" y="255"/>
                </a:lnTo>
                <a:lnTo>
                  <a:pt x="562" y="260"/>
                </a:lnTo>
                <a:lnTo>
                  <a:pt x="567" y="260"/>
                </a:lnTo>
                <a:lnTo>
                  <a:pt x="567" y="266"/>
                </a:lnTo>
                <a:lnTo>
                  <a:pt x="573" y="266"/>
                </a:lnTo>
                <a:lnTo>
                  <a:pt x="573" y="272"/>
                </a:lnTo>
                <a:lnTo>
                  <a:pt x="573" y="277"/>
                </a:lnTo>
                <a:lnTo>
                  <a:pt x="567" y="283"/>
                </a:lnTo>
                <a:lnTo>
                  <a:pt x="562" y="283"/>
                </a:lnTo>
                <a:lnTo>
                  <a:pt x="556" y="283"/>
                </a:lnTo>
                <a:lnTo>
                  <a:pt x="550" y="283"/>
                </a:lnTo>
                <a:lnTo>
                  <a:pt x="545" y="283"/>
                </a:lnTo>
                <a:lnTo>
                  <a:pt x="539" y="283"/>
                </a:lnTo>
                <a:lnTo>
                  <a:pt x="533" y="289"/>
                </a:lnTo>
                <a:lnTo>
                  <a:pt x="533" y="294"/>
                </a:lnTo>
                <a:lnTo>
                  <a:pt x="528" y="294"/>
                </a:lnTo>
                <a:lnTo>
                  <a:pt x="528" y="300"/>
                </a:lnTo>
                <a:lnTo>
                  <a:pt x="528" y="306"/>
                </a:lnTo>
                <a:lnTo>
                  <a:pt x="522" y="306"/>
                </a:lnTo>
                <a:lnTo>
                  <a:pt x="522" y="311"/>
                </a:lnTo>
                <a:lnTo>
                  <a:pt x="516" y="311"/>
                </a:lnTo>
                <a:lnTo>
                  <a:pt x="516" y="317"/>
                </a:lnTo>
                <a:lnTo>
                  <a:pt x="511" y="317"/>
                </a:lnTo>
                <a:lnTo>
                  <a:pt x="505" y="323"/>
                </a:lnTo>
                <a:lnTo>
                  <a:pt x="499" y="328"/>
                </a:lnTo>
                <a:lnTo>
                  <a:pt x="499" y="334"/>
                </a:lnTo>
                <a:lnTo>
                  <a:pt x="494" y="334"/>
                </a:lnTo>
                <a:lnTo>
                  <a:pt x="488" y="340"/>
                </a:lnTo>
                <a:lnTo>
                  <a:pt x="488" y="345"/>
                </a:lnTo>
                <a:lnTo>
                  <a:pt x="488" y="351"/>
                </a:lnTo>
                <a:lnTo>
                  <a:pt x="488" y="357"/>
                </a:lnTo>
                <a:lnTo>
                  <a:pt x="494" y="362"/>
                </a:lnTo>
                <a:lnTo>
                  <a:pt x="494" y="368"/>
                </a:lnTo>
                <a:lnTo>
                  <a:pt x="494" y="374"/>
                </a:lnTo>
                <a:lnTo>
                  <a:pt x="494" y="379"/>
                </a:lnTo>
                <a:lnTo>
                  <a:pt x="488" y="379"/>
                </a:lnTo>
                <a:lnTo>
                  <a:pt x="488" y="385"/>
                </a:lnTo>
                <a:lnTo>
                  <a:pt x="488" y="391"/>
                </a:lnTo>
                <a:lnTo>
                  <a:pt x="477" y="385"/>
                </a:lnTo>
                <a:lnTo>
                  <a:pt x="477" y="379"/>
                </a:lnTo>
                <a:lnTo>
                  <a:pt x="471" y="379"/>
                </a:lnTo>
                <a:lnTo>
                  <a:pt x="465" y="385"/>
                </a:lnTo>
                <a:lnTo>
                  <a:pt x="460" y="391"/>
                </a:lnTo>
                <a:lnTo>
                  <a:pt x="448" y="396"/>
                </a:lnTo>
                <a:lnTo>
                  <a:pt x="448" y="402"/>
                </a:lnTo>
                <a:lnTo>
                  <a:pt x="443" y="402"/>
                </a:lnTo>
                <a:lnTo>
                  <a:pt x="443" y="408"/>
                </a:lnTo>
                <a:lnTo>
                  <a:pt x="437" y="408"/>
                </a:lnTo>
                <a:lnTo>
                  <a:pt x="431" y="408"/>
                </a:lnTo>
                <a:lnTo>
                  <a:pt x="426" y="408"/>
                </a:lnTo>
                <a:lnTo>
                  <a:pt x="420" y="402"/>
                </a:lnTo>
                <a:lnTo>
                  <a:pt x="414" y="391"/>
                </a:lnTo>
                <a:lnTo>
                  <a:pt x="409" y="391"/>
                </a:lnTo>
                <a:lnTo>
                  <a:pt x="409" y="385"/>
                </a:lnTo>
                <a:lnTo>
                  <a:pt x="403" y="385"/>
                </a:lnTo>
                <a:lnTo>
                  <a:pt x="397" y="385"/>
                </a:lnTo>
                <a:lnTo>
                  <a:pt x="392" y="391"/>
                </a:lnTo>
                <a:lnTo>
                  <a:pt x="392" y="379"/>
                </a:lnTo>
                <a:lnTo>
                  <a:pt x="386" y="379"/>
                </a:lnTo>
                <a:lnTo>
                  <a:pt x="380" y="374"/>
                </a:lnTo>
                <a:lnTo>
                  <a:pt x="380" y="368"/>
                </a:lnTo>
                <a:lnTo>
                  <a:pt x="375" y="368"/>
                </a:lnTo>
                <a:lnTo>
                  <a:pt x="375" y="362"/>
                </a:lnTo>
                <a:lnTo>
                  <a:pt x="369" y="362"/>
                </a:lnTo>
                <a:lnTo>
                  <a:pt x="369" y="357"/>
                </a:lnTo>
                <a:lnTo>
                  <a:pt x="363" y="357"/>
                </a:lnTo>
                <a:lnTo>
                  <a:pt x="363" y="351"/>
                </a:lnTo>
                <a:lnTo>
                  <a:pt x="358" y="351"/>
                </a:lnTo>
                <a:lnTo>
                  <a:pt x="358" y="345"/>
                </a:lnTo>
                <a:lnTo>
                  <a:pt x="358" y="340"/>
                </a:lnTo>
                <a:lnTo>
                  <a:pt x="352" y="340"/>
                </a:lnTo>
                <a:lnTo>
                  <a:pt x="352" y="334"/>
                </a:lnTo>
                <a:lnTo>
                  <a:pt x="352" y="328"/>
                </a:lnTo>
                <a:lnTo>
                  <a:pt x="352" y="323"/>
                </a:lnTo>
                <a:lnTo>
                  <a:pt x="346" y="323"/>
                </a:lnTo>
                <a:lnTo>
                  <a:pt x="335" y="323"/>
                </a:lnTo>
                <a:lnTo>
                  <a:pt x="335" y="317"/>
                </a:lnTo>
                <a:lnTo>
                  <a:pt x="329" y="317"/>
                </a:lnTo>
                <a:lnTo>
                  <a:pt x="329" y="311"/>
                </a:lnTo>
                <a:lnTo>
                  <a:pt x="324" y="311"/>
                </a:lnTo>
                <a:lnTo>
                  <a:pt x="318" y="306"/>
                </a:lnTo>
                <a:lnTo>
                  <a:pt x="312" y="306"/>
                </a:lnTo>
                <a:lnTo>
                  <a:pt x="307" y="300"/>
                </a:lnTo>
                <a:lnTo>
                  <a:pt x="301" y="300"/>
                </a:lnTo>
                <a:lnTo>
                  <a:pt x="295" y="300"/>
                </a:lnTo>
                <a:lnTo>
                  <a:pt x="295" y="306"/>
                </a:lnTo>
                <a:lnTo>
                  <a:pt x="290" y="306"/>
                </a:lnTo>
                <a:lnTo>
                  <a:pt x="290" y="311"/>
                </a:lnTo>
                <a:lnTo>
                  <a:pt x="290" y="317"/>
                </a:lnTo>
                <a:lnTo>
                  <a:pt x="295" y="334"/>
                </a:lnTo>
                <a:lnTo>
                  <a:pt x="295" y="340"/>
                </a:lnTo>
                <a:lnTo>
                  <a:pt x="295" y="351"/>
                </a:lnTo>
                <a:lnTo>
                  <a:pt x="295" y="357"/>
                </a:lnTo>
                <a:lnTo>
                  <a:pt x="290" y="362"/>
                </a:lnTo>
                <a:lnTo>
                  <a:pt x="290" y="368"/>
                </a:lnTo>
                <a:lnTo>
                  <a:pt x="278" y="374"/>
                </a:lnTo>
                <a:lnTo>
                  <a:pt x="278" y="379"/>
                </a:lnTo>
                <a:lnTo>
                  <a:pt x="273" y="379"/>
                </a:lnTo>
                <a:lnTo>
                  <a:pt x="273" y="385"/>
                </a:lnTo>
                <a:lnTo>
                  <a:pt x="273" y="391"/>
                </a:lnTo>
                <a:lnTo>
                  <a:pt x="278" y="391"/>
                </a:lnTo>
                <a:lnTo>
                  <a:pt x="278" y="396"/>
                </a:lnTo>
                <a:lnTo>
                  <a:pt x="278" y="402"/>
                </a:lnTo>
                <a:lnTo>
                  <a:pt x="278" y="408"/>
                </a:lnTo>
                <a:lnTo>
                  <a:pt x="278" y="413"/>
                </a:lnTo>
                <a:lnTo>
                  <a:pt x="278" y="419"/>
                </a:lnTo>
                <a:lnTo>
                  <a:pt x="273" y="419"/>
                </a:lnTo>
                <a:lnTo>
                  <a:pt x="267" y="419"/>
                </a:lnTo>
                <a:lnTo>
                  <a:pt x="267" y="413"/>
                </a:lnTo>
                <a:lnTo>
                  <a:pt x="261" y="408"/>
                </a:lnTo>
                <a:lnTo>
                  <a:pt x="250" y="402"/>
                </a:lnTo>
                <a:lnTo>
                  <a:pt x="239" y="396"/>
                </a:lnTo>
                <a:lnTo>
                  <a:pt x="233" y="396"/>
                </a:lnTo>
                <a:lnTo>
                  <a:pt x="227" y="396"/>
                </a:lnTo>
                <a:lnTo>
                  <a:pt x="222" y="396"/>
                </a:lnTo>
                <a:lnTo>
                  <a:pt x="222" y="391"/>
                </a:lnTo>
                <a:lnTo>
                  <a:pt x="216" y="391"/>
                </a:lnTo>
                <a:lnTo>
                  <a:pt x="210" y="391"/>
                </a:lnTo>
                <a:lnTo>
                  <a:pt x="210" y="385"/>
                </a:lnTo>
                <a:lnTo>
                  <a:pt x="205" y="385"/>
                </a:lnTo>
                <a:lnTo>
                  <a:pt x="193" y="385"/>
                </a:lnTo>
                <a:lnTo>
                  <a:pt x="193" y="379"/>
                </a:lnTo>
                <a:lnTo>
                  <a:pt x="188" y="385"/>
                </a:lnTo>
                <a:lnTo>
                  <a:pt x="182" y="385"/>
                </a:lnTo>
                <a:lnTo>
                  <a:pt x="176" y="391"/>
                </a:lnTo>
                <a:lnTo>
                  <a:pt x="171" y="391"/>
                </a:lnTo>
                <a:lnTo>
                  <a:pt x="171" y="385"/>
                </a:lnTo>
                <a:lnTo>
                  <a:pt x="165" y="379"/>
                </a:lnTo>
                <a:lnTo>
                  <a:pt x="165" y="374"/>
                </a:lnTo>
                <a:lnTo>
                  <a:pt x="159" y="374"/>
                </a:lnTo>
                <a:lnTo>
                  <a:pt x="153" y="374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7" name="Freeform 24"/>
          <p:cNvSpPr>
            <a:spLocks/>
          </p:cNvSpPr>
          <p:nvPr/>
        </p:nvSpPr>
        <p:spPr bwMode="gray">
          <a:xfrm>
            <a:off x="3301235" y="3450057"/>
            <a:ext cx="539407" cy="575010"/>
          </a:xfrm>
          <a:custGeom>
            <a:avLst/>
            <a:gdLst>
              <a:gd name="T0" fmla="*/ 0 w 318"/>
              <a:gd name="T1" fmla="*/ 2147483647 h 340"/>
              <a:gd name="T2" fmla="*/ 2147483647 w 318"/>
              <a:gd name="T3" fmla="*/ 2147483647 h 340"/>
              <a:gd name="T4" fmla="*/ 2147483647 w 318"/>
              <a:gd name="T5" fmla="*/ 2147483647 h 340"/>
              <a:gd name="T6" fmla="*/ 2147483647 w 318"/>
              <a:gd name="T7" fmla="*/ 2147483647 h 340"/>
              <a:gd name="T8" fmla="*/ 2147483647 w 318"/>
              <a:gd name="T9" fmla="*/ 2147483647 h 340"/>
              <a:gd name="T10" fmla="*/ 2147483647 w 318"/>
              <a:gd name="T11" fmla="*/ 2147483647 h 340"/>
              <a:gd name="T12" fmla="*/ 2147483647 w 318"/>
              <a:gd name="T13" fmla="*/ 2147483647 h 340"/>
              <a:gd name="T14" fmla="*/ 2147483647 w 318"/>
              <a:gd name="T15" fmla="*/ 2147483647 h 340"/>
              <a:gd name="T16" fmla="*/ 2147483647 w 318"/>
              <a:gd name="T17" fmla="*/ 2147483647 h 340"/>
              <a:gd name="T18" fmla="*/ 2147483647 w 318"/>
              <a:gd name="T19" fmla="*/ 2147483647 h 340"/>
              <a:gd name="T20" fmla="*/ 2147483647 w 318"/>
              <a:gd name="T21" fmla="*/ 2147483647 h 340"/>
              <a:gd name="T22" fmla="*/ 2147483647 w 318"/>
              <a:gd name="T23" fmla="*/ 2147483647 h 340"/>
              <a:gd name="T24" fmla="*/ 2147483647 w 318"/>
              <a:gd name="T25" fmla="*/ 2147483647 h 340"/>
              <a:gd name="T26" fmla="*/ 2147483647 w 318"/>
              <a:gd name="T27" fmla="*/ 2147483647 h 340"/>
              <a:gd name="T28" fmla="*/ 2147483647 w 318"/>
              <a:gd name="T29" fmla="*/ 2147483647 h 340"/>
              <a:gd name="T30" fmla="*/ 2147483647 w 318"/>
              <a:gd name="T31" fmla="*/ 2147483647 h 340"/>
              <a:gd name="T32" fmla="*/ 2147483647 w 318"/>
              <a:gd name="T33" fmla="*/ 2147483647 h 340"/>
              <a:gd name="T34" fmla="*/ 2147483647 w 318"/>
              <a:gd name="T35" fmla="*/ 2147483647 h 340"/>
              <a:gd name="T36" fmla="*/ 2147483647 w 318"/>
              <a:gd name="T37" fmla="*/ 2147483647 h 340"/>
              <a:gd name="T38" fmla="*/ 2147483647 w 318"/>
              <a:gd name="T39" fmla="*/ 2147483647 h 340"/>
              <a:gd name="T40" fmla="*/ 2147483647 w 318"/>
              <a:gd name="T41" fmla="*/ 2147483647 h 340"/>
              <a:gd name="T42" fmla="*/ 2147483647 w 318"/>
              <a:gd name="T43" fmla="*/ 2147483647 h 340"/>
              <a:gd name="T44" fmla="*/ 2147483647 w 318"/>
              <a:gd name="T45" fmla="*/ 2147483647 h 340"/>
              <a:gd name="T46" fmla="*/ 2147483647 w 318"/>
              <a:gd name="T47" fmla="*/ 2147483647 h 340"/>
              <a:gd name="T48" fmla="*/ 2147483647 w 318"/>
              <a:gd name="T49" fmla="*/ 2147483647 h 340"/>
              <a:gd name="T50" fmla="*/ 2147483647 w 318"/>
              <a:gd name="T51" fmla="*/ 2147483647 h 340"/>
              <a:gd name="T52" fmla="*/ 2147483647 w 318"/>
              <a:gd name="T53" fmla="*/ 2147483647 h 340"/>
              <a:gd name="T54" fmla="*/ 2147483647 w 318"/>
              <a:gd name="T55" fmla="*/ 2147483647 h 340"/>
              <a:gd name="T56" fmla="*/ 2147483647 w 318"/>
              <a:gd name="T57" fmla="*/ 2147483647 h 340"/>
              <a:gd name="T58" fmla="*/ 2147483647 w 318"/>
              <a:gd name="T59" fmla="*/ 2147483647 h 340"/>
              <a:gd name="T60" fmla="*/ 2147483647 w 318"/>
              <a:gd name="T61" fmla="*/ 2147483647 h 340"/>
              <a:gd name="T62" fmla="*/ 2147483647 w 318"/>
              <a:gd name="T63" fmla="*/ 2147483647 h 340"/>
              <a:gd name="T64" fmla="*/ 2147483647 w 318"/>
              <a:gd name="T65" fmla="*/ 2147483647 h 340"/>
              <a:gd name="T66" fmla="*/ 2147483647 w 318"/>
              <a:gd name="T67" fmla="*/ 2147483647 h 340"/>
              <a:gd name="T68" fmla="*/ 2147483647 w 318"/>
              <a:gd name="T69" fmla="*/ 2147483647 h 340"/>
              <a:gd name="T70" fmla="*/ 2147483647 w 318"/>
              <a:gd name="T71" fmla="*/ 2147483647 h 340"/>
              <a:gd name="T72" fmla="*/ 2147483647 w 318"/>
              <a:gd name="T73" fmla="*/ 2147483647 h 340"/>
              <a:gd name="T74" fmla="*/ 2147483647 w 318"/>
              <a:gd name="T75" fmla="*/ 2147483647 h 340"/>
              <a:gd name="T76" fmla="*/ 2147483647 w 318"/>
              <a:gd name="T77" fmla="*/ 2147483647 h 340"/>
              <a:gd name="T78" fmla="*/ 2147483647 w 318"/>
              <a:gd name="T79" fmla="*/ 2147483647 h 340"/>
              <a:gd name="T80" fmla="*/ 2147483647 w 318"/>
              <a:gd name="T81" fmla="*/ 2147483647 h 340"/>
              <a:gd name="T82" fmla="*/ 2147483647 w 318"/>
              <a:gd name="T83" fmla="*/ 2147483647 h 340"/>
              <a:gd name="T84" fmla="*/ 2147483647 w 318"/>
              <a:gd name="T85" fmla="*/ 2147483647 h 3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18"/>
              <a:gd name="T130" fmla="*/ 0 h 340"/>
              <a:gd name="T131" fmla="*/ 318 w 318"/>
              <a:gd name="T132" fmla="*/ 340 h 3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18" h="340">
                <a:moveTo>
                  <a:pt x="23" y="340"/>
                </a:moveTo>
                <a:lnTo>
                  <a:pt x="0" y="340"/>
                </a:lnTo>
                <a:lnTo>
                  <a:pt x="6" y="176"/>
                </a:lnTo>
                <a:lnTo>
                  <a:pt x="12" y="79"/>
                </a:lnTo>
                <a:lnTo>
                  <a:pt x="12" y="57"/>
                </a:lnTo>
                <a:lnTo>
                  <a:pt x="34" y="51"/>
                </a:lnTo>
                <a:lnTo>
                  <a:pt x="68" y="57"/>
                </a:lnTo>
                <a:lnTo>
                  <a:pt x="85" y="57"/>
                </a:lnTo>
                <a:lnTo>
                  <a:pt x="91" y="57"/>
                </a:lnTo>
                <a:lnTo>
                  <a:pt x="131" y="91"/>
                </a:lnTo>
                <a:lnTo>
                  <a:pt x="148" y="102"/>
                </a:lnTo>
                <a:lnTo>
                  <a:pt x="153" y="108"/>
                </a:lnTo>
                <a:lnTo>
                  <a:pt x="216" y="28"/>
                </a:lnTo>
                <a:lnTo>
                  <a:pt x="222" y="23"/>
                </a:lnTo>
                <a:lnTo>
                  <a:pt x="227" y="17"/>
                </a:lnTo>
                <a:lnTo>
                  <a:pt x="244" y="17"/>
                </a:lnTo>
                <a:lnTo>
                  <a:pt x="256" y="17"/>
                </a:lnTo>
                <a:lnTo>
                  <a:pt x="261" y="17"/>
                </a:lnTo>
                <a:lnTo>
                  <a:pt x="284" y="0"/>
                </a:lnTo>
                <a:lnTo>
                  <a:pt x="307" y="17"/>
                </a:lnTo>
                <a:lnTo>
                  <a:pt x="318" y="23"/>
                </a:lnTo>
                <a:lnTo>
                  <a:pt x="312" y="28"/>
                </a:lnTo>
                <a:lnTo>
                  <a:pt x="301" y="34"/>
                </a:lnTo>
                <a:lnTo>
                  <a:pt x="301" y="40"/>
                </a:lnTo>
                <a:lnTo>
                  <a:pt x="295" y="40"/>
                </a:lnTo>
                <a:lnTo>
                  <a:pt x="290" y="45"/>
                </a:lnTo>
                <a:lnTo>
                  <a:pt x="290" y="51"/>
                </a:lnTo>
                <a:lnTo>
                  <a:pt x="290" y="57"/>
                </a:lnTo>
                <a:lnTo>
                  <a:pt x="290" y="62"/>
                </a:lnTo>
                <a:lnTo>
                  <a:pt x="290" y="74"/>
                </a:lnTo>
                <a:lnTo>
                  <a:pt x="290" y="108"/>
                </a:lnTo>
                <a:lnTo>
                  <a:pt x="290" y="125"/>
                </a:lnTo>
                <a:lnTo>
                  <a:pt x="290" y="136"/>
                </a:lnTo>
                <a:lnTo>
                  <a:pt x="290" y="142"/>
                </a:lnTo>
                <a:lnTo>
                  <a:pt x="290" y="153"/>
                </a:lnTo>
                <a:lnTo>
                  <a:pt x="290" y="164"/>
                </a:lnTo>
                <a:lnTo>
                  <a:pt x="290" y="176"/>
                </a:lnTo>
                <a:lnTo>
                  <a:pt x="290" y="187"/>
                </a:lnTo>
                <a:lnTo>
                  <a:pt x="284" y="198"/>
                </a:lnTo>
                <a:lnTo>
                  <a:pt x="284" y="204"/>
                </a:lnTo>
                <a:lnTo>
                  <a:pt x="284" y="215"/>
                </a:lnTo>
                <a:lnTo>
                  <a:pt x="284" y="221"/>
                </a:lnTo>
                <a:lnTo>
                  <a:pt x="273" y="244"/>
                </a:lnTo>
                <a:lnTo>
                  <a:pt x="273" y="249"/>
                </a:lnTo>
                <a:lnTo>
                  <a:pt x="267" y="255"/>
                </a:lnTo>
                <a:lnTo>
                  <a:pt x="261" y="255"/>
                </a:lnTo>
                <a:lnTo>
                  <a:pt x="261" y="261"/>
                </a:lnTo>
                <a:lnTo>
                  <a:pt x="256" y="266"/>
                </a:lnTo>
                <a:lnTo>
                  <a:pt x="256" y="272"/>
                </a:lnTo>
                <a:lnTo>
                  <a:pt x="250" y="272"/>
                </a:lnTo>
                <a:lnTo>
                  <a:pt x="250" y="278"/>
                </a:lnTo>
                <a:lnTo>
                  <a:pt x="244" y="278"/>
                </a:lnTo>
                <a:lnTo>
                  <a:pt x="244" y="283"/>
                </a:lnTo>
                <a:lnTo>
                  <a:pt x="244" y="289"/>
                </a:lnTo>
                <a:lnTo>
                  <a:pt x="239" y="295"/>
                </a:lnTo>
                <a:lnTo>
                  <a:pt x="233" y="295"/>
                </a:lnTo>
                <a:lnTo>
                  <a:pt x="227" y="300"/>
                </a:lnTo>
                <a:lnTo>
                  <a:pt x="222" y="300"/>
                </a:lnTo>
                <a:lnTo>
                  <a:pt x="222" y="306"/>
                </a:lnTo>
                <a:lnTo>
                  <a:pt x="216" y="306"/>
                </a:lnTo>
                <a:lnTo>
                  <a:pt x="216" y="312"/>
                </a:lnTo>
                <a:lnTo>
                  <a:pt x="210" y="312"/>
                </a:lnTo>
                <a:lnTo>
                  <a:pt x="204" y="312"/>
                </a:lnTo>
                <a:lnTo>
                  <a:pt x="204" y="317"/>
                </a:lnTo>
                <a:lnTo>
                  <a:pt x="193" y="317"/>
                </a:lnTo>
                <a:lnTo>
                  <a:pt x="193" y="323"/>
                </a:lnTo>
                <a:lnTo>
                  <a:pt x="187" y="323"/>
                </a:lnTo>
                <a:lnTo>
                  <a:pt x="176" y="329"/>
                </a:lnTo>
                <a:lnTo>
                  <a:pt x="170" y="329"/>
                </a:lnTo>
                <a:lnTo>
                  <a:pt x="148" y="334"/>
                </a:lnTo>
                <a:lnTo>
                  <a:pt x="142" y="340"/>
                </a:lnTo>
                <a:lnTo>
                  <a:pt x="136" y="340"/>
                </a:lnTo>
                <a:lnTo>
                  <a:pt x="125" y="340"/>
                </a:lnTo>
                <a:lnTo>
                  <a:pt x="114" y="340"/>
                </a:lnTo>
                <a:lnTo>
                  <a:pt x="108" y="340"/>
                </a:lnTo>
                <a:lnTo>
                  <a:pt x="102" y="340"/>
                </a:lnTo>
                <a:lnTo>
                  <a:pt x="91" y="340"/>
                </a:lnTo>
                <a:lnTo>
                  <a:pt x="80" y="340"/>
                </a:lnTo>
                <a:lnTo>
                  <a:pt x="68" y="340"/>
                </a:lnTo>
                <a:lnTo>
                  <a:pt x="63" y="340"/>
                </a:lnTo>
                <a:lnTo>
                  <a:pt x="57" y="340"/>
                </a:lnTo>
                <a:lnTo>
                  <a:pt x="46" y="340"/>
                </a:lnTo>
                <a:lnTo>
                  <a:pt x="40" y="340"/>
                </a:lnTo>
                <a:lnTo>
                  <a:pt x="34" y="340"/>
                </a:lnTo>
                <a:lnTo>
                  <a:pt x="29" y="340"/>
                </a:lnTo>
                <a:lnTo>
                  <a:pt x="23" y="34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8" name="Freeform 25"/>
          <p:cNvSpPr>
            <a:spLocks/>
          </p:cNvSpPr>
          <p:nvPr/>
        </p:nvSpPr>
        <p:spPr bwMode="gray">
          <a:xfrm>
            <a:off x="3408144" y="2855611"/>
            <a:ext cx="2237000" cy="1572772"/>
          </a:xfrm>
          <a:custGeom>
            <a:avLst/>
            <a:gdLst>
              <a:gd name="T0" fmla="*/ 2147483647 w 1321"/>
              <a:gd name="T1" fmla="*/ 2147483647 h 929"/>
              <a:gd name="T2" fmla="*/ 2147483647 w 1321"/>
              <a:gd name="T3" fmla="*/ 2147483647 h 929"/>
              <a:gd name="T4" fmla="*/ 2147483647 w 1321"/>
              <a:gd name="T5" fmla="*/ 2147483647 h 929"/>
              <a:gd name="T6" fmla="*/ 2147483647 w 1321"/>
              <a:gd name="T7" fmla="*/ 2147483647 h 929"/>
              <a:gd name="T8" fmla="*/ 2147483647 w 1321"/>
              <a:gd name="T9" fmla="*/ 2147483647 h 929"/>
              <a:gd name="T10" fmla="*/ 2147483647 w 1321"/>
              <a:gd name="T11" fmla="*/ 2147483647 h 929"/>
              <a:gd name="T12" fmla="*/ 2147483647 w 1321"/>
              <a:gd name="T13" fmla="*/ 2147483647 h 929"/>
              <a:gd name="T14" fmla="*/ 2147483647 w 1321"/>
              <a:gd name="T15" fmla="*/ 2147483647 h 929"/>
              <a:gd name="T16" fmla="*/ 2147483647 w 1321"/>
              <a:gd name="T17" fmla="*/ 2147483647 h 929"/>
              <a:gd name="T18" fmla="*/ 2147483647 w 1321"/>
              <a:gd name="T19" fmla="*/ 2147483647 h 929"/>
              <a:gd name="T20" fmla="*/ 2147483647 w 1321"/>
              <a:gd name="T21" fmla="*/ 2147483647 h 929"/>
              <a:gd name="T22" fmla="*/ 2147483647 w 1321"/>
              <a:gd name="T23" fmla="*/ 2147483647 h 929"/>
              <a:gd name="T24" fmla="*/ 2147483647 w 1321"/>
              <a:gd name="T25" fmla="*/ 2147483647 h 929"/>
              <a:gd name="T26" fmla="*/ 2147483647 w 1321"/>
              <a:gd name="T27" fmla="*/ 2147483647 h 929"/>
              <a:gd name="T28" fmla="*/ 2147483647 w 1321"/>
              <a:gd name="T29" fmla="*/ 2147483647 h 929"/>
              <a:gd name="T30" fmla="*/ 2147483647 w 1321"/>
              <a:gd name="T31" fmla="*/ 2147483647 h 929"/>
              <a:gd name="T32" fmla="*/ 2147483647 w 1321"/>
              <a:gd name="T33" fmla="*/ 2147483647 h 929"/>
              <a:gd name="T34" fmla="*/ 2147483647 w 1321"/>
              <a:gd name="T35" fmla="*/ 2147483647 h 929"/>
              <a:gd name="T36" fmla="*/ 2147483647 w 1321"/>
              <a:gd name="T37" fmla="*/ 2147483647 h 929"/>
              <a:gd name="T38" fmla="*/ 2147483647 w 1321"/>
              <a:gd name="T39" fmla="*/ 2147483647 h 929"/>
              <a:gd name="T40" fmla="*/ 2147483647 w 1321"/>
              <a:gd name="T41" fmla="*/ 2147483647 h 929"/>
              <a:gd name="T42" fmla="*/ 2147483647 w 1321"/>
              <a:gd name="T43" fmla="*/ 2147483647 h 929"/>
              <a:gd name="T44" fmla="*/ 2147483647 w 1321"/>
              <a:gd name="T45" fmla="*/ 2147483647 h 929"/>
              <a:gd name="T46" fmla="*/ 2147483647 w 1321"/>
              <a:gd name="T47" fmla="*/ 0 h 929"/>
              <a:gd name="T48" fmla="*/ 2147483647 w 1321"/>
              <a:gd name="T49" fmla="*/ 2147483647 h 929"/>
              <a:gd name="T50" fmla="*/ 2147483647 w 1321"/>
              <a:gd name="T51" fmla="*/ 2147483647 h 929"/>
              <a:gd name="T52" fmla="*/ 2147483647 w 1321"/>
              <a:gd name="T53" fmla="*/ 2147483647 h 929"/>
              <a:gd name="T54" fmla="*/ 2147483647 w 1321"/>
              <a:gd name="T55" fmla="*/ 2147483647 h 929"/>
              <a:gd name="T56" fmla="*/ 2147483647 w 1321"/>
              <a:gd name="T57" fmla="*/ 2147483647 h 929"/>
              <a:gd name="T58" fmla="*/ 2147483647 w 1321"/>
              <a:gd name="T59" fmla="*/ 2147483647 h 929"/>
              <a:gd name="T60" fmla="*/ 2147483647 w 1321"/>
              <a:gd name="T61" fmla="*/ 2147483647 h 929"/>
              <a:gd name="T62" fmla="*/ 2147483647 w 1321"/>
              <a:gd name="T63" fmla="*/ 2147483647 h 929"/>
              <a:gd name="T64" fmla="*/ 2147483647 w 1321"/>
              <a:gd name="T65" fmla="*/ 2147483647 h 929"/>
              <a:gd name="T66" fmla="*/ 2147483647 w 1321"/>
              <a:gd name="T67" fmla="*/ 2147483647 h 929"/>
              <a:gd name="T68" fmla="*/ 2147483647 w 1321"/>
              <a:gd name="T69" fmla="*/ 2147483647 h 929"/>
              <a:gd name="T70" fmla="*/ 2147483647 w 1321"/>
              <a:gd name="T71" fmla="*/ 2147483647 h 929"/>
              <a:gd name="T72" fmla="*/ 2147483647 w 1321"/>
              <a:gd name="T73" fmla="*/ 2147483647 h 929"/>
              <a:gd name="T74" fmla="*/ 2147483647 w 1321"/>
              <a:gd name="T75" fmla="*/ 2147483647 h 929"/>
              <a:gd name="T76" fmla="*/ 2147483647 w 1321"/>
              <a:gd name="T77" fmla="*/ 2147483647 h 929"/>
              <a:gd name="T78" fmla="*/ 2147483647 w 1321"/>
              <a:gd name="T79" fmla="*/ 2147483647 h 929"/>
              <a:gd name="T80" fmla="*/ 2147483647 w 1321"/>
              <a:gd name="T81" fmla="*/ 2147483647 h 929"/>
              <a:gd name="T82" fmla="*/ 2147483647 w 1321"/>
              <a:gd name="T83" fmla="*/ 2147483647 h 929"/>
              <a:gd name="T84" fmla="*/ 2147483647 w 1321"/>
              <a:gd name="T85" fmla="*/ 2147483647 h 929"/>
              <a:gd name="T86" fmla="*/ 2147483647 w 1321"/>
              <a:gd name="T87" fmla="*/ 2147483647 h 929"/>
              <a:gd name="T88" fmla="*/ 2147483647 w 1321"/>
              <a:gd name="T89" fmla="*/ 2147483647 h 929"/>
              <a:gd name="T90" fmla="*/ 2147483647 w 1321"/>
              <a:gd name="T91" fmla="*/ 2147483647 h 929"/>
              <a:gd name="T92" fmla="*/ 2147483647 w 1321"/>
              <a:gd name="T93" fmla="*/ 2147483647 h 929"/>
              <a:gd name="T94" fmla="*/ 2147483647 w 1321"/>
              <a:gd name="T95" fmla="*/ 2147483647 h 929"/>
              <a:gd name="T96" fmla="*/ 2147483647 w 1321"/>
              <a:gd name="T97" fmla="*/ 2147483647 h 929"/>
              <a:gd name="T98" fmla="*/ 2147483647 w 1321"/>
              <a:gd name="T99" fmla="*/ 2147483647 h 929"/>
              <a:gd name="T100" fmla="*/ 2147483647 w 1321"/>
              <a:gd name="T101" fmla="*/ 2147483647 h 929"/>
              <a:gd name="T102" fmla="*/ 2147483647 w 1321"/>
              <a:gd name="T103" fmla="*/ 2147483647 h 929"/>
              <a:gd name="T104" fmla="*/ 2147483647 w 1321"/>
              <a:gd name="T105" fmla="*/ 2147483647 h 929"/>
              <a:gd name="T106" fmla="*/ 2147483647 w 1321"/>
              <a:gd name="T107" fmla="*/ 2147483647 h 929"/>
              <a:gd name="T108" fmla="*/ 2147483647 w 1321"/>
              <a:gd name="T109" fmla="*/ 2147483647 h 929"/>
              <a:gd name="T110" fmla="*/ 2147483647 w 1321"/>
              <a:gd name="T111" fmla="*/ 2147483647 h 929"/>
              <a:gd name="T112" fmla="*/ 2147483647 w 1321"/>
              <a:gd name="T113" fmla="*/ 2147483647 h 929"/>
              <a:gd name="T114" fmla="*/ 2147483647 w 1321"/>
              <a:gd name="T115" fmla="*/ 2147483647 h 929"/>
              <a:gd name="T116" fmla="*/ 2147483647 w 1321"/>
              <a:gd name="T117" fmla="*/ 2147483647 h 9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321"/>
              <a:gd name="T178" fmla="*/ 0 h 929"/>
              <a:gd name="T179" fmla="*/ 1321 w 1321"/>
              <a:gd name="T180" fmla="*/ 929 h 92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321" h="929">
                <a:moveTo>
                  <a:pt x="238" y="827"/>
                </a:moveTo>
                <a:lnTo>
                  <a:pt x="232" y="827"/>
                </a:lnTo>
                <a:lnTo>
                  <a:pt x="227" y="827"/>
                </a:lnTo>
                <a:lnTo>
                  <a:pt x="215" y="827"/>
                </a:lnTo>
                <a:lnTo>
                  <a:pt x="204" y="827"/>
                </a:lnTo>
                <a:lnTo>
                  <a:pt x="198" y="827"/>
                </a:lnTo>
                <a:lnTo>
                  <a:pt x="193" y="827"/>
                </a:lnTo>
                <a:lnTo>
                  <a:pt x="181" y="827"/>
                </a:lnTo>
                <a:lnTo>
                  <a:pt x="170" y="827"/>
                </a:lnTo>
                <a:lnTo>
                  <a:pt x="159" y="833"/>
                </a:lnTo>
                <a:lnTo>
                  <a:pt x="153" y="833"/>
                </a:lnTo>
                <a:lnTo>
                  <a:pt x="147" y="833"/>
                </a:lnTo>
                <a:lnTo>
                  <a:pt x="141" y="833"/>
                </a:lnTo>
                <a:lnTo>
                  <a:pt x="136" y="833"/>
                </a:lnTo>
                <a:lnTo>
                  <a:pt x="124" y="838"/>
                </a:lnTo>
                <a:lnTo>
                  <a:pt x="119" y="838"/>
                </a:lnTo>
                <a:lnTo>
                  <a:pt x="113" y="844"/>
                </a:lnTo>
                <a:lnTo>
                  <a:pt x="102" y="844"/>
                </a:lnTo>
                <a:lnTo>
                  <a:pt x="96" y="844"/>
                </a:lnTo>
                <a:lnTo>
                  <a:pt x="96" y="850"/>
                </a:lnTo>
                <a:lnTo>
                  <a:pt x="85" y="850"/>
                </a:lnTo>
                <a:lnTo>
                  <a:pt x="85" y="855"/>
                </a:lnTo>
                <a:lnTo>
                  <a:pt x="79" y="855"/>
                </a:lnTo>
                <a:lnTo>
                  <a:pt x="73" y="855"/>
                </a:lnTo>
                <a:lnTo>
                  <a:pt x="68" y="855"/>
                </a:lnTo>
                <a:lnTo>
                  <a:pt x="56" y="855"/>
                </a:lnTo>
                <a:lnTo>
                  <a:pt x="56" y="861"/>
                </a:lnTo>
                <a:lnTo>
                  <a:pt x="51" y="861"/>
                </a:lnTo>
                <a:lnTo>
                  <a:pt x="39" y="861"/>
                </a:lnTo>
                <a:lnTo>
                  <a:pt x="39" y="867"/>
                </a:lnTo>
                <a:lnTo>
                  <a:pt x="34" y="872"/>
                </a:lnTo>
                <a:lnTo>
                  <a:pt x="28" y="872"/>
                </a:lnTo>
                <a:lnTo>
                  <a:pt x="22" y="872"/>
                </a:lnTo>
                <a:lnTo>
                  <a:pt x="17" y="878"/>
                </a:lnTo>
                <a:lnTo>
                  <a:pt x="17" y="884"/>
                </a:lnTo>
                <a:lnTo>
                  <a:pt x="11" y="884"/>
                </a:lnTo>
                <a:lnTo>
                  <a:pt x="5" y="884"/>
                </a:lnTo>
                <a:lnTo>
                  <a:pt x="5" y="878"/>
                </a:lnTo>
                <a:lnTo>
                  <a:pt x="5" y="872"/>
                </a:lnTo>
                <a:lnTo>
                  <a:pt x="5" y="861"/>
                </a:lnTo>
                <a:lnTo>
                  <a:pt x="11" y="855"/>
                </a:lnTo>
                <a:lnTo>
                  <a:pt x="11" y="844"/>
                </a:lnTo>
                <a:lnTo>
                  <a:pt x="11" y="838"/>
                </a:lnTo>
                <a:lnTo>
                  <a:pt x="11" y="833"/>
                </a:lnTo>
                <a:lnTo>
                  <a:pt x="11" y="827"/>
                </a:lnTo>
                <a:lnTo>
                  <a:pt x="17" y="827"/>
                </a:lnTo>
                <a:lnTo>
                  <a:pt x="17" y="821"/>
                </a:lnTo>
                <a:lnTo>
                  <a:pt x="17" y="816"/>
                </a:lnTo>
                <a:lnTo>
                  <a:pt x="17" y="810"/>
                </a:lnTo>
                <a:lnTo>
                  <a:pt x="17" y="804"/>
                </a:lnTo>
                <a:lnTo>
                  <a:pt x="17" y="799"/>
                </a:lnTo>
                <a:lnTo>
                  <a:pt x="17" y="787"/>
                </a:lnTo>
                <a:lnTo>
                  <a:pt x="22" y="787"/>
                </a:lnTo>
                <a:lnTo>
                  <a:pt x="22" y="782"/>
                </a:lnTo>
                <a:lnTo>
                  <a:pt x="17" y="782"/>
                </a:lnTo>
                <a:lnTo>
                  <a:pt x="17" y="776"/>
                </a:lnTo>
                <a:lnTo>
                  <a:pt x="11" y="770"/>
                </a:lnTo>
                <a:lnTo>
                  <a:pt x="11" y="765"/>
                </a:lnTo>
                <a:lnTo>
                  <a:pt x="11" y="759"/>
                </a:lnTo>
                <a:lnTo>
                  <a:pt x="11" y="753"/>
                </a:lnTo>
                <a:lnTo>
                  <a:pt x="5" y="748"/>
                </a:lnTo>
                <a:lnTo>
                  <a:pt x="0" y="742"/>
                </a:lnTo>
                <a:lnTo>
                  <a:pt x="0" y="736"/>
                </a:lnTo>
                <a:lnTo>
                  <a:pt x="5" y="731"/>
                </a:lnTo>
                <a:lnTo>
                  <a:pt x="11" y="714"/>
                </a:lnTo>
                <a:lnTo>
                  <a:pt x="17" y="708"/>
                </a:lnTo>
                <a:lnTo>
                  <a:pt x="17" y="702"/>
                </a:lnTo>
                <a:lnTo>
                  <a:pt x="28" y="691"/>
                </a:lnTo>
                <a:lnTo>
                  <a:pt x="39" y="691"/>
                </a:lnTo>
                <a:lnTo>
                  <a:pt x="45" y="691"/>
                </a:lnTo>
                <a:lnTo>
                  <a:pt x="51" y="691"/>
                </a:lnTo>
                <a:lnTo>
                  <a:pt x="62" y="691"/>
                </a:lnTo>
                <a:lnTo>
                  <a:pt x="73" y="691"/>
                </a:lnTo>
                <a:lnTo>
                  <a:pt x="79" y="691"/>
                </a:lnTo>
                <a:lnTo>
                  <a:pt x="85" y="685"/>
                </a:lnTo>
                <a:lnTo>
                  <a:pt x="107" y="680"/>
                </a:lnTo>
                <a:lnTo>
                  <a:pt x="113" y="680"/>
                </a:lnTo>
                <a:lnTo>
                  <a:pt x="124" y="674"/>
                </a:lnTo>
                <a:lnTo>
                  <a:pt x="130" y="674"/>
                </a:lnTo>
                <a:lnTo>
                  <a:pt x="130" y="668"/>
                </a:lnTo>
                <a:lnTo>
                  <a:pt x="141" y="668"/>
                </a:lnTo>
                <a:lnTo>
                  <a:pt x="141" y="663"/>
                </a:lnTo>
                <a:lnTo>
                  <a:pt x="147" y="663"/>
                </a:lnTo>
                <a:lnTo>
                  <a:pt x="153" y="663"/>
                </a:lnTo>
                <a:lnTo>
                  <a:pt x="153" y="657"/>
                </a:lnTo>
                <a:lnTo>
                  <a:pt x="159" y="657"/>
                </a:lnTo>
                <a:lnTo>
                  <a:pt x="159" y="651"/>
                </a:lnTo>
                <a:lnTo>
                  <a:pt x="164" y="651"/>
                </a:lnTo>
                <a:lnTo>
                  <a:pt x="170" y="646"/>
                </a:lnTo>
                <a:lnTo>
                  <a:pt x="176" y="646"/>
                </a:lnTo>
                <a:lnTo>
                  <a:pt x="181" y="640"/>
                </a:lnTo>
                <a:lnTo>
                  <a:pt x="181" y="634"/>
                </a:lnTo>
                <a:lnTo>
                  <a:pt x="181" y="629"/>
                </a:lnTo>
                <a:lnTo>
                  <a:pt x="187" y="629"/>
                </a:lnTo>
                <a:lnTo>
                  <a:pt x="187" y="623"/>
                </a:lnTo>
                <a:lnTo>
                  <a:pt x="193" y="623"/>
                </a:lnTo>
                <a:lnTo>
                  <a:pt x="193" y="617"/>
                </a:lnTo>
                <a:lnTo>
                  <a:pt x="198" y="612"/>
                </a:lnTo>
                <a:lnTo>
                  <a:pt x="198" y="606"/>
                </a:lnTo>
                <a:lnTo>
                  <a:pt x="204" y="606"/>
                </a:lnTo>
                <a:lnTo>
                  <a:pt x="210" y="600"/>
                </a:lnTo>
                <a:lnTo>
                  <a:pt x="210" y="595"/>
                </a:lnTo>
                <a:lnTo>
                  <a:pt x="221" y="572"/>
                </a:lnTo>
                <a:lnTo>
                  <a:pt x="221" y="566"/>
                </a:lnTo>
                <a:lnTo>
                  <a:pt x="221" y="555"/>
                </a:lnTo>
                <a:lnTo>
                  <a:pt x="221" y="549"/>
                </a:lnTo>
                <a:lnTo>
                  <a:pt x="227" y="538"/>
                </a:lnTo>
                <a:lnTo>
                  <a:pt x="227" y="527"/>
                </a:lnTo>
                <a:lnTo>
                  <a:pt x="227" y="515"/>
                </a:lnTo>
                <a:lnTo>
                  <a:pt x="227" y="504"/>
                </a:lnTo>
                <a:lnTo>
                  <a:pt x="227" y="493"/>
                </a:lnTo>
                <a:lnTo>
                  <a:pt x="227" y="487"/>
                </a:lnTo>
                <a:lnTo>
                  <a:pt x="227" y="476"/>
                </a:lnTo>
                <a:lnTo>
                  <a:pt x="227" y="459"/>
                </a:lnTo>
                <a:lnTo>
                  <a:pt x="227" y="425"/>
                </a:lnTo>
                <a:lnTo>
                  <a:pt x="227" y="413"/>
                </a:lnTo>
                <a:lnTo>
                  <a:pt x="227" y="408"/>
                </a:lnTo>
                <a:lnTo>
                  <a:pt x="227" y="402"/>
                </a:lnTo>
                <a:lnTo>
                  <a:pt x="227" y="396"/>
                </a:lnTo>
                <a:lnTo>
                  <a:pt x="232" y="391"/>
                </a:lnTo>
                <a:lnTo>
                  <a:pt x="238" y="391"/>
                </a:lnTo>
                <a:lnTo>
                  <a:pt x="238" y="385"/>
                </a:lnTo>
                <a:lnTo>
                  <a:pt x="249" y="379"/>
                </a:lnTo>
                <a:lnTo>
                  <a:pt x="255" y="374"/>
                </a:lnTo>
                <a:lnTo>
                  <a:pt x="244" y="368"/>
                </a:lnTo>
                <a:lnTo>
                  <a:pt x="249" y="368"/>
                </a:lnTo>
                <a:lnTo>
                  <a:pt x="255" y="368"/>
                </a:lnTo>
                <a:lnTo>
                  <a:pt x="255" y="362"/>
                </a:lnTo>
                <a:lnTo>
                  <a:pt x="261" y="362"/>
                </a:lnTo>
                <a:lnTo>
                  <a:pt x="266" y="362"/>
                </a:lnTo>
                <a:lnTo>
                  <a:pt x="272" y="362"/>
                </a:lnTo>
                <a:lnTo>
                  <a:pt x="278" y="368"/>
                </a:lnTo>
                <a:lnTo>
                  <a:pt x="278" y="374"/>
                </a:lnTo>
                <a:lnTo>
                  <a:pt x="283" y="374"/>
                </a:lnTo>
                <a:lnTo>
                  <a:pt x="289" y="374"/>
                </a:lnTo>
                <a:lnTo>
                  <a:pt x="295" y="374"/>
                </a:lnTo>
                <a:lnTo>
                  <a:pt x="300" y="374"/>
                </a:lnTo>
                <a:lnTo>
                  <a:pt x="300" y="379"/>
                </a:lnTo>
                <a:lnTo>
                  <a:pt x="306" y="379"/>
                </a:lnTo>
                <a:lnTo>
                  <a:pt x="312" y="385"/>
                </a:lnTo>
                <a:lnTo>
                  <a:pt x="323" y="379"/>
                </a:lnTo>
                <a:lnTo>
                  <a:pt x="329" y="374"/>
                </a:lnTo>
                <a:lnTo>
                  <a:pt x="334" y="374"/>
                </a:lnTo>
                <a:lnTo>
                  <a:pt x="334" y="368"/>
                </a:lnTo>
                <a:lnTo>
                  <a:pt x="340" y="368"/>
                </a:lnTo>
                <a:lnTo>
                  <a:pt x="340" y="362"/>
                </a:lnTo>
                <a:lnTo>
                  <a:pt x="340" y="357"/>
                </a:lnTo>
                <a:lnTo>
                  <a:pt x="351" y="357"/>
                </a:lnTo>
                <a:lnTo>
                  <a:pt x="357" y="357"/>
                </a:lnTo>
                <a:lnTo>
                  <a:pt x="363" y="357"/>
                </a:lnTo>
                <a:lnTo>
                  <a:pt x="368" y="357"/>
                </a:lnTo>
                <a:lnTo>
                  <a:pt x="374" y="357"/>
                </a:lnTo>
                <a:lnTo>
                  <a:pt x="380" y="362"/>
                </a:lnTo>
                <a:lnTo>
                  <a:pt x="380" y="368"/>
                </a:lnTo>
                <a:lnTo>
                  <a:pt x="385" y="374"/>
                </a:lnTo>
                <a:lnTo>
                  <a:pt x="385" y="379"/>
                </a:lnTo>
                <a:lnTo>
                  <a:pt x="391" y="379"/>
                </a:lnTo>
                <a:lnTo>
                  <a:pt x="391" y="385"/>
                </a:lnTo>
                <a:lnTo>
                  <a:pt x="391" y="391"/>
                </a:lnTo>
                <a:lnTo>
                  <a:pt x="391" y="396"/>
                </a:lnTo>
                <a:lnTo>
                  <a:pt x="397" y="402"/>
                </a:lnTo>
                <a:lnTo>
                  <a:pt x="397" y="408"/>
                </a:lnTo>
                <a:lnTo>
                  <a:pt x="397" y="413"/>
                </a:lnTo>
                <a:lnTo>
                  <a:pt x="402" y="413"/>
                </a:lnTo>
                <a:lnTo>
                  <a:pt x="408" y="419"/>
                </a:lnTo>
                <a:lnTo>
                  <a:pt x="408" y="425"/>
                </a:lnTo>
                <a:lnTo>
                  <a:pt x="414" y="430"/>
                </a:lnTo>
                <a:lnTo>
                  <a:pt x="419" y="436"/>
                </a:lnTo>
                <a:lnTo>
                  <a:pt x="419" y="442"/>
                </a:lnTo>
                <a:lnTo>
                  <a:pt x="419" y="447"/>
                </a:lnTo>
                <a:lnTo>
                  <a:pt x="419" y="453"/>
                </a:lnTo>
                <a:lnTo>
                  <a:pt x="419" y="459"/>
                </a:lnTo>
                <a:lnTo>
                  <a:pt x="414" y="476"/>
                </a:lnTo>
                <a:lnTo>
                  <a:pt x="414" y="481"/>
                </a:lnTo>
                <a:lnTo>
                  <a:pt x="419" y="493"/>
                </a:lnTo>
                <a:lnTo>
                  <a:pt x="425" y="493"/>
                </a:lnTo>
                <a:lnTo>
                  <a:pt x="431" y="487"/>
                </a:lnTo>
                <a:lnTo>
                  <a:pt x="436" y="481"/>
                </a:lnTo>
                <a:lnTo>
                  <a:pt x="436" y="476"/>
                </a:lnTo>
                <a:lnTo>
                  <a:pt x="442" y="476"/>
                </a:lnTo>
                <a:lnTo>
                  <a:pt x="448" y="470"/>
                </a:lnTo>
                <a:lnTo>
                  <a:pt x="448" y="464"/>
                </a:lnTo>
                <a:lnTo>
                  <a:pt x="453" y="464"/>
                </a:lnTo>
                <a:lnTo>
                  <a:pt x="453" y="459"/>
                </a:lnTo>
                <a:lnTo>
                  <a:pt x="459" y="453"/>
                </a:lnTo>
                <a:lnTo>
                  <a:pt x="465" y="453"/>
                </a:lnTo>
                <a:lnTo>
                  <a:pt x="465" y="447"/>
                </a:lnTo>
                <a:lnTo>
                  <a:pt x="470" y="447"/>
                </a:lnTo>
                <a:lnTo>
                  <a:pt x="476" y="447"/>
                </a:lnTo>
                <a:lnTo>
                  <a:pt x="482" y="442"/>
                </a:lnTo>
                <a:lnTo>
                  <a:pt x="487" y="447"/>
                </a:lnTo>
                <a:lnTo>
                  <a:pt x="499" y="447"/>
                </a:lnTo>
                <a:lnTo>
                  <a:pt x="504" y="447"/>
                </a:lnTo>
                <a:lnTo>
                  <a:pt x="510" y="453"/>
                </a:lnTo>
                <a:lnTo>
                  <a:pt x="516" y="459"/>
                </a:lnTo>
                <a:lnTo>
                  <a:pt x="521" y="464"/>
                </a:lnTo>
                <a:lnTo>
                  <a:pt x="521" y="470"/>
                </a:lnTo>
                <a:lnTo>
                  <a:pt x="527" y="476"/>
                </a:lnTo>
                <a:lnTo>
                  <a:pt x="527" y="481"/>
                </a:lnTo>
                <a:lnTo>
                  <a:pt x="533" y="481"/>
                </a:lnTo>
                <a:lnTo>
                  <a:pt x="538" y="487"/>
                </a:lnTo>
                <a:lnTo>
                  <a:pt x="544" y="493"/>
                </a:lnTo>
                <a:lnTo>
                  <a:pt x="550" y="493"/>
                </a:lnTo>
                <a:lnTo>
                  <a:pt x="561" y="493"/>
                </a:lnTo>
                <a:lnTo>
                  <a:pt x="567" y="493"/>
                </a:lnTo>
                <a:lnTo>
                  <a:pt x="572" y="493"/>
                </a:lnTo>
                <a:lnTo>
                  <a:pt x="578" y="493"/>
                </a:lnTo>
                <a:lnTo>
                  <a:pt x="578" y="487"/>
                </a:lnTo>
                <a:lnTo>
                  <a:pt x="584" y="481"/>
                </a:lnTo>
                <a:lnTo>
                  <a:pt x="589" y="481"/>
                </a:lnTo>
                <a:lnTo>
                  <a:pt x="589" y="476"/>
                </a:lnTo>
                <a:lnTo>
                  <a:pt x="589" y="470"/>
                </a:lnTo>
                <a:lnTo>
                  <a:pt x="589" y="464"/>
                </a:lnTo>
                <a:lnTo>
                  <a:pt x="595" y="459"/>
                </a:lnTo>
                <a:lnTo>
                  <a:pt x="595" y="453"/>
                </a:lnTo>
                <a:lnTo>
                  <a:pt x="601" y="447"/>
                </a:lnTo>
                <a:lnTo>
                  <a:pt x="601" y="442"/>
                </a:lnTo>
                <a:lnTo>
                  <a:pt x="606" y="436"/>
                </a:lnTo>
                <a:lnTo>
                  <a:pt x="606" y="430"/>
                </a:lnTo>
                <a:lnTo>
                  <a:pt x="606" y="425"/>
                </a:lnTo>
                <a:lnTo>
                  <a:pt x="612" y="419"/>
                </a:lnTo>
                <a:lnTo>
                  <a:pt x="612" y="413"/>
                </a:lnTo>
                <a:lnTo>
                  <a:pt x="618" y="413"/>
                </a:lnTo>
                <a:lnTo>
                  <a:pt x="618" y="408"/>
                </a:lnTo>
                <a:lnTo>
                  <a:pt x="618" y="402"/>
                </a:lnTo>
                <a:lnTo>
                  <a:pt x="623" y="396"/>
                </a:lnTo>
                <a:lnTo>
                  <a:pt x="629" y="391"/>
                </a:lnTo>
                <a:lnTo>
                  <a:pt x="629" y="385"/>
                </a:lnTo>
                <a:lnTo>
                  <a:pt x="629" y="379"/>
                </a:lnTo>
                <a:lnTo>
                  <a:pt x="629" y="374"/>
                </a:lnTo>
                <a:lnTo>
                  <a:pt x="623" y="368"/>
                </a:lnTo>
                <a:lnTo>
                  <a:pt x="618" y="368"/>
                </a:lnTo>
                <a:lnTo>
                  <a:pt x="618" y="362"/>
                </a:lnTo>
                <a:lnTo>
                  <a:pt x="612" y="362"/>
                </a:lnTo>
                <a:lnTo>
                  <a:pt x="606" y="362"/>
                </a:lnTo>
                <a:lnTo>
                  <a:pt x="606" y="357"/>
                </a:lnTo>
                <a:lnTo>
                  <a:pt x="601" y="351"/>
                </a:lnTo>
                <a:lnTo>
                  <a:pt x="589" y="340"/>
                </a:lnTo>
                <a:lnTo>
                  <a:pt x="584" y="334"/>
                </a:lnTo>
                <a:lnTo>
                  <a:pt x="584" y="328"/>
                </a:lnTo>
                <a:lnTo>
                  <a:pt x="578" y="328"/>
                </a:lnTo>
                <a:lnTo>
                  <a:pt x="578" y="323"/>
                </a:lnTo>
                <a:lnTo>
                  <a:pt x="578" y="317"/>
                </a:lnTo>
                <a:lnTo>
                  <a:pt x="578" y="311"/>
                </a:lnTo>
                <a:lnTo>
                  <a:pt x="578" y="300"/>
                </a:lnTo>
                <a:lnTo>
                  <a:pt x="578" y="294"/>
                </a:lnTo>
                <a:lnTo>
                  <a:pt x="578" y="289"/>
                </a:lnTo>
                <a:lnTo>
                  <a:pt x="584" y="277"/>
                </a:lnTo>
                <a:lnTo>
                  <a:pt x="589" y="266"/>
                </a:lnTo>
                <a:lnTo>
                  <a:pt x="589" y="260"/>
                </a:lnTo>
                <a:lnTo>
                  <a:pt x="589" y="255"/>
                </a:lnTo>
                <a:lnTo>
                  <a:pt x="595" y="249"/>
                </a:lnTo>
                <a:lnTo>
                  <a:pt x="601" y="243"/>
                </a:lnTo>
                <a:lnTo>
                  <a:pt x="601" y="232"/>
                </a:lnTo>
                <a:lnTo>
                  <a:pt x="601" y="221"/>
                </a:lnTo>
                <a:lnTo>
                  <a:pt x="601" y="215"/>
                </a:lnTo>
                <a:lnTo>
                  <a:pt x="601" y="192"/>
                </a:lnTo>
                <a:lnTo>
                  <a:pt x="601" y="181"/>
                </a:lnTo>
                <a:lnTo>
                  <a:pt x="601" y="175"/>
                </a:lnTo>
                <a:lnTo>
                  <a:pt x="601" y="170"/>
                </a:lnTo>
                <a:lnTo>
                  <a:pt x="606" y="164"/>
                </a:lnTo>
                <a:lnTo>
                  <a:pt x="606" y="158"/>
                </a:lnTo>
                <a:lnTo>
                  <a:pt x="606" y="153"/>
                </a:lnTo>
                <a:lnTo>
                  <a:pt x="612" y="153"/>
                </a:lnTo>
                <a:lnTo>
                  <a:pt x="612" y="147"/>
                </a:lnTo>
                <a:lnTo>
                  <a:pt x="618" y="141"/>
                </a:lnTo>
                <a:lnTo>
                  <a:pt x="618" y="136"/>
                </a:lnTo>
                <a:lnTo>
                  <a:pt x="618" y="130"/>
                </a:lnTo>
                <a:lnTo>
                  <a:pt x="618" y="124"/>
                </a:lnTo>
                <a:lnTo>
                  <a:pt x="618" y="119"/>
                </a:lnTo>
                <a:lnTo>
                  <a:pt x="618" y="96"/>
                </a:lnTo>
                <a:lnTo>
                  <a:pt x="618" y="90"/>
                </a:lnTo>
                <a:lnTo>
                  <a:pt x="618" y="85"/>
                </a:lnTo>
                <a:lnTo>
                  <a:pt x="618" y="79"/>
                </a:lnTo>
                <a:lnTo>
                  <a:pt x="618" y="73"/>
                </a:lnTo>
                <a:lnTo>
                  <a:pt x="623" y="68"/>
                </a:lnTo>
                <a:lnTo>
                  <a:pt x="629" y="62"/>
                </a:lnTo>
                <a:lnTo>
                  <a:pt x="635" y="62"/>
                </a:lnTo>
                <a:lnTo>
                  <a:pt x="640" y="56"/>
                </a:lnTo>
                <a:lnTo>
                  <a:pt x="646" y="51"/>
                </a:lnTo>
                <a:lnTo>
                  <a:pt x="646" y="45"/>
                </a:lnTo>
                <a:lnTo>
                  <a:pt x="652" y="39"/>
                </a:lnTo>
                <a:lnTo>
                  <a:pt x="652" y="34"/>
                </a:lnTo>
                <a:lnTo>
                  <a:pt x="652" y="17"/>
                </a:lnTo>
                <a:lnTo>
                  <a:pt x="652" y="11"/>
                </a:lnTo>
                <a:lnTo>
                  <a:pt x="652" y="5"/>
                </a:lnTo>
                <a:lnTo>
                  <a:pt x="652" y="0"/>
                </a:lnTo>
                <a:lnTo>
                  <a:pt x="657" y="0"/>
                </a:lnTo>
                <a:lnTo>
                  <a:pt x="663" y="0"/>
                </a:lnTo>
                <a:lnTo>
                  <a:pt x="663" y="5"/>
                </a:lnTo>
                <a:lnTo>
                  <a:pt x="669" y="11"/>
                </a:lnTo>
                <a:lnTo>
                  <a:pt x="680" y="11"/>
                </a:lnTo>
                <a:lnTo>
                  <a:pt x="686" y="11"/>
                </a:lnTo>
                <a:lnTo>
                  <a:pt x="691" y="11"/>
                </a:lnTo>
                <a:lnTo>
                  <a:pt x="697" y="11"/>
                </a:lnTo>
                <a:lnTo>
                  <a:pt x="703" y="17"/>
                </a:lnTo>
                <a:lnTo>
                  <a:pt x="708" y="17"/>
                </a:lnTo>
                <a:lnTo>
                  <a:pt x="708" y="22"/>
                </a:lnTo>
                <a:lnTo>
                  <a:pt x="714" y="22"/>
                </a:lnTo>
                <a:lnTo>
                  <a:pt x="714" y="28"/>
                </a:lnTo>
                <a:lnTo>
                  <a:pt x="714" y="34"/>
                </a:lnTo>
                <a:lnTo>
                  <a:pt x="714" y="39"/>
                </a:lnTo>
                <a:lnTo>
                  <a:pt x="714" y="45"/>
                </a:lnTo>
                <a:lnTo>
                  <a:pt x="714" y="51"/>
                </a:lnTo>
                <a:lnTo>
                  <a:pt x="714" y="56"/>
                </a:lnTo>
                <a:lnTo>
                  <a:pt x="720" y="62"/>
                </a:lnTo>
                <a:lnTo>
                  <a:pt x="720" y="68"/>
                </a:lnTo>
                <a:lnTo>
                  <a:pt x="720" y="73"/>
                </a:lnTo>
                <a:lnTo>
                  <a:pt x="725" y="79"/>
                </a:lnTo>
                <a:lnTo>
                  <a:pt x="725" y="85"/>
                </a:lnTo>
                <a:lnTo>
                  <a:pt x="725" y="90"/>
                </a:lnTo>
                <a:lnTo>
                  <a:pt x="725" y="96"/>
                </a:lnTo>
                <a:lnTo>
                  <a:pt x="725" y="102"/>
                </a:lnTo>
                <a:lnTo>
                  <a:pt x="725" y="113"/>
                </a:lnTo>
                <a:lnTo>
                  <a:pt x="725" y="124"/>
                </a:lnTo>
                <a:lnTo>
                  <a:pt x="725" y="130"/>
                </a:lnTo>
                <a:lnTo>
                  <a:pt x="725" y="136"/>
                </a:lnTo>
                <a:lnTo>
                  <a:pt x="731" y="141"/>
                </a:lnTo>
                <a:lnTo>
                  <a:pt x="731" y="147"/>
                </a:lnTo>
                <a:lnTo>
                  <a:pt x="737" y="141"/>
                </a:lnTo>
                <a:lnTo>
                  <a:pt x="742" y="136"/>
                </a:lnTo>
                <a:lnTo>
                  <a:pt x="748" y="136"/>
                </a:lnTo>
                <a:lnTo>
                  <a:pt x="754" y="130"/>
                </a:lnTo>
                <a:lnTo>
                  <a:pt x="759" y="124"/>
                </a:lnTo>
                <a:lnTo>
                  <a:pt x="765" y="124"/>
                </a:lnTo>
                <a:lnTo>
                  <a:pt x="771" y="124"/>
                </a:lnTo>
                <a:lnTo>
                  <a:pt x="782" y="130"/>
                </a:lnTo>
                <a:lnTo>
                  <a:pt x="788" y="130"/>
                </a:lnTo>
                <a:lnTo>
                  <a:pt x="788" y="136"/>
                </a:lnTo>
                <a:lnTo>
                  <a:pt x="799" y="141"/>
                </a:lnTo>
                <a:lnTo>
                  <a:pt x="799" y="147"/>
                </a:lnTo>
                <a:lnTo>
                  <a:pt x="805" y="153"/>
                </a:lnTo>
                <a:lnTo>
                  <a:pt x="805" y="158"/>
                </a:lnTo>
                <a:lnTo>
                  <a:pt x="805" y="164"/>
                </a:lnTo>
                <a:lnTo>
                  <a:pt x="810" y="164"/>
                </a:lnTo>
                <a:lnTo>
                  <a:pt x="810" y="170"/>
                </a:lnTo>
                <a:lnTo>
                  <a:pt x="810" y="175"/>
                </a:lnTo>
                <a:lnTo>
                  <a:pt x="810" y="181"/>
                </a:lnTo>
                <a:lnTo>
                  <a:pt x="805" y="192"/>
                </a:lnTo>
                <a:lnTo>
                  <a:pt x="805" y="198"/>
                </a:lnTo>
                <a:lnTo>
                  <a:pt x="805" y="204"/>
                </a:lnTo>
                <a:lnTo>
                  <a:pt x="799" y="204"/>
                </a:lnTo>
                <a:lnTo>
                  <a:pt x="799" y="209"/>
                </a:lnTo>
                <a:lnTo>
                  <a:pt x="793" y="221"/>
                </a:lnTo>
                <a:lnTo>
                  <a:pt x="793" y="226"/>
                </a:lnTo>
                <a:lnTo>
                  <a:pt x="799" y="232"/>
                </a:lnTo>
                <a:lnTo>
                  <a:pt x="799" y="238"/>
                </a:lnTo>
                <a:lnTo>
                  <a:pt x="799" y="243"/>
                </a:lnTo>
                <a:lnTo>
                  <a:pt x="805" y="243"/>
                </a:lnTo>
                <a:lnTo>
                  <a:pt x="810" y="243"/>
                </a:lnTo>
                <a:lnTo>
                  <a:pt x="816" y="243"/>
                </a:lnTo>
                <a:lnTo>
                  <a:pt x="822" y="243"/>
                </a:lnTo>
                <a:lnTo>
                  <a:pt x="827" y="243"/>
                </a:lnTo>
                <a:lnTo>
                  <a:pt x="827" y="249"/>
                </a:lnTo>
                <a:lnTo>
                  <a:pt x="833" y="255"/>
                </a:lnTo>
                <a:lnTo>
                  <a:pt x="833" y="260"/>
                </a:lnTo>
                <a:lnTo>
                  <a:pt x="833" y="266"/>
                </a:lnTo>
                <a:lnTo>
                  <a:pt x="839" y="272"/>
                </a:lnTo>
                <a:lnTo>
                  <a:pt x="844" y="272"/>
                </a:lnTo>
                <a:lnTo>
                  <a:pt x="844" y="277"/>
                </a:lnTo>
                <a:lnTo>
                  <a:pt x="850" y="277"/>
                </a:lnTo>
                <a:lnTo>
                  <a:pt x="850" y="283"/>
                </a:lnTo>
                <a:lnTo>
                  <a:pt x="856" y="283"/>
                </a:lnTo>
                <a:lnTo>
                  <a:pt x="856" y="289"/>
                </a:lnTo>
                <a:lnTo>
                  <a:pt x="861" y="289"/>
                </a:lnTo>
                <a:lnTo>
                  <a:pt x="867" y="289"/>
                </a:lnTo>
                <a:lnTo>
                  <a:pt x="873" y="294"/>
                </a:lnTo>
                <a:lnTo>
                  <a:pt x="901" y="300"/>
                </a:lnTo>
                <a:lnTo>
                  <a:pt x="907" y="300"/>
                </a:lnTo>
                <a:lnTo>
                  <a:pt x="912" y="300"/>
                </a:lnTo>
                <a:lnTo>
                  <a:pt x="918" y="300"/>
                </a:lnTo>
                <a:lnTo>
                  <a:pt x="929" y="300"/>
                </a:lnTo>
                <a:lnTo>
                  <a:pt x="946" y="300"/>
                </a:lnTo>
                <a:lnTo>
                  <a:pt x="952" y="300"/>
                </a:lnTo>
                <a:lnTo>
                  <a:pt x="963" y="300"/>
                </a:lnTo>
                <a:lnTo>
                  <a:pt x="980" y="300"/>
                </a:lnTo>
                <a:lnTo>
                  <a:pt x="992" y="294"/>
                </a:lnTo>
                <a:lnTo>
                  <a:pt x="997" y="294"/>
                </a:lnTo>
                <a:lnTo>
                  <a:pt x="997" y="289"/>
                </a:lnTo>
                <a:lnTo>
                  <a:pt x="1003" y="289"/>
                </a:lnTo>
                <a:lnTo>
                  <a:pt x="1003" y="283"/>
                </a:lnTo>
                <a:lnTo>
                  <a:pt x="1009" y="283"/>
                </a:lnTo>
                <a:lnTo>
                  <a:pt x="1009" y="277"/>
                </a:lnTo>
                <a:lnTo>
                  <a:pt x="1009" y="272"/>
                </a:lnTo>
                <a:lnTo>
                  <a:pt x="1014" y="266"/>
                </a:lnTo>
                <a:lnTo>
                  <a:pt x="1014" y="260"/>
                </a:lnTo>
                <a:lnTo>
                  <a:pt x="1026" y="260"/>
                </a:lnTo>
                <a:lnTo>
                  <a:pt x="1043" y="255"/>
                </a:lnTo>
                <a:lnTo>
                  <a:pt x="1048" y="249"/>
                </a:lnTo>
                <a:lnTo>
                  <a:pt x="1048" y="243"/>
                </a:lnTo>
                <a:lnTo>
                  <a:pt x="1043" y="238"/>
                </a:lnTo>
                <a:lnTo>
                  <a:pt x="1043" y="232"/>
                </a:lnTo>
                <a:lnTo>
                  <a:pt x="1037" y="232"/>
                </a:lnTo>
                <a:lnTo>
                  <a:pt x="1037" y="226"/>
                </a:lnTo>
                <a:lnTo>
                  <a:pt x="1037" y="221"/>
                </a:lnTo>
                <a:lnTo>
                  <a:pt x="1031" y="221"/>
                </a:lnTo>
                <a:lnTo>
                  <a:pt x="1026" y="221"/>
                </a:lnTo>
                <a:lnTo>
                  <a:pt x="1026" y="215"/>
                </a:lnTo>
                <a:lnTo>
                  <a:pt x="1031" y="209"/>
                </a:lnTo>
                <a:lnTo>
                  <a:pt x="1037" y="204"/>
                </a:lnTo>
                <a:lnTo>
                  <a:pt x="1043" y="204"/>
                </a:lnTo>
                <a:lnTo>
                  <a:pt x="1054" y="204"/>
                </a:lnTo>
                <a:lnTo>
                  <a:pt x="1060" y="204"/>
                </a:lnTo>
                <a:lnTo>
                  <a:pt x="1071" y="209"/>
                </a:lnTo>
                <a:lnTo>
                  <a:pt x="1077" y="215"/>
                </a:lnTo>
                <a:lnTo>
                  <a:pt x="1083" y="215"/>
                </a:lnTo>
                <a:lnTo>
                  <a:pt x="1088" y="215"/>
                </a:lnTo>
                <a:lnTo>
                  <a:pt x="1100" y="215"/>
                </a:lnTo>
                <a:lnTo>
                  <a:pt x="1111" y="221"/>
                </a:lnTo>
                <a:lnTo>
                  <a:pt x="1117" y="221"/>
                </a:lnTo>
                <a:lnTo>
                  <a:pt x="1122" y="226"/>
                </a:lnTo>
                <a:lnTo>
                  <a:pt x="1128" y="232"/>
                </a:lnTo>
                <a:lnTo>
                  <a:pt x="1134" y="232"/>
                </a:lnTo>
                <a:lnTo>
                  <a:pt x="1139" y="232"/>
                </a:lnTo>
                <a:lnTo>
                  <a:pt x="1139" y="238"/>
                </a:lnTo>
                <a:lnTo>
                  <a:pt x="1139" y="243"/>
                </a:lnTo>
                <a:lnTo>
                  <a:pt x="1145" y="243"/>
                </a:lnTo>
                <a:lnTo>
                  <a:pt x="1151" y="249"/>
                </a:lnTo>
                <a:lnTo>
                  <a:pt x="1156" y="249"/>
                </a:lnTo>
                <a:lnTo>
                  <a:pt x="1173" y="249"/>
                </a:lnTo>
                <a:lnTo>
                  <a:pt x="1185" y="255"/>
                </a:lnTo>
                <a:lnTo>
                  <a:pt x="1185" y="260"/>
                </a:lnTo>
                <a:lnTo>
                  <a:pt x="1196" y="260"/>
                </a:lnTo>
                <a:lnTo>
                  <a:pt x="1202" y="260"/>
                </a:lnTo>
                <a:lnTo>
                  <a:pt x="1207" y="260"/>
                </a:lnTo>
                <a:lnTo>
                  <a:pt x="1207" y="266"/>
                </a:lnTo>
                <a:lnTo>
                  <a:pt x="1213" y="272"/>
                </a:lnTo>
                <a:lnTo>
                  <a:pt x="1219" y="272"/>
                </a:lnTo>
                <a:lnTo>
                  <a:pt x="1224" y="277"/>
                </a:lnTo>
                <a:lnTo>
                  <a:pt x="1230" y="277"/>
                </a:lnTo>
                <a:lnTo>
                  <a:pt x="1236" y="283"/>
                </a:lnTo>
                <a:lnTo>
                  <a:pt x="1241" y="283"/>
                </a:lnTo>
                <a:lnTo>
                  <a:pt x="1241" y="289"/>
                </a:lnTo>
                <a:lnTo>
                  <a:pt x="1247" y="289"/>
                </a:lnTo>
                <a:lnTo>
                  <a:pt x="1253" y="294"/>
                </a:lnTo>
                <a:lnTo>
                  <a:pt x="1264" y="300"/>
                </a:lnTo>
                <a:lnTo>
                  <a:pt x="1270" y="306"/>
                </a:lnTo>
                <a:lnTo>
                  <a:pt x="1275" y="311"/>
                </a:lnTo>
                <a:lnTo>
                  <a:pt x="1275" y="317"/>
                </a:lnTo>
                <a:lnTo>
                  <a:pt x="1281" y="317"/>
                </a:lnTo>
                <a:lnTo>
                  <a:pt x="1287" y="317"/>
                </a:lnTo>
                <a:lnTo>
                  <a:pt x="1292" y="323"/>
                </a:lnTo>
                <a:lnTo>
                  <a:pt x="1309" y="317"/>
                </a:lnTo>
                <a:lnTo>
                  <a:pt x="1292" y="328"/>
                </a:lnTo>
                <a:lnTo>
                  <a:pt x="1292" y="334"/>
                </a:lnTo>
                <a:lnTo>
                  <a:pt x="1292" y="340"/>
                </a:lnTo>
                <a:lnTo>
                  <a:pt x="1292" y="345"/>
                </a:lnTo>
                <a:lnTo>
                  <a:pt x="1287" y="345"/>
                </a:lnTo>
                <a:lnTo>
                  <a:pt x="1287" y="351"/>
                </a:lnTo>
                <a:lnTo>
                  <a:pt x="1287" y="357"/>
                </a:lnTo>
                <a:lnTo>
                  <a:pt x="1281" y="357"/>
                </a:lnTo>
                <a:lnTo>
                  <a:pt x="1281" y="362"/>
                </a:lnTo>
                <a:lnTo>
                  <a:pt x="1281" y="368"/>
                </a:lnTo>
                <a:lnTo>
                  <a:pt x="1281" y="374"/>
                </a:lnTo>
                <a:lnTo>
                  <a:pt x="1287" y="385"/>
                </a:lnTo>
                <a:lnTo>
                  <a:pt x="1287" y="396"/>
                </a:lnTo>
                <a:lnTo>
                  <a:pt x="1292" y="413"/>
                </a:lnTo>
                <a:lnTo>
                  <a:pt x="1292" y="425"/>
                </a:lnTo>
                <a:lnTo>
                  <a:pt x="1292" y="436"/>
                </a:lnTo>
                <a:lnTo>
                  <a:pt x="1304" y="453"/>
                </a:lnTo>
                <a:lnTo>
                  <a:pt x="1304" y="459"/>
                </a:lnTo>
                <a:lnTo>
                  <a:pt x="1309" y="470"/>
                </a:lnTo>
                <a:lnTo>
                  <a:pt x="1309" y="476"/>
                </a:lnTo>
                <a:lnTo>
                  <a:pt x="1309" y="481"/>
                </a:lnTo>
                <a:lnTo>
                  <a:pt x="1315" y="481"/>
                </a:lnTo>
                <a:lnTo>
                  <a:pt x="1321" y="487"/>
                </a:lnTo>
                <a:lnTo>
                  <a:pt x="1321" y="493"/>
                </a:lnTo>
                <a:lnTo>
                  <a:pt x="1321" y="498"/>
                </a:lnTo>
                <a:lnTo>
                  <a:pt x="1321" y="510"/>
                </a:lnTo>
                <a:lnTo>
                  <a:pt x="1321" y="515"/>
                </a:lnTo>
                <a:lnTo>
                  <a:pt x="1309" y="521"/>
                </a:lnTo>
                <a:lnTo>
                  <a:pt x="1304" y="521"/>
                </a:lnTo>
                <a:lnTo>
                  <a:pt x="1304" y="527"/>
                </a:lnTo>
                <a:lnTo>
                  <a:pt x="1298" y="527"/>
                </a:lnTo>
                <a:lnTo>
                  <a:pt x="1287" y="527"/>
                </a:lnTo>
                <a:lnTo>
                  <a:pt x="1270" y="527"/>
                </a:lnTo>
                <a:lnTo>
                  <a:pt x="1264" y="527"/>
                </a:lnTo>
                <a:lnTo>
                  <a:pt x="1258" y="532"/>
                </a:lnTo>
                <a:lnTo>
                  <a:pt x="1253" y="532"/>
                </a:lnTo>
                <a:lnTo>
                  <a:pt x="1247" y="538"/>
                </a:lnTo>
                <a:lnTo>
                  <a:pt x="1241" y="538"/>
                </a:lnTo>
                <a:lnTo>
                  <a:pt x="1236" y="538"/>
                </a:lnTo>
                <a:lnTo>
                  <a:pt x="1236" y="544"/>
                </a:lnTo>
                <a:lnTo>
                  <a:pt x="1230" y="544"/>
                </a:lnTo>
                <a:lnTo>
                  <a:pt x="1224" y="549"/>
                </a:lnTo>
                <a:lnTo>
                  <a:pt x="1213" y="555"/>
                </a:lnTo>
                <a:lnTo>
                  <a:pt x="1213" y="561"/>
                </a:lnTo>
                <a:lnTo>
                  <a:pt x="1207" y="561"/>
                </a:lnTo>
                <a:lnTo>
                  <a:pt x="1207" y="566"/>
                </a:lnTo>
                <a:lnTo>
                  <a:pt x="1202" y="566"/>
                </a:lnTo>
                <a:lnTo>
                  <a:pt x="1196" y="578"/>
                </a:lnTo>
                <a:lnTo>
                  <a:pt x="1190" y="578"/>
                </a:lnTo>
                <a:lnTo>
                  <a:pt x="1179" y="583"/>
                </a:lnTo>
                <a:lnTo>
                  <a:pt x="1179" y="589"/>
                </a:lnTo>
                <a:lnTo>
                  <a:pt x="1179" y="595"/>
                </a:lnTo>
                <a:lnTo>
                  <a:pt x="1173" y="595"/>
                </a:lnTo>
                <a:lnTo>
                  <a:pt x="1168" y="595"/>
                </a:lnTo>
                <a:lnTo>
                  <a:pt x="1162" y="606"/>
                </a:lnTo>
                <a:lnTo>
                  <a:pt x="1162" y="612"/>
                </a:lnTo>
                <a:lnTo>
                  <a:pt x="1156" y="612"/>
                </a:lnTo>
                <a:lnTo>
                  <a:pt x="1151" y="612"/>
                </a:lnTo>
                <a:lnTo>
                  <a:pt x="1151" y="617"/>
                </a:lnTo>
                <a:lnTo>
                  <a:pt x="1151" y="623"/>
                </a:lnTo>
                <a:lnTo>
                  <a:pt x="1145" y="623"/>
                </a:lnTo>
                <a:lnTo>
                  <a:pt x="1139" y="623"/>
                </a:lnTo>
                <a:lnTo>
                  <a:pt x="1139" y="629"/>
                </a:lnTo>
                <a:lnTo>
                  <a:pt x="1134" y="629"/>
                </a:lnTo>
                <a:lnTo>
                  <a:pt x="1134" y="634"/>
                </a:lnTo>
                <a:lnTo>
                  <a:pt x="1128" y="634"/>
                </a:lnTo>
                <a:lnTo>
                  <a:pt x="1128" y="640"/>
                </a:lnTo>
                <a:lnTo>
                  <a:pt x="1122" y="640"/>
                </a:lnTo>
                <a:lnTo>
                  <a:pt x="1122" y="646"/>
                </a:lnTo>
                <a:lnTo>
                  <a:pt x="1117" y="646"/>
                </a:lnTo>
                <a:lnTo>
                  <a:pt x="1111" y="646"/>
                </a:lnTo>
                <a:lnTo>
                  <a:pt x="1111" y="651"/>
                </a:lnTo>
                <a:lnTo>
                  <a:pt x="1105" y="651"/>
                </a:lnTo>
                <a:lnTo>
                  <a:pt x="1105" y="657"/>
                </a:lnTo>
                <a:lnTo>
                  <a:pt x="1100" y="657"/>
                </a:lnTo>
                <a:lnTo>
                  <a:pt x="1094" y="663"/>
                </a:lnTo>
                <a:lnTo>
                  <a:pt x="1088" y="663"/>
                </a:lnTo>
                <a:lnTo>
                  <a:pt x="1083" y="668"/>
                </a:lnTo>
                <a:lnTo>
                  <a:pt x="1083" y="674"/>
                </a:lnTo>
                <a:lnTo>
                  <a:pt x="1077" y="674"/>
                </a:lnTo>
                <a:lnTo>
                  <a:pt x="1071" y="674"/>
                </a:lnTo>
                <a:lnTo>
                  <a:pt x="1071" y="680"/>
                </a:lnTo>
                <a:lnTo>
                  <a:pt x="1066" y="680"/>
                </a:lnTo>
                <a:lnTo>
                  <a:pt x="1060" y="685"/>
                </a:lnTo>
                <a:lnTo>
                  <a:pt x="1054" y="691"/>
                </a:lnTo>
                <a:lnTo>
                  <a:pt x="1048" y="691"/>
                </a:lnTo>
                <a:lnTo>
                  <a:pt x="1043" y="691"/>
                </a:lnTo>
                <a:lnTo>
                  <a:pt x="1043" y="697"/>
                </a:lnTo>
                <a:lnTo>
                  <a:pt x="1037" y="702"/>
                </a:lnTo>
                <a:lnTo>
                  <a:pt x="1031" y="702"/>
                </a:lnTo>
                <a:lnTo>
                  <a:pt x="1026" y="702"/>
                </a:lnTo>
                <a:lnTo>
                  <a:pt x="1020" y="708"/>
                </a:lnTo>
                <a:lnTo>
                  <a:pt x="1014" y="708"/>
                </a:lnTo>
                <a:lnTo>
                  <a:pt x="1009" y="714"/>
                </a:lnTo>
                <a:lnTo>
                  <a:pt x="997" y="714"/>
                </a:lnTo>
                <a:lnTo>
                  <a:pt x="992" y="719"/>
                </a:lnTo>
                <a:lnTo>
                  <a:pt x="986" y="719"/>
                </a:lnTo>
                <a:lnTo>
                  <a:pt x="980" y="719"/>
                </a:lnTo>
                <a:lnTo>
                  <a:pt x="969" y="719"/>
                </a:lnTo>
                <a:lnTo>
                  <a:pt x="958" y="719"/>
                </a:lnTo>
                <a:lnTo>
                  <a:pt x="952" y="725"/>
                </a:lnTo>
                <a:lnTo>
                  <a:pt x="952" y="731"/>
                </a:lnTo>
                <a:lnTo>
                  <a:pt x="946" y="736"/>
                </a:lnTo>
                <a:lnTo>
                  <a:pt x="941" y="736"/>
                </a:lnTo>
                <a:lnTo>
                  <a:pt x="941" y="742"/>
                </a:lnTo>
                <a:lnTo>
                  <a:pt x="941" y="748"/>
                </a:lnTo>
                <a:lnTo>
                  <a:pt x="929" y="748"/>
                </a:lnTo>
                <a:lnTo>
                  <a:pt x="924" y="748"/>
                </a:lnTo>
                <a:lnTo>
                  <a:pt x="918" y="748"/>
                </a:lnTo>
                <a:lnTo>
                  <a:pt x="912" y="748"/>
                </a:lnTo>
                <a:lnTo>
                  <a:pt x="907" y="742"/>
                </a:lnTo>
                <a:lnTo>
                  <a:pt x="901" y="742"/>
                </a:lnTo>
                <a:lnTo>
                  <a:pt x="895" y="742"/>
                </a:lnTo>
                <a:lnTo>
                  <a:pt x="895" y="736"/>
                </a:lnTo>
                <a:lnTo>
                  <a:pt x="884" y="736"/>
                </a:lnTo>
                <a:lnTo>
                  <a:pt x="878" y="736"/>
                </a:lnTo>
                <a:lnTo>
                  <a:pt x="873" y="731"/>
                </a:lnTo>
                <a:lnTo>
                  <a:pt x="867" y="731"/>
                </a:lnTo>
                <a:lnTo>
                  <a:pt x="867" y="736"/>
                </a:lnTo>
                <a:lnTo>
                  <a:pt x="856" y="736"/>
                </a:lnTo>
                <a:lnTo>
                  <a:pt x="856" y="742"/>
                </a:lnTo>
                <a:lnTo>
                  <a:pt x="850" y="748"/>
                </a:lnTo>
                <a:lnTo>
                  <a:pt x="850" y="759"/>
                </a:lnTo>
                <a:lnTo>
                  <a:pt x="856" y="765"/>
                </a:lnTo>
                <a:lnTo>
                  <a:pt x="856" y="770"/>
                </a:lnTo>
                <a:lnTo>
                  <a:pt x="856" y="776"/>
                </a:lnTo>
                <a:lnTo>
                  <a:pt x="856" y="782"/>
                </a:lnTo>
                <a:lnTo>
                  <a:pt x="861" y="787"/>
                </a:lnTo>
                <a:lnTo>
                  <a:pt x="867" y="787"/>
                </a:lnTo>
                <a:lnTo>
                  <a:pt x="867" y="799"/>
                </a:lnTo>
                <a:lnTo>
                  <a:pt x="867" y="804"/>
                </a:lnTo>
                <a:lnTo>
                  <a:pt x="873" y="804"/>
                </a:lnTo>
                <a:lnTo>
                  <a:pt x="873" y="810"/>
                </a:lnTo>
                <a:lnTo>
                  <a:pt x="873" y="816"/>
                </a:lnTo>
                <a:lnTo>
                  <a:pt x="873" y="821"/>
                </a:lnTo>
                <a:lnTo>
                  <a:pt x="873" y="827"/>
                </a:lnTo>
                <a:lnTo>
                  <a:pt x="873" y="833"/>
                </a:lnTo>
                <a:lnTo>
                  <a:pt x="867" y="833"/>
                </a:lnTo>
                <a:lnTo>
                  <a:pt x="867" y="838"/>
                </a:lnTo>
                <a:lnTo>
                  <a:pt x="861" y="844"/>
                </a:lnTo>
                <a:lnTo>
                  <a:pt x="856" y="844"/>
                </a:lnTo>
                <a:lnTo>
                  <a:pt x="844" y="855"/>
                </a:lnTo>
                <a:lnTo>
                  <a:pt x="839" y="855"/>
                </a:lnTo>
                <a:lnTo>
                  <a:pt x="839" y="861"/>
                </a:lnTo>
                <a:lnTo>
                  <a:pt x="833" y="861"/>
                </a:lnTo>
                <a:lnTo>
                  <a:pt x="833" y="867"/>
                </a:lnTo>
                <a:lnTo>
                  <a:pt x="827" y="867"/>
                </a:lnTo>
                <a:lnTo>
                  <a:pt x="827" y="872"/>
                </a:lnTo>
                <a:lnTo>
                  <a:pt x="822" y="872"/>
                </a:lnTo>
                <a:lnTo>
                  <a:pt x="810" y="884"/>
                </a:lnTo>
                <a:lnTo>
                  <a:pt x="805" y="884"/>
                </a:lnTo>
                <a:lnTo>
                  <a:pt x="799" y="884"/>
                </a:lnTo>
                <a:lnTo>
                  <a:pt x="793" y="878"/>
                </a:lnTo>
                <a:lnTo>
                  <a:pt x="788" y="878"/>
                </a:lnTo>
                <a:lnTo>
                  <a:pt x="788" y="872"/>
                </a:lnTo>
                <a:lnTo>
                  <a:pt x="788" y="867"/>
                </a:lnTo>
                <a:lnTo>
                  <a:pt x="782" y="861"/>
                </a:lnTo>
                <a:lnTo>
                  <a:pt x="782" y="855"/>
                </a:lnTo>
                <a:lnTo>
                  <a:pt x="782" y="850"/>
                </a:lnTo>
                <a:lnTo>
                  <a:pt x="776" y="850"/>
                </a:lnTo>
                <a:lnTo>
                  <a:pt x="771" y="844"/>
                </a:lnTo>
                <a:lnTo>
                  <a:pt x="771" y="838"/>
                </a:lnTo>
                <a:lnTo>
                  <a:pt x="771" y="833"/>
                </a:lnTo>
                <a:lnTo>
                  <a:pt x="765" y="833"/>
                </a:lnTo>
                <a:lnTo>
                  <a:pt x="759" y="833"/>
                </a:lnTo>
                <a:lnTo>
                  <a:pt x="754" y="827"/>
                </a:lnTo>
                <a:lnTo>
                  <a:pt x="748" y="821"/>
                </a:lnTo>
                <a:lnTo>
                  <a:pt x="742" y="821"/>
                </a:lnTo>
                <a:lnTo>
                  <a:pt x="737" y="827"/>
                </a:lnTo>
                <a:lnTo>
                  <a:pt x="731" y="827"/>
                </a:lnTo>
                <a:lnTo>
                  <a:pt x="725" y="827"/>
                </a:lnTo>
                <a:lnTo>
                  <a:pt x="720" y="827"/>
                </a:lnTo>
                <a:lnTo>
                  <a:pt x="714" y="827"/>
                </a:lnTo>
                <a:lnTo>
                  <a:pt x="703" y="827"/>
                </a:lnTo>
                <a:lnTo>
                  <a:pt x="697" y="827"/>
                </a:lnTo>
                <a:lnTo>
                  <a:pt x="686" y="827"/>
                </a:lnTo>
                <a:lnTo>
                  <a:pt x="674" y="821"/>
                </a:lnTo>
                <a:lnTo>
                  <a:pt x="663" y="821"/>
                </a:lnTo>
                <a:lnTo>
                  <a:pt x="663" y="816"/>
                </a:lnTo>
                <a:lnTo>
                  <a:pt x="657" y="816"/>
                </a:lnTo>
                <a:lnTo>
                  <a:pt x="652" y="816"/>
                </a:lnTo>
                <a:lnTo>
                  <a:pt x="640" y="810"/>
                </a:lnTo>
                <a:lnTo>
                  <a:pt x="635" y="810"/>
                </a:lnTo>
                <a:lnTo>
                  <a:pt x="629" y="810"/>
                </a:lnTo>
                <a:lnTo>
                  <a:pt x="618" y="804"/>
                </a:lnTo>
                <a:lnTo>
                  <a:pt x="612" y="804"/>
                </a:lnTo>
                <a:lnTo>
                  <a:pt x="606" y="804"/>
                </a:lnTo>
                <a:lnTo>
                  <a:pt x="606" y="799"/>
                </a:lnTo>
                <a:lnTo>
                  <a:pt x="601" y="799"/>
                </a:lnTo>
                <a:lnTo>
                  <a:pt x="595" y="799"/>
                </a:lnTo>
                <a:lnTo>
                  <a:pt x="589" y="793"/>
                </a:lnTo>
                <a:lnTo>
                  <a:pt x="584" y="787"/>
                </a:lnTo>
                <a:lnTo>
                  <a:pt x="578" y="787"/>
                </a:lnTo>
                <a:lnTo>
                  <a:pt x="567" y="793"/>
                </a:lnTo>
                <a:lnTo>
                  <a:pt x="561" y="793"/>
                </a:lnTo>
                <a:lnTo>
                  <a:pt x="555" y="799"/>
                </a:lnTo>
                <a:lnTo>
                  <a:pt x="550" y="799"/>
                </a:lnTo>
                <a:lnTo>
                  <a:pt x="544" y="804"/>
                </a:lnTo>
                <a:lnTo>
                  <a:pt x="521" y="821"/>
                </a:lnTo>
                <a:lnTo>
                  <a:pt x="516" y="821"/>
                </a:lnTo>
                <a:lnTo>
                  <a:pt x="516" y="827"/>
                </a:lnTo>
                <a:lnTo>
                  <a:pt x="516" y="833"/>
                </a:lnTo>
                <a:lnTo>
                  <a:pt x="510" y="833"/>
                </a:lnTo>
                <a:lnTo>
                  <a:pt x="510" y="838"/>
                </a:lnTo>
                <a:lnTo>
                  <a:pt x="510" y="844"/>
                </a:lnTo>
                <a:lnTo>
                  <a:pt x="504" y="844"/>
                </a:lnTo>
                <a:lnTo>
                  <a:pt x="504" y="855"/>
                </a:lnTo>
                <a:lnTo>
                  <a:pt x="510" y="861"/>
                </a:lnTo>
                <a:lnTo>
                  <a:pt x="510" y="867"/>
                </a:lnTo>
                <a:lnTo>
                  <a:pt x="516" y="867"/>
                </a:lnTo>
                <a:lnTo>
                  <a:pt x="516" y="872"/>
                </a:lnTo>
                <a:lnTo>
                  <a:pt x="516" y="884"/>
                </a:lnTo>
                <a:lnTo>
                  <a:pt x="521" y="884"/>
                </a:lnTo>
                <a:lnTo>
                  <a:pt x="521" y="889"/>
                </a:lnTo>
                <a:lnTo>
                  <a:pt x="521" y="895"/>
                </a:lnTo>
                <a:lnTo>
                  <a:pt x="527" y="901"/>
                </a:lnTo>
                <a:lnTo>
                  <a:pt x="527" y="906"/>
                </a:lnTo>
                <a:lnTo>
                  <a:pt x="533" y="912"/>
                </a:lnTo>
                <a:lnTo>
                  <a:pt x="533" y="918"/>
                </a:lnTo>
                <a:lnTo>
                  <a:pt x="533" y="924"/>
                </a:lnTo>
                <a:lnTo>
                  <a:pt x="533" y="929"/>
                </a:lnTo>
                <a:lnTo>
                  <a:pt x="527" y="929"/>
                </a:lnTo>
                <a:lnTo>
                  <a:pt x="521" y="929"/>
                </a:lnTo>
                <a:lnTo>
                  <a:pt x="521" y="924"/>
                </a:lnTo>
                <a:lnTo>
                  <a:pt x="516" y="924"/>
                </a:lnTo>
                <a:lnTo>
                  <a:pt x="516" y="918"/>
                </a:lnTo>
                <a:lnTo>
                  <a:pt x="504" y="912"/>
                </a:lnTo>
                <a:lnTo>
                  <a:pt x="499" y="912"/>
                </a:lnTo>
                <a:lnTo>
                  <a:pt x="493" y="912"/>
                </a:lnTo>
                <a:lnTo>
                  <a:pt x="487" y="906"/>
                </a:lnTo>
                <a:lnTo>
                  <a:pt x="482" y="901"/>
                </a:lnTo>
                <a:lnTo>
                  <a:pt x="476" y="901"/>
                </a:lnTo>
                <a:lnTo>
                  <a:pt x="470" y="895"/>
                </a:lnTo>
                <a:lnTo>
                  <a:pt x="465" y="895"/>
                </a:lnTo>
                <a:lnTo>
                  <a:pt x="459" y="889"/>
                </a:lnTo>
                <a:lnTo>
                  <a:pt x="453" y="889"/>
                </a:lnTo>
                <a:lnTo>
                  <a:pt x="448" y="889"/>
                </a:lnTo>
                <a:lnTo>
                  <a:pt x="442" y="889"/>
                </a:lnTo>
                <a:lnTo>
                  <a:pt x="436" y="884"/>
                </a:lnTo>
                <a:lnTo>
                  <a:pt x="431" y="884"/>
                </a:lnTo>
                <a:lnTo>
                  <a:pt x="425" y="884"/>
                </a:lnTo>
                <a:lnTo>
                  <a:pt x="414" y="872"/>
                </a:lnTo>
                <a:lnTo>
                  <a:pt x="408" y="872"/>
                </a:lnTo>
                <a:lnTo>
                  <a:pt x="402" y="872"/>
                </a:lnTo>
                <a:lnTo>
                  <a:pt x="397" y="872"/>
                </a:lnTo>
                <a:lnTo>
                  <a:pt x="397" y="867"/>
                </a:lnTo>
                <a:lnTo>
                  <a:pt x="391" y="867"/>
                </a:lnTo>
                <a:lnTo>
                  <a:pt x="385" y="861"/>
                </a:lnTo>
                <a:lnTo>
                  <a:pt x="380" y="861"/>
                </a:lnTo>
                <a:lnTo>
                  <a:pt x="368" y="861"/>
                </a:lnTo>
                <a:lnTo>
                  <a:pt x="363" y="861"/>
                </a:lnTo>
                <a:lnTo>
                  <a:pt x="363" y="855"/>
                </a:lnTo>
                <a:lnTo>
                  <a:pt x="351" y="855"/>
                </a:lnTo>
                <a:lnTo>
                  <a:pt x="346" y="855"/>
                </a:lnTo>
                <a:lnTo>
                  <a:pt x="334" y="855"/>
                </a:lnTo>
                <a:lnTo>
                  <a:pt x="317" y="850"/>
                </a:lnTo>
                <a:lnTo>
                  <a:pt x="306" y="850"/>
                </a:lnTo>
                <a:lnTo>
                  <a:pt x="306" y="844"/>
                </a:lnTo>
                <a:lnTo>
                  <a:pt x="295" y="844"/>
                </a:lnTo>
                <a:lnTo>
                  <a:pt x="289" y="844"/>
                </a:lnTo>
                <a:lnTo>
                  <a:pt x="278" y="838"/>
                </a:lnTo>
                <a:lnTo>
                  <a:pt x="266" y="833"/>
                </a:lnTo>
                <a:lnTo>
                  <a:pt x="261" y="833"/>
                </a:lnTo>
                <a:lnTo>
                  <a:pt x="255" y="833"/>
                </a:lnTo>
                <a:lnTo>
                  <a:pt x="249" y="833"/>
                </a:lnTo>
                <a:lnTo>
                  <a:pt x="244" y="827"/>
                </a:lnTo>
                <a:lnTo>
                  <a:pt x="238" y="827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89" name="Freeform 26"/>
          <p:cNvSpPr>
            <a:spLocks noEditPoints="1"/>
          </p:cNvSpPr>
          <p:nvPr/>
        </p:nvSpPr>
        <p:spPr bwMode="gray">
          <a:xfrm>
            <a:off x="2447579" y="5628614"/>
            <a:ext cx="1334749" cy="892479"/>
          </a:xfrm>
          <a:custGeom>
            <a:avLst/>
            <a:gdLst>
              <a:gd name="T0" fmla="*/ 2147483647 w 788"/>
              <a:gd name="T1" fmla="*/ 2147483647 h 527"/>
              <a:gd name="T2" fmla="*/ 2147483647 w 788"/>
              <a:gd name="T3" fmla="*/ 2147483647 h 527"/>
              <a:gd name="T4" fmla="*/ 2147483647 w 788"/>
              <a:gd name="T5" fmla="*/ 2147483647 h 527"/>
              <a:gd name="T6" fmla="*/ 2147483647 w 788"/>
              <a:gd name="T7" fmla="*/ 2147483647 h 527"/>
              <a:gd name="T8" fmla="*/ 2147483647 w 788"/>
              <a:gd name="T9" fmla="*/ 2147483647 h 527"/>
              <a:gd name="T10" fmla="*/ 2147483647 w 788"/>
              <a:gd name="T11" fmla="*/ 2147483647 h 527"/>
              <a:gd name="T12" fmla="*/ 2147483647 w 788"/>
              <a:gd name="T13" fmla="*/ 2147483647 h 527"/>
              <a:gd name="T14" fmla="*/ 2147483647 w 788"/>
              <a:gd name="T15" fmla="*/ 2147483647 h 527"/>
              <a:gd name="T16" fmla="*/ 2147483647 w 788"/>
              <a:gd name="T17" fmla="*/ 2147483647 h 527"/>
              <a:gd name="T18" fmla="*/ 2147483647 w 788"/>
              <a:gd name="T19" fmla="*/ 2147483647 h 527"/>
              <a:gd name="T20" fmla="*/ 2147483647 w 788"/>
              <a:gd name="T21" fmla="*/ 2147483647 h 527"/>
              <a:gd name="T22" fmla="*/ 2147483647 w 788"/>
              <a:gd name="T23" fmla="*/ 2147483647 h 527"/>
              <a:gd name="T24" fmla="*/ 2147483647 w 788"/>
              <a:gd name="T25" fmla="*/ 2147483647 h 527"/>
              <a:gd name="T26" fmla="*/ 2147483647 w 788"/>
              <a:gd name="T27" fmla="*/ 2147483647 h 527"/>
              <a:gd name="T28" fmla="*/ 2147483647 w 788"/>
              <a:gd name="T29" fmla="*/ 2147483647 h 527"/>
              <a:gd name="T30" fmla="*/ 2147483647 w 788"/>
              <a:gd name="T31" fmla="*/ 2147483647 h 527"/>
              <a:gd name="T32" fmla="*/ 2147483647 w 788"/>
              <a:gd name="T33" fmla="*/ 2147483647 h 527"/>
              <a:gd name="T34" fmla="*/ 2147483647 w 788"/>
              <a:gd name="T35" fmla="*/ 2147483647 h 527"/>
              <a:gd name="T36" fmla="*/ 2147483647 w 788"/>
              <a:gd name="T37" fmla="*/ 2147483647 h 527"/>
              <a:gd name="T38" fmla="*/ 2147483647 w 788"/>
              <a:gd name="T39" fmla="*/ 2147483647 h 527"/>
              <a:gd name="T40" fmla="*/ 2147483647 w 788"/>
              <a:gd name="T41" fmla="*/ 2147483647 h 527"/>
              <a:gd name="T42" fmla="*/ 2147483647 w 788"/>
              <a:gd name="T43" fmla="*/ 2147483647 h 527"/>
              <a:gd name="T44" fmla="*/ 2147483647 w 788"/>
              <a:gd name="T45" fmla="*/ 2147483647 h 527"/>
              <a:gd name="T46" fmla="*/ 2147483647 w 788"/>
              <a:gd name="T47" fmla="*/ 2147483647 h 527"/>
              <a:gd name="T48" fmla="*/ 2147483647 w 788"/>
              <a:gd name="T49" fmla="*/ 2147483647 h 527"/>
              <a:gd name="T50" fmla="*/ 2147483647 w 788"/>
              <a:gd name="T51" fmla="*/ 2147483647 h 527"/>
              <a:gd name="T52" fmla="*/ 0 w 788"/>
              <a:gd name="T53" fmla="*/ 2147483647 h 527"/>
              <a:gd name="T54" fmla="*/ 2147483647 w 788"/>
              <a:gd name="T55" fmla="*/ 2147483647 h 527"/>
              <a:gd name="T56" fmla="*/ 2147483647 w 788"/>
              <a:gd name="T57" fmla="*/ 2147483647 h 527"/>
              <a:gd name="T58" fmla="*/ 2147483647 w 788"/>
              <a:gd name="T59" fmla="*/ 2147483647 h 527"/>
              <a:gd name="T60" fmla="*/ 2147483647 w 788"/>
              <a:gd name="T61" fmla="*/ 2147483647 h 527"/>
              <a:gd name="T62" fmla="*/ 2147483647 w 788"/>
              <a:gd name="T63" fmla="*/ 2147483647 h 527"/>
              <a:gd name="T64" fmla="*/ 2147483647 w 788"/>
              <a:gd name="T65" fmla="*/ 2147483647 h 527"/>
              <a:gd name="T66" fmla="*/ 2147483647 w 788"/>
              <a:gd name="T67" fmla="*/ 2147483647 h 527"/>
              <a:gd name="T68" fmla="*/ 2147483647 w 788"/>
              <a:gd name="T69" fmla="*/ 2147483647 h 527"/>
              <a:gd name="T70" fmla="*/ 2147483647 w 788"/>
              <a:gd name="T71" fmla="*/ 2147483647 h 527"/>
              <a:gd name="T72" fmla="*/ 2147483647 w 788"/>
              <a:gd name="T73" fmla="*/ 2147483647 h 527"/>
              <a:gd name="T74" fmla="*/ 2147483647 w 788"/>
              <a:gd name="T75" fmla="*/ 2147483647 h 527"/>
              <a:gd name="T76" fmla="*/ 2147483647 w 788"/>
              <a:gd name="T77" fmla="*/ 2147483647 h 527"/>
              <a:gd name="T78" fmla="*/ 2147483647 w 788"/>
              <a:gd name="T79" fmla="*/ 2147483647 h 527"/>
              <a:gd name="T80" fmla="*/ 2147483647 w 788"/>
              <a:gd name="T81" fmla="*/ 2147483647 h 527"/>
              <a:gd name="T82" fmla="*/ 2147483647 w 788"/>
              <a:gd name="T83" fmla="*/ 2147483647 h 527"/>
              <a:gd name="T84" fmla="*/ 2147483647 w 788"/>
              <a:gd name="T85" fmla="*/ 2147483647 h 527"/>
              <a:gd name="T86" fmla="*/ 2147483647 w 788"/>
              <a:gd name="T87" fmla="*/ 2147483647 h 527"/>
              <a:gd name="T88" fmla="*/ 2147483647 w 788"/>
              <a:gd name="T89" fmla="*/ 2147483647 h 527"/>
              <a:gd name="T90" fmla="*/ 2147483647 w 788"/>
              <a:gd name="T91" fmla="*/ 2147483647 h 527"/>
              <a:gd name="T92" fmla="*/ 2147483647 w 788"/>
              <a:gd name="T93" fmla="*/ 2147483647 h 527"/>
              <a:gd name="T94" fmla="*/ 2147483647 w 788"/>
              <a:gd name="T95" fmla="*/ 2147483647 h 527"/>
              <a:gd name="T96" fmla="*/ 2147483647 w 788"/>
              <a:gd name="T97" fmla="*/ 2147483647 h 527"/>
              <a:gd name="T98" fmla="*/ 2147483647 w 788"/>
              <a:gd name="T99" fmla="*/ 2147483647 h 527"/>
              <a:gd name="T100" fmla="*/ 2147483647 w 788"/>
              <a:gd name="T101" fmla="*/ 2147483647 h 527"/>
              <a:gd name="T102" fmla="*/ 2147483647 w 788"/>
              <a:gd name="T103" fmla="*/ 2147483647 h 527"/>
              <a:gd name="T104" fmla="*/ 2147483647 w 788"/>
              <a:gd name="T105" fmla="*/ 2147483647 h 527"/>
              <a:gd name="T106" fmla="*/ 2147483647 w 788"/>
              <a:gd name="T107" fmla="*/ 2147483647 h 527"/>
              <a:gd name="T108" fmla="*/ 2147483647 w 788"/>
              <a:gd name="T109" fmla="*/ 2147483647 h 527"/>
              <a:gd name="T110" fmla="*/ 2147483647 w 788"/>
              <a:gd name="T111" fmla="*/ 2147483647 h 527"/>
              <a:gd name="T112" fmla="*/ 2147483647 w 788"/>
              <a:gd name="T113" fmla="*/ 2147483647 h 527"/>
              <a:gd name="T114" fmla="*/ 2147483647 w 788"/>
              <a:gd name="T115" fmla="*/ 2147483647 h 527"/>
              <a:gd name="T116" fmla="*/ 2147483647 w 788"/>
              <a:gd name="T117" fmla="*/ 2147483647 h 527"/>
              <a:gd name="T118" fmla="*/ 2147483647 w 788"/>
              <a:gd name="T119" fmla="*/ 2147483647 h 527"/>
              <a:gd name="T120" fmla="*/ 2147483647 w 788"/>
              <a:gd name="T121" fmla="*/ 2147483647 h 527"/>
              <a:gd name="T122" fmla="*/ 2147483647 w 788"/>
              <a:gd name="T123" fmla="*/ 2147483647 h 527"/>
              <a:gd name="T124" fmla="*/ 2147483647 w 788"/>
              <a:gd name="T125" fmla="*/ 2147483647 h 52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88"/>
              <a:gd name="T190" fmla="*/ 0 h 527"/>
              <a:gd name="T191" fmla="*/ 788 w 788"/>
              <a:gd name="T192" fmla="*/ 527 h 52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88" h="527">
                <a:moveTo>
                  <a:pt x="130" y="448"/>
                </a:moveTo>
                <a:lnTo>
                  <a:pt x="125" y="442"/>
                </a:lnTo>
                <a:lnTo>
                  <a:pt x="130" y="448"/>
                </a:lnTo>
                <a:lnTo>
                  <a:pt x="136" y="448"/>
                </a:lnTo>
                <a:lnTo>
                  <a:pt x="130" y="453"/>
                </a:lnTo>
                <a:lnTo>
                  <a:pt x="130" y="448"/>
                </a:lnTo>
                <a:close/>
                <a:moveTo>
                  <a:pt x="788" y="448"/>
                </a:moveTo>
                <a:lnTo>
                  <a:pt x="788" y="453"/>
                </a:lnTo>
                <a:lnTo>
                  <a:pt x="788" y="459"/>
                </a:lnTo>
                <a:lnTo>
                  <a:pt x="788" y="465"/>
                </a:lnTo>
                <a:lnTo>
                  <a:pt x="782" y="465"/>
                </a:lnTo>
                <a:lnTo>
                  <a:pt x="765" y="465"/>
                </a:lnTo>
                <a:lnTo>
                  <a:pt x="754" y="465"/>
                </a:lnTo>
                <a:lnTo>
                  <a:pt x="743" y="465"/>
                </a:lnTo>
                <a:lnTo>
                  <a:pt x="737" y="470"/>
                </a:lnTo>
                <a:lnTo>
                  <a:pt x="731" y="470"/>
                </a:lnTo>
                <a:lnTo>
                  <a:pt x="726" y="470"/>
                </a:lnTo>
                <a:lnTo>
                  <a:pt x="720" y="470"/>
                </a:lnTo>
                <a:lnTo>
                  <a:pt x="708" y="465"/>
                </a:lnTo>
                <a:lnTo>
                  <a:pt x="697" y="465"/>
                </a:lnTo>
                <a:lnTo>
                  <a:pt x="691" y="465"/>
                </a:lnTo>
                <a:lnTo>
                  <a:pt x="691" y="470"/>
                </a:lnTo>
                <a:lnTo>
                  <a:pt x="686" y="476"/>
                </a:lnTo>
                <a:lnTo>
                  <a:pt x="680" y="476"/>
                </a:lnTo>
                <a:lnTo>
                  <a:pt x="674" y="476"/>
                </a:lnTo>
                <a:lnTo>
                  <a:pt x="669" y="482"/>
                </a:lnTo>
                <a:lnTo>
                  <a:pt x="657" y="482"/>
                </a:lnTo>
                <a:lnTo>
                  <a:pt x="657" y="487"/>
                </a:lnTo>
                <a:lnTo>
                  <a:pt x="652" y="487"/>
                </a:lnTo>
                <a:lnTo>
                  <a:pt x="646" y="487"/>
                </a:lnTo>
                <a:lnTo>
                  <a:pt x="635" y="487"/>
                </a:lnTo>
                <a:lnTo>
                  <a:pt x="629" y="487"/>
                </a:lnTo>
                <a:lnTo>
                  <a:pt x="623" y="487"/>
                </a:lnTo>
                <a:lnTo>
                  <a:pt x="623" y="482"/>
                </a:lnTo>
                <a:lnTo>
                  <a:pt x="623" y="476"/>
                </a:lnTo>
                <a:lnTo>
                  <a:pt x="629" y="476"/>
                </a:lnTo>
                <a:lnTo>
                  <a:pt x="629" y="482"/>
                </a:lnTo>
                <a:lnTo>
                  <a:pt x="629" y="476"/>
                </a:lnTo>
                <a:lnTo>
                  <a:pt x="635" y="465"/>
                </a:lnTo>
                <a:lnTo>
                  <a:pt x="635" y="459"/>
                </a:lnTo>
                <a:lnTo>
                  <a:pt x="629" y="459"/>
                </a:lnTo>
                <a:lnTo>
                  <a:pt x="629" y="453"/>
                </a:lnTo>
                <a:lnTo>
                  <a:pt x="623" y="459"/>
                </a:lnTo>
                <a:lnTo>
                  <a:pt x="618" y="459"/>
                </a:lnTo>
                <a:lnTo>
                  <a:pt x="612" y="459"/>
                </a:lnTo>
                <a:lnTo>
                  <a:pt x="612" y="465"/>
                </a:lnTo>
                <a:lnTo>
                  <a:pt x="618" y="465"/>
                </a:lnTo>
                <a:lnTo>
                  <a:pt x="612" y="465"/>
                </a:lnTo>
                <a:lnTo>
                  <a:pt x="606" y="465"/>
                </a:lnTo>
                <a:lnTo>
                  <a:pt x="601" y="465"/>
                </a:lnTo>
                <a:lnTo>
                  <a:pt x="589" y="470"/>
                </a:lnTo>
                <a:lnTo>
                  <a:pt x="584" y="465"/>
                </a:lnTo>
                <a:lnTo>
                  <a:pt x="589" y="465"/>
                </a:lnTo>
                <a:lnTo>
                  <a:pt x="584" y="459"/>
                </a:lnTo>
                <a:lnTo>
                  <a:pt x="578" y="459"/>
                </a:lnTo>
                <a:lnTo>
                  <a:pt x="572" y="465"/>
                </a:lnTo>
                <a:lnTo>
                  <a:pt x="578" y="470"/>
                </a:lnTo>
                <a:lnTo>
                  <a:pt x="578" y="476"/>
                </a:lnTo>
                <a:lnTo>
                  <a:pt x="584" y="476"/>
                </a:lnTo>
                <a:lnTo>
                  <a:pt x="584" y="482"/>
                </a:lnTo>
                <a:lnTo>
                  <a:pt x="578" y="487"/>
                </a:lnTo>
                <a:lnTo>
                  <a:pt x="584" y="487"/>
                </a:lnTo>
                <a:lnTo>
                  <a:pt x="584" y="482"/>
                </a:lnTo>
                <a:lnTo>
                  <a:pt x="584" y="487"/>
                </a:lnTo>
                <a:lnTo>
                  <a:pt x="578" y="493"/>
                </a:lnTo>
                <a:lnTo>
                  <a:pt x="572" y="493"/>
                </a:lnTo>
                <a:lnTo>
                  <a:pt x="572" y="487"/>
                </a:lnTo>
                <a:lnTo>
                  <a:pt x="567" y="487"/>
                </a:lnTo>
                <a:lnTo>
                  <a:pt x="567" y="493"/>
                </a:lnTo>
                <a:lnTo>
                  <a:pt x="561" y="493"/>
                </a:lnTo>
                <a:lnTo>
                  <a:pt x="555" y="487"/>
                </a:lnTo>
                <a:lnTo>
                  <a:pt x="544" y="487"/>
                </a:lnTo>
                <a:lnTo>
                  <a:pt x="533" y="482"/>
                </a:lnTo>
                <a:lnTo>
                  <a:pt x="527" y="493"/>
                </a:lnTo>
                <a:lnTo>
                  <a:pt x="533" y="493"/>
                </a:lnTo>
                <a:lnTo>
                  <a:pt x="527" y="499"/>
                </a:lnTo>
                <a:lnTo>
                  <a:pt x="521" y="499"/>
                </a:lnTo>
                <a:lnTo>
                  <a:pt x="510" y="499"/>
                </a:lnTo>
                <a:lnTo>
                  <a:pt x="499" y="499"/>
                </a:lnTo>
                <a:lnTo>
                  <a:pt x="493" y="499"/>
                </a:lnTo>
                <a:lnTo>
                  <a:pt x="487" y="504"/>
                </a:lnTo>
                <a:lnTo>
                  <a:pt x="482" y="499"/>
                </a:lnTo>
                <a:lnTo>
                  <a:pt x="476" y="499"/>
                </a:lnTo>
                <a:lnTo>
                  <a:pt x="470" y="504"/>
                </a:lnTo>
                <a:lnTo>
                  <a:pt x="448" y="504"/>
                </a:lnTo>
                <a:lnTo>
                  <a:pt x="448" y="510"/>
                </a:lnTo>
                <a:lnTo>
                  <a:pt x="442" y="510"/>
                </a:lnTo>
                <a:lnTo>
                  <a:pt x="442" y="504"/>
                </a:lnTo>
                <a:lnTo>
                  <a:pt x="436" y="504"/>
                </a:lnTo>
                <a:lnTo>
                  <a:pt x="431" y="504"/>
                </a:lnTo>
                <a:lnTo>
                  <a:pt x="431" y="510"/>
                </a:lnTo>
                <a:lnTo>
                  <a:pt x="414" y="510"/>
                </a:lnTo>
                <a:lnTo>
                  <a:pt x="397" y="510"/>
                </a:lnTo>
                <a:lnTo>
                  <a:pt x="391" y="510"/>
                </a:lnTo>
                <a:lnTo>
                  <a:pt x="385" y="510"/>
                </a:lnTo>
                <a:lnTo>
                  <a:pt x="380" y="510"/>
                </a:lnTo>
                <a:lnTo>
                  <a:pt x="374" y="504"/>
                </a:lnTo>
                <a:lnTo>
                  <a:pt x="380" y="504"/>
                </a:lnTo>
                <a:lnTo>
                  <a:pt x="374" y="504"/>
                </a:lnTo>
                <a:lnTo>
                  <a:pt x="368" y="504"/>
                </a:lnTo>
                <a:lnTo>
                  <a:pt x="363" y="504"/>
                </a:lnTo>
                <a:lnTo>
                  <a:pt x="368" y="516"/>
                </a:lnTo>
                <a:lnTo>
                  <a:pt x="346" y="516"/>
                </a:lnTo>
                <a:lnTo>
                  <a:pt x="329" y="516"/>
                </a:lnTo>
                <a:lnTo>
                  <a:pt x="329" y="521"/>
                </a:lnTo>
                <a:lnTo>
                  <a:pt x="312" y="521"/>
                </a:lnTo>
                <a:lnTo>
                  <a:pt x="306" y="516"/>
                </a:lnTo>
                <a:lnTo>
                  <a:pt x="300" y="521"/>
                </a:lnTo>
                <a:lnTo>
                  <a:pt x="283" y="521"/>
                </a:lnTo>
                <a:lnTo>
                  <a:pt x="272" y="527"/>
                </a:lnTo>
                <a:lnTo>
                  <a:pt x="266" y="527"/>
                </a:lnTo>
                <a:lnTo>
                  <a:pt x="261" y="527"/>
                </a:lnTo>
                <a:lnTo>
                  <a:pt x="255" y="527"/>
                </a:lnTo>
                <a:lnTo>
                  <a:pt x="249" y="527"/>
                </a:lnTo>
                <a:lnTo>
                  <a:pt x="249" y="521"/>
                </a:lnTo>
                <a:lnTo>
                  <a:pt x="244" y="521"/>
                </a:lnTo>
                <a:lnTo>
                  <a:pt x="238" y="516"/>
                </a:lnTo>
                <a:lnTo>
                  <a:pt x="232" y="516"/>
                </a:lnTo>
                <a:lnTo>
                  <a:pt x="221" y="516"/>
                </a:lnTo>
                <a:lnTo>
                  <a:pt x="215" y="510"/>
                </a:lnTo>
                <a:lnTo>
                  <a:pt x="210" y="504"/>
                </a:lnTo>
                <a:lnTo>
                  <a:pt x="181" y="487"/>
                </a:lnTo>
                <a:lnTo>
                  <a:pt x="170" y="482"/>
                </a:lnTo>
                <a:lnTo>
                  <a:pt x="170" y="476"/>
                </a:lnTo>
                <a:lnTo>
                  <a:pt x="164" y="476"/>
                </a:lnTo>
                <a:lnTo>
                  <a:pt x="159" y="470"/>
                </a:lnTo>
                <a:lnTo>
                  <a:pt x="153" y="465"/>
                </a:lnTo>
                <a:lnTo>
                  <a:pt x="147" y="465"/>
                </a:lnTo>
                <a:lnTo>
                  <a:pt x="142" y="459"/>
                </a:lnTo>
                <a:lnTo>
                  <a:pt x="136" y="453"/>
                </a:lnTo>
                <a:lnTo>
                  <a:pt x="130" y="448"/>
                </a:lnTo>
                <a:lnTo>
                  <a:pt x="130" y="442"/>
                </a:lnTo>
                <a:lnTo>
                  <a:pt x="119" y="436"/>
                </a:lnTo>
                <a:lnTo>
                  <a:pt x="119" y="431"/>
                </a:lnTo>
                <a:lnTo>
                  <a:pt x="113" y="431"/>
                </a:lnTo>
                <a:lnTo>
                  <a:pt x="108" y="425"/>
                </a:lnTo>
                <a:lnTo>
                  <a:pt x="96" y="414"/>
                </a:lnTo>
                <a:lnTo>
                  <a:pt x="91" y="408"/>
                </a:lnTo>
                <a:lnTo>
                  <a:pt x="85" y="397"/>
                </a:lnTo>
                <a:lnTo>
                  <a:pt x="79" y="391"/>
                </a:lnTo>
                <a:lnTo>
                  <a:pt x="68" y="380"/>
                </a:lnTo>
                <a:lnTo>
                  <a:pt x="62" y="368"/>
                </a:lnTo>
                <a:lnTo>
                  <a:pt x="62" y="363"/>
                </a:lnTo>
                <a:lnTo>
                  <a:pt x="62" y="357"/>
                </a:lnTo>
                <a:lnTo>
                  <a:pt x="57" y="351"/>
                </a:lnTo>
                <a:lnTo>
                  <a:pt x="51" y="351"/>
                </a:lnTo>
                <a:lnTo>
                  <a:pt x="51" y="346"/>
                </a:lnTo>
                <a:lnTo>
                  <a:pt x="45" y="340"/>
                </a:lnTo>
                <a:lnTo>
                  <a:pt x="40" y="329"/>
                </a:lnTo>
                <a:lnTo>
                  <a:pt x="28" y="312"/>
                </a:lnTo>
                <a:lnTo>
                  <a:pt x="28" y="306"/>
                </a:lnTo>
                <a:lnTo>
                  <a:pt x="34" y="306"/>
                </a:lnTo>
                <a:lnTo>
                  <a:pt x="28" y="300"/>
                </a:lnTo>
                <a:lnTo>
                  <a:pt x="28" y="295"/>
                </a:lnTo>
                <a:lnTo>
                  <a:pt x="28" y="289"/>
                </a:lnTo>
                <a:lnTo>
                  <a:pt x="28" y="283"/>
                </a:lnTo>
                <a:lnTo>
                  <a:pt x="28" y="278"/>
                </a:lnTo>
                <a:lnTo>
                  <a:pt x="23" y="266"/>
                </a:lnTo>
                <a:lnTo>
                  <a:pt x="17" y="261"/>
                </a:lnTo>
                <a:lnTo>
                  <a:pt x="17" y="255"/>
                </a:lnTo>
                <a:lnTo>
                  <a:pt x="11" y="249"/>
                </a:lnTo>
                <a:lnTo>
                  <a:pt x="0" y="227"/>
                </a:lnTo>
                <a:lnTo>
                  <a:pt x="0" y="221"/>
                </a:lnTo>
                <a:lnTo>
                  <a:pt x="11" y="221"/>
                </a:lnTo>
                <a:lnTo>
                  <a:pt x="17" y="221"/>
                </a:lnTo>
                <a:lnTo>
                  <a:pt x="23" y="221"/>
                </a:lnTo>
                <a:lnTo>
                  <a:pt x="28" y="221"/>
                </a:lnTo>
                <a:lnTo>
                  <a:pt x="34" y="227"/>
                </a:lnTo>
                <a:lnTo>
                  <a:pt x="51" y="238"/>
                </a:lnTo>
                <a:lnTo>
                  <a:pt x="51" y="244"/>
                </a:lnTo>
                <a:lnTo>
                  <a:pt x="57" y="244"/>
                </a:lnTo>
                <a:lnTo>
                  <a:pt x="62" y="244"/>
                </a:lnTo>
                <a:lnTo>
                  <a:pt x="68" y="249"/>
                </a:lnTo>
                <a:lnTo>
                  <a:pt x="79" y="249"/>
                </a:lnTo>
                <a:lnTo>
                  <a:pt x="85" y="255"/>
                </a:lnTo>
                <a:lnTo>
                  <a:pt x="91" y="255"/>
                </a:lnTo>
                <a:lnTo>
                  <a:pt x="96" y="261"/>
                </a:lnTo>
                <a:lnTo>
                  <a:pt x="102" y="261"/>
                </a:lnTo>
                <a:lnTo>
                  <a:pt x="108" y="266"/>
                </a:lnTo>
                <a:lnTo>
                  <a:pt x="113" y="266"/>
                </a:lnTo>
                <a:lnTo>
                  <a:pt x="119" y="266"/>
                </a:lnTo>
                <a:lnTo>
                  <a:pt x="125" y="266"/>
                </a:lnTo>
                <a:lnTo>
                  <a:pt x="125" y="261"/>
                </a:lnTo>
                <a:lnTo>
                  <a:pt x="136" y="261"/>
                </a:lnTo>
                <a:lnTo>
                  <a:pt x="147" y="255"/>
                </a:lnTo>
                <a:lnTo>
                  <a:pt x="153" y="249"/>
                </a:lnTo>
                <a:lnTo>
                  <a:pt x="159" y="249"/>
                </a:lnTo>
                <a:lnTo>
                  <a:pt x="164" y="249"/>
                </a:lnTo>
                <a:lnTo>
                  <a:pt x="164" y="244"/>
                </a:lnTo>
                <a:lnTo>
                  <a:pt x="170" y="238"/>
                </a:lnTo>
                <a:lnTo>
                  <a:pt x="176" y="238"/>
                </a:lnTo>
                <a:lnTo>
                  <a:pt x="187" y="232"/>
                </a:lnTo>
                <a:lnTo>
                  <a:pt x="187" y="227"/>
                </a:lnTo>
                <a:lnTo>
                  <a:pt x="193" y="227"/>
                </a:lnTo>
                <a:lnTo>
                  <a:pt x="193" y="221"/>
                </a:lnTo>
                <a:lnTo>
                  <a:pt x="193" y="215"/>
                </a:lnTo>
                <a:lnTo>
                  <a:pt x="198" y="215"/>
                </a:lnTo>
                <a:lnTo>
                  <a:pt x="204" y="210"/>
                </a:lnTo>
                <a:lnTo>
                  <a:pt x="210" y="215"/>
                </a:lnTo>
                <a:lnTo>
                  <a:pt x="215" y="221"/>
                </a:lnTo>
                <a:lnTo>
                  <a:pt x="221" y="227"/>
                </a:lnTo>
                <a:lnTo>
                  <a:pt x="227" y="232"/>
                </a:lnTo>
                <a:lnTo>
                  <a:pt x="232" y="232"/>
                </a:lnTo>
                <a:lnTo>
                  <a:pt x="238" y="227"/>
                </a:lnTo>
                <a:lnTo>
                  <a:pt x="244" y="227"/>
                </a:lnTo>
                <a:lnTo>
                  <a:pt x="244" y="221"/>
                </a:lnTo>
                <a:lnTo>
                  <a:pt x="249" y="221"/>
                </a:lnTo>
                <a:lnTo>
                  <a:pt x="255" y="215"/>
                </a:lnTo>
                <a:lnTo>
                  <a:pt x="261" y="215"/>
                </a:lnTo>
                <a:lnTo>
                  <a:pt x="266" y="221"/>
                </a:lnTo>
                <a:lnTo>
                  <a:pt x="272" y="221"/>
                </a:lnTo>
                <a:lnTo>
                  <a:pt x="278" y="221"/>
                </a:lnTo>
                <a:lnTo>
                  <a:pt x="278" y="215"/>
                </a:lnTo>
                <a:lnTo>
                  <a:pt x="289" y="210"/>
                </a:lnTo>
                <a:lnTo>
                  <a:pt x="289" y="204"/>
                </a:lnTo>
                <a:lnTo>
                  <a:pt x="289" y="198"/>
                </a:lnTo>
                <a:lnTo>
                  <a:pt x="289" y="192"/>
                </a:lnTo>
                <a:lnTo>
                  <a:pt x="289" y="187"/>
                </a:lnTo>
                <a:lnTo>
                  <a:pt x="295" y="181"/>
                </a:lnTo>
                <a:lnTo>
                  <a:pt x="300" y="181"/>
                </a:lnTo>
                <a:lnTo>
                  <a:pt x="306" y="181"/>
                </a:lnTo>
                <a:lnTo>
                  <a:pt x="312" y="187"/>
                </a:lnTo>
                <a:lnTo>
                  <a:pt x="317" y="181"/>
                </a:lnTo>
                <a:lnTo>
                  <a:pt x="317" y="170"/>
                </a:lnTo>
                <a:lnTo>
                  <a:pt x="329" y="170"/>
                </a:lnTo>
                <a:lnTo>
                  <a:pt x="334" y="164"/>
                </a:lnTo>
                <a:lnTo>
                  <a:pt x="346" y="164"/>
                </a:lnTo>
                <a:lnTo>
                  <a:pt x="357" y="164"/>
                </a:lnTo>
                <a:lnTo>
                  <a:pt x="363" y="164"/>
                </a:lnTo>
                <a:lnTo>
                  <a:pt x="368" y="164"/>
                </a:lnTo>
                <a:lnTo>
                  <a:pt x="380" y="164"/>
                </a:lnTo>
                <a:lnTo>
                  <a:pt x="385" y="158"/>
                </a:lnTo>
                <a:lnTo>
                  <a:pt x="385" y="153"/>
                </a:lnTo>
                <a:lnTo>
                  <a:pt x="397" y="153"/>
                </a:lnTo>
                <a:lnTo>
                  <a:pt x="402" y="147"/>
                </a:lnTo>
                <a:lnTo>
                  <a:pt x="402" y="141"/>
                </a:lnTo>
                <a:lnTo>
                  <a:pt x="397" y="136"/>
                </a:lnTo>
                <a:lnTo>
                  <a:pt x="397" y="124"/>
                </a:lnTo>
                <a:lnTo>
                  <a:pt x="402" y="113"/>
                </a:lnTo>
                <a:lnTo>
                  <a:pt x="408" y="113"/>
                </a:lnTo>
                <a:lnTo>
                  <a:pt x="414" y="107"/>
                </a:lnTo>
                <a:lnTo>
                  <a:pt x="414" y="96"/>
                </a:lnTo>
                <a:lnTo>
                  <a:pt x="408" y="85"/>
                </a:lnTo>
                <a:lnTo>
                  <a:pt x="408" y="73"/>
                </a:lnTo>
                <a:lnTo>
                  <a:pt x="414" y="68"/>
                </a:lnTo>
                <a:lnTo>
                  <a:pt x="425" y="56"/>
                </a:lnTo>
                <a:lnTo>
                  <a:pt x="431" y="51"/>
                </a:lnTo>
                <a:lnTo>
                  <a:pt x="431" y="45"/>
                </a:lnTo>
                <a:lnTo>
                  <a:pt x="431" y="34"/>
                </a:lnTo>
                <a:lnTo>
                  <a:pt x="431" y="28"/>
                </a:lnTo>
                <a:lnTo>
                  <a:pt x="431" y="17"/>
                </a:lnTo>
                <a:lnTo>
                  <a:pt x="436" y="11"/>
                </a:lnTo>
                <a:lnTo>
                  <a:pt x="442" y="0"/>
                </a:lnTo>
                <a:lnTo>
                  <a:pt x="448" y="0"/>
                </a:lnTo>
                <a:lnTo>
                  <a:pt x="459" y="5"/>
                </a:lnTo>
                <a:lnTo>
                  <a:pt x="470" y="22"/>
                </a:lnTo>
                <a:lnTo>
                  <a:pt x="470" y="28"/>
                </a:lnTo>
                <a:lnTo>
                  <a:pt x="470" y="39"/>
                </a:lnTo>
                <a:lnTo>
                  <a:pt x="465" y="39"/>
                </a:lnTo>
                <a:lnTo>
                  <a:pt x="465" y="45"/>
                </a:lnTo>
                <a:lnTo>
                  <a:pt x="465" y="51"/>
                </a:lnTo>
                <a:lnTo>
                  <a:pt x="459" y="56"/>
                </a:lnTo>
                <a:lnTo>
                  <a:pt x="459" y="62"/>
                </a:lnTo>
                <a:lnTo>
                  <a:pt x="459" y="73"/>
                </a:lnTo>
                <a:lnTo>
                  <a:pt x="453" y="79"/>
                </a:lnTo>
                <a:lnTo>
                  <a:pt x="453" y="85"/>
                </a:lnTo>
                <a:lnTo>
                  <a:pt x="453" y="90"/>
                </a:lnTo>
                <a:lnTo>
                  <a:pt x="448" y="96"/>
                </a:lnTo>
                <a:lnTo>
                  <a:pt x="448" y="102"/>
                </a:lnTo>
                <a:lnTo>
                  <a:pt x="448" y="107"/>
                </a:lnTo>
                <a:lnTo>
                  <a:pt x="459" y="107"/>
                </a:lnTo>
                <a:lnTo>
                  <a:pt x="470" y="107"/>
                </a:lnTo>
                <a:lnTo>
                  <a:pt x="482" y="107"/>
                </a:lnTo>
                <a:lnTo>
                  <a:pt x="487" y="107"/>
                </a:lnTo>
                <a:lnTo>
                  <a:pt x="493" y="107"/>
                </a:lnTo>
                <a:lnTo>
                  <a:pt x="499" y="107"/>
                </a:lnTo>
                <a:lnTo>
                  <a:pt x="499" y="113"/>
                </a:lnTo>
                <a:lnTo>
                  <a:pt x="493" y="113"/>
                </a:lnTo>
                <a:lnTo>
                  <a:pt x="487" y="124"/>
                </a:lnTo>
                <a:lnTo>
                  <a:pt x="487" y="136"/>
                </a:lnTo>
                <a:lnTo>
                  <a:pt x="487" y="141"/>
                </a:lnTo>
                <a:lnTo>
                  <a:pt x="487" y="147"/>
                </a:lnTo>
                <a:lnTo>
                  <a:pt x="487" y="153"/>
                </a:lnTo>
                <a:lnTo>
                  <a:pt x="482" y="153"/>
                </a:lnTo>
                <a:lnTo>
                  <a:pt x="482" y="158"/>
                </a:lnTo>
                <a:lnTo>
                  <a:pt x="482" y="164"/>
                </a:lnTo>
                <a:lnTo>
                  <a:pt x="487" y="164"/>
                </a:lnTo>
                <a:lnTo>
                  <a:pt x="493" y="170"/>
                </a:lnTo>
                <a:lnTo>
                  <a:pt x="499" y="170"/>
                </a:lnTo>
                <a:lnTo>
                  <a:pt x="499" y="175"/>
                </a:lnTo>
                <a:lnTo>
                  <a:pt x="499" y="181"/>
                </a:lnTo>
                <a:lnTo>
                  <a:pt x="504" y="181"/>
                </a:lnTo>
                <a:lnTo>
                  <a:pt x="510" y="181"/>
                </a:lnTo>
                <a:lnTo>
                  <a:pt x="510" y="192"/>
                </a:lnTo>
                <a:lnTo>
                  <a:pt x="516" y="192"/>
                </a:lnTo>
                <a:lnTo>
                  <a:pt x="516" y="198"/>
                </a:lnTo>
                <a:lnTo>
                  <a:pt x="521" y="198"/>
                </a:lnTo>
                <a:lnTo>
                  <a:pt x="527" y="198"/>
                </a:lnTo>
                <a:lnTo>
                  <a:pt x="533" y="198"/>
                </a:lnTo>
                <a:lnTo>
                  <a:pt x="544" y="198"/>
                </a:lnTo>
                <a:lnTo>
                  <a:pt x="550" y="198"/>
                </a:lnTo>
                <a:lnTo>
                  <a:pt x="561" y="198"/>
                </a:lnTo>
                <a:lnTo>
                  <a:pt x="567" y="198"/>
                </a:lnTo>
                <a:lnTo>
                  <a:pt x="572" y="198"/>
                </a:lnTo>
                <a:lnTo>
                  <a:pt x="578" y="198"/>
                </a:lnTo>
                <a:lnTo>
                  <a:pt x="584" y="198"/>
                </a:lnTo>
                <a:lnTo>
                  <a:pt x="595" y="198"/>
                </a:lnTo>
                <a:lnTo>
                  <a:pt x="601" y="198"/>
                </a:lnTo>
                <a:lnTo>
                  <a:pt x="606" y="198"/>
                </a:lnTo>
                <a:lnTo>
                  <a:pt x="612" y="198"/>
                </a:lnTo>
                <a:lnTo>
                  <a:pt x="618" y="204"/>
                </a:lnTo>
                <a:lnTo>
                  <a:pt x="623" y="204"/>
                </a:lnTo>
                <a:lnTo>
                  <a:pt x="623" y="198"/>
                </a:lnTo>
                <a:lnTo>
                  <a:pt x="629" y="204"/>
                </a:lnTo>
                <a:lnTo>
                  <a:pt x="635" y="204"/>
                </a:lnTo>
                <a:lnTo>
                  <a:pt x="635" y="198"/>
                </a:lnTo>
                <a:lnTo>
                  <a:pt x="640" y="198"/>
                </a:lnTo>
                <a:lnTo>
                  <a:pt x="640" y="204"/>
                </a:lnTo>
                <a:lnTo>
                  <a:pt x="646" y="204"/>
                </a:lnTo>
                <a:lnTo>
                  <a:pt x="657" y="210"/>
                </a:lnTo>
                <a:lnTo>
                  <a:pt x="663" y="210"/>
                </a:lnTo>
                <a:lnTo>
                  <a:pt x="669" y="204"/>
                </a:lnTo>
                <a:lnTo>
                  <a:pt x="674" y="210"/>
                </a:lnTo>
                <a:lnTo>
                  <a:pt x="674" y="221"/>
                </a:lnTo>
                <a:lnTo>
                  <a:pt x="674" y="244"/>
                </a:lnTo>
                <a:lnTo>
                  <a:pt x="674" y="249"/>
                </a:lnTo>
                <a:lnTo>
                  <a:pt x="674" y="255"/>
                </a:lnTo>
                <a:lnTo>
                  <a:pt x="674" y="261"/>
                </a:lnTo>
                <a:lnTo>
                  <a:pt x="669" y="261"/>
                </a:lnTo>
                <a:lnTo>
                  <a:pt x="669" y="266"/>
                </a:lnTo>
                <a:lnTo>
                  <a:pt x="669" y="272"/>
                </a:lnTo>
                <a:lnTo>
                  <a:pt x="663" y="272"/>
                </a:lnTo>
                <a:lnTo>
                  <a:pt x="663" y="278"/>
                </a:lnTo>
                <a:lnTo>
                  <a:pt x="652" y="278"/>
                </a:lnTo>
                <a:lnTo>
                  <a:pt x="646" y="278"/>
                </a:lnTo>
                <a:lnTo>
                  <a:pt x="640" y="283"/>
                </a:lnTo>
                <a:lnTo>
                  <a:pt x="640" y="289"/>
                </a:lnTo>
                <a:lnTo>
                  <a:pt x="640" y="295"/>
                </a:lnTo>
                <a:lnTo>
                  <a:pt x="640" y="300"/>
                </a:lnTo>
                <a:lnTo>
                  <a:pt x="635" y="306"/>
                </a:lnTo>
                <a:lnTo>
                  <a:pt x="640" y="312"/>
                </a:lnTo>
                <a:lnTo>
                  <a:pt x="640" y="317"/>
                </a:lnTo>
                <a:lnTo>
                  <a:pt x="646" y="317"/>
                </a:lnTo>
                <a:lnTo>
                  <a:pt x="652" y="323"/>
                </a:lnTo>
                <a:lnTo>
                  <a:pt x="657" y="323"/>
                </a:lnTo>
                <a:lnTo>
                  <a:pt x="663" y="323"/>
                </a:lnTo>
                <a:lnTo>
                  <a:pt x="669" y="323"/>
                </a:lnTo>
                <a:lnTo>
                  <a:pt x="674" y="323"/>
                </a:lnTo>
                <a:lnTo>
                  <a:pt x="680" y="323"/>
                </a:lnTo>
                <a:lnTo>
                  <a:pt x="686" y="323"/>
                </a:lnTo>
                <a:lnTo>
                  <a:pt x="691" y="323"/>
                </a:lnTo>
                <a:lnTo>
                  <a:pt x="697" y="317"/>
                </a:lnTo>
                <a:lnTo>
                  <a:pt x="708" y="323"/>
                </a:lnTo>
                <a:lnTo>
                  <a:pt x="720" y="323"/>
                </a:lnTo>
                <a:lnTo>
                  <a:pt x="726" y="323"/>
                </a:lnTo>
                <a:lnTo>
                  <a:pt x="731" y="323"/>
                </a:lnTo>
                <a:lnTo>
                  <a:pt x="737" y="323"/>
                </a:lnTo>
                <a:lnTo>
                  <a:pt x="743" y="323"/>
                </a:lnTo>
                <a:lnTo>
                  <a:pt x="748" y="329"/>
                </a:lnTo>
                <a:lnTo>
                  <a:pt x="754" y="329"/>
                </a:lnTo>
                <a:lnTo>
                  <a:pt x="760" y="329"/>
                </a:lnTo>
                <a:lnTo>
                  <a:pt x="760" y="334"/>
                </a:lnTo>
                <a:lnTo>
                  <a:pt x="765" y="334"/>
                </a:lnTo>
                <a:lnTo>
                  <a:pt x="765" y="340"/>
                </a:lnTo>
                <a:lnTo>
                  <a:pt x="765" y="346"/>
                </a:lnTo>
                <a:lnTo>
                  <a:pt x="777" y="351"/>
                </a:lnTo>
                <a:lnTo>
                  <a:pt x="777" y="363"/>
                </a:lnTo>
                <a:lnTo>
                  <a:pt x="777" y="368"/>
                </a:lnTo>
                <a:lnTo>
                  <a:pt x="777" y="374"/>
                </a:lnTo>
                <a:lnTo>
                  <a:pt x="777" y="380"/>
                </a:lnTo>
                <a:lnTo>
                  <a:pt x="777" y="385"/>
                </a:lnTo>
                <a:lnTo>
                  <a:pt x="777" y="391"/>
                </a:lnTo>
                <a:lnTo>
                  <a:pt x="777" y="397"/>
                </a:lnTo>
                <a:lnTo>
                  <a:pt x="777" y="402"/>
                </a:lnTo>
                <a:lnTo>
                  <a:pt x="777" y="414"/>
                </a:lnTo>
                <a:lnTo>
                  <a:pt x="777" y="419"/>
                </a:lnTo>
                <a:lnTo>
                  <a:pt x="777" y="431"/>
                </a:lnTo>
                <a:lnTo>
                  <a:pt x="777" y="436"/>
                </a:lnTo>
                <a:lnTo>
                  <a:pt x="782" y="442"/>
                </a:lnTo>
                <a:lnTo>
                  <a:pt x="788" y="442"/>
                </a:lnTo>
                <a:lnTo>
                  <a:pt x="788" y="448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90" name="Freeform 27"/>
          <p:cNvSpPr>
            <a:spLocks/>
          </p:cNvSpPr>
          <p:nvPr/>
        </p:nvSpPr>
        <p:spPr bwMode="gray">
          <a:xfrm>
            <a:off x="4733174" y="3335056"/>
            <a:ext cx="1640899" cy="1841649"/>
          </a:xfrm>
          <a:custGeom>
            <a:avLst/>
            <a:gdLst>
              <a:gd name="T0" fmla="*/ 2147483647 w 969"/>
              <a:gd name="T1" fmla="*/ 2147483647 h 1088"/>
              <a:gd name="T2" fmla="*/ 2147483647 w 969"/>
              <a:gd name="T3" fmla="*/ 2147483647 h 1088"/>
              <a:gd name="T4" fmla="*/ 2147483647 w 969"/>
              <a:gd name="T5" fmla="*/ 2147483647 h 1088"/>
              <a:gd name="T6" fmla="*/ 2147483647 w 969"/>
              <a:gd name="T7" fmla="*/ 2147483647 h 1088"/>
              <a:gd name="T8" fmla="*/ 2147483647 w 969"/>
              <a:gd name="T9" fmla="*/ 2147483647 h 1088"/>
              <a:gd name="T10" fmla="*/ 2147483647 w 969"/>
              <a:gd name="T11" fmla="*/ 2147483647 h 1088"/>
              <a:gd name="T12" fmla="*/ 2147483647 w 969"/>
              <a:gd name="T13" fmla="*/ 2147483647 h 1088"/>
              <a:gd name="T14" fmla="*/ 0 w 969"/>
              <a:gd name="T15" fmla="*/ 2147483647 h 1088"/>
              <a:gd name="T16" fmla="*/ 2147483647 w 969"/>
              <a:gd name="T17" fmla="*/ 2147483647 h 1088"/>
              <a:gd name="T18" fmla="*/ 2147483647 w 969"/>
              <a:gd name="T19" fmla="*/ 2147483647 h 1088"/>
              <a:gd name="T20" fmla="*/ 2147483647 w 969"/>
              <a:gd name="T21" fmla="*/ 2147483647 h 1088"/>
              <a:gd name="T22" fmla="*/ 2147483647 w 969"/>
              <a:gd name="T23" fmla="*/ 2147483647 h 1088"/>
              <a:gd name="T24" fmla="*/ 2147483647 w 969"/>
              <a:gd name="T25" fmla="*/ 2147483647 h 1088"/>
              <a:gd name="T26" fmla="*/ 2147483647 w 969"/>
              <a:gd name="T27" fmla="*/ 2147483647 h 1088"/>
              <a:gd name="T28" fmla="*/ 2147483647 w 969"/>
              <a:gd name="T29" fmla="*/ 2147483647 h 1088"/>
              <a:gd name="T30" fmla="*/ 2147483647 w 969"/>
              <a:gd name="T31" fmla="*/ 2147483647 h 1088"/>
              <a:gd name="T32" fmla="*/ 2147483647 w 969"/>
              <a:gd name="T33" fmla="*/ 2147483647 h 1088"/>
              <a:gd name="T34" fmla="*/ 2147483647 w 969"/>
              <a:gd name="T35" fmla="*/ 2147483647 h 1088"/>
              <a:gd name="T36" fmla="*/ 2147483647 w 969"/>
              <a:gd name="T37" fmla="*/ 2147483647 h 1088"/>
              <a:gd name="T38" fmla="*/ 2147483647 w 969"/>
              <a:gd name="T39" fmla="*/ 2147483647 h 1088"/>
              <a:gd name="T40" fmla="*/ 2147483647 w 969"/>
              <a:gd name="T41" fmla="*/ 2147483647 h 1088"/>
              <a:gd name="T42" fmla="*/ 2147483647 w 969"/>
              <a:gd name="T43" fmla="*/ 2147483647 h 1088"/>
              <a:gd name="T44" fmla="*/ 2147483647 w 969"/>
              <a:gd name="T45" fmla="*/ 2147483647 h 1088"/>
              <a:gd name="T46" fmla="*/ 2147483647 w 969"/>
              <a:gd name="T47" fmla="*/ 2147483647 h 1088"/>
              <a:gd name="T48" fmla="*/ 2147483647 w 969"/>
              <a:gd name="T49" fmla="*/ 2147483647 h 1088"/>
              <a:gd name="T50" fmla="*/ 2147483647 w 969"/>
              <a:gd name="T51" fmla="*/ 2147483647 h 1088"/>
              <a:gd name="T52" fmla="*/ 2147483647 w 969"/>
              <a:gd name="T53" fmla="*/ 2147483647 h 1088"/>
              <a:gd name="T54" fmla="*/ 2147483647 w 969"/>
              <a:gd name="T55" fmla="*/ 2147483647 h 1088"/>
              <a:gd name="T56" fmla="*/ 2147483647 w 969"/>
              <a:gd name="T57" fmla="*/ 2147483647 h 1088"/>
              <a:gd name="T58" fmla="*/ 2147483647 w 969"/>
              <a:gd name="T59" fmla="*/ 2147483647 h 1088"/>
              <a:gd name="T60" fmla="*/ 2147483647 w 969"/>
              <a:gd name="T61" fmla="*/ 2147483647 h 1088"/>
              <a:gd name="T62" fmla="*/ 2147483647 w 969"/>
              <a:gd name="T63" fmla="*/ 2147483647 h 1088"/>
              <a:gd name="T64" fmla="*/ 2147483647 w 969"/>
              <a:gd name="T65" fmla="*/ 2147483647 h 1088"/>
              <a:gd name="T66" fmla="*/ 2147483647 w 969"/>
              <a:gd name="T67" fmla="*/ 2147483647 h 1088"/>
              <a:gd name="T68" fmla="*/ 2147483647 w 969"/>
              <a:gd name="T69" fmla="*/ 2147483647 h 1088"/>
              <a:gd name="T70" fmla="*/ 2147483647 w 969"/>
              <a:gd name="T71" fmla="*/ 2147483647 h 1088"/>
              <a:gd name="T72" fmla="*/ 2147483647 w 969"/>
              <a:gd name="T73" fmla="*/ 2147483647 h 1088"/>
              <a:gd name="T74" fmla="*/ 2147483647 w 969"/>
              <a:gd name="T75" fmla="*/ 2147483647 h 1088"/>
              <a:gd name="T76" fmla="*/ 2147483647 w 969"/>
              <a:gd name="T77" fmla="*/ 2147483647 h 1088"/>
              <a:gd name="T78" fmla="*/ 2147483647 w 969"/>
              <a:gd name="T79" fmla="*/ 2147483647 h 1088"/>
              <a:gd name="T80" fmla="*/ 2147483647 w 969"/>
              <a:gd name="T81" fmla="*/ 2147483647 h 1088"/>
              <a:gd name="T82" fmla="*/ 2147483647 w 969"/>
              <a:gd name="T83" fmla="*/ 2147483647 h 1088"/>
              <a:gd name="T84" fmla="*/ 2147483647 w 969"/>
              <a:gd name="T85" fmla="*/ 2147483647 h 1088"/>
              <a:gd name="T86" fmla="*/ 2147483647 w 969"/>
              <a:gd name="T87" fmla="*/ 2147483647 h 1088"/>
              <a:gd name="T88" fmla="*/ 2147483647 w 969"/>
              <a:gd name="T89" fmla="*/ 2147483647 h 1088"/>
              <a:gd name="T90" fmla="*/ 2147483647 w 969"/>
              <a:gd name="T91" fmla="*/ 2147483647 h 1088"/>
              <a:gd name="T92" fmla="*/ 2147483647 w 969"/>
              <a:gd name="T93" fmla="*/ 2147483647 h 1088"/>
              <a:gd name="T94" fmla="*/ 2147483647 w 969"/>
              <a:gd name="T95" fmla="*/ 2147483647 h 1088"/>
              <a:gd name="T96" fmla="*/ 2147483647 w 969"/>
              <a:gd name="T97" fmla="*/ 2147483647 h 1088"/>
              <a:gd name="T98" fmla="*/ 2147483647 w 969"/>
              <a:gd name="T99" fmla="*/ 2147483647 h 1088"/>
              <a:gd name="T100" fmla="*/ 2147483647 w 969"/>
              <a:gd name="T101" fmla="*/ 2147483647 h 1088"/>
              <a:gd name="T102" fmla="*/ 2147483647 w 969"/>
              <a:gd name="T103" fmla="*/ 2147483647 h 1088"/>
              <a:gd name="T104" fmla="*/ 2147483647 w 969"/>
              <a:gd name="T105" fmla="*/ 2147483647 h 1088"/>
              <a:gd name="T106" fmla="*/ 2147483647 w 969"/>
              <a:gd name="T107" fmla="*/ 2147483647 h 1088"/>
              <a:gd name="T108" fmla="*/ 2147483647 w 969"/>
              <a:gd name="T109" fmla="*/ 2147483647 h 1088"/>
              <a:gd name="T110" fmla="*/ 2147483647 w 969"/>
              <a:gd name="T111" fmla="*/ 2147483647 h 1088"/>
              <a:gd name="T112" fmla="*/ 2147483647 w 969"/>
              <a:gd name="T113" fmla="*/ 2147483647 h 1088"/>
              <a:gd name="T114" fmla="*/ 2147483647 w 969"/>
              <a:gd name="T115" fmla="*/ 2147483647 h 1088"/>
              <a:gd name="T116" fmla="*/ 2147483647 w 969"/>
              <a:gd name="T117" fmla="*/ 2147483647 h 1088"/>
              <a:gd name="T118" fmla="*/ 2147483647 w 969"/>
              <a:gd name="T119" fmla="*/ 2147483647 h 108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69"/>
              <a:gd name="T181" fmla="*/ 0 h 1088"/>
              <a:gd name="T182" fmla="*/ 969 w 969"/>
              <a:gd name="T183" fmla="*/ 1088 h 108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69" h="1088">
                <a:moveTo>
                  <a:pt x="181" y="1083"/>
                </a:moveTo>
                <a:lnTo>
                  <a:pt x="181" y="1077"/>
                </a:lnTo>
                <a:lnTo>
                  <a:pt x="187" y="1066"/>
                </a:lnTo>
                <a:lnTo>
                  <a:pt x="187" y="1054"/>
                </a:lnTo>
                <a:lnTo>
                  <a:pt x="193" y="1037"/>
                </a:lnTo>
                <a:lnTo>
                  <a:pt x="193" y="1032"/>
                </a:lnTo>
                <a:lnTo>
                  <a:pt x="193" y="1009"/>
                </a:lnTo>
                <a:lnTo>
                  <a:pt x="193" y="1003"/>
                </a:lnTo>
                <a:lnTo>
                  <a:pt x="193" y="998"/>
                </a:lnTo>
                <a:lnTo>
                  <a:pt x="187" y="992"/>
                </a:lnTo>
                <a:lnTo>
                  <a:pt x="187" y="986"/>
                </a:lnTo>
                <a:lnTo>
                  <a:pt x="187" y="964"/>
                </a:lnTo>
                <a:lnTo>
                  <a:pt x="187" y="952"/>
                </a:lnTo>
                <a:lnTo>
                  <a:pt x="193" y="952"/>
                </a:lnTo>
                <a:lnTo>
                  <a:pt x="193" y="947"/>
                </a:lnTo>
                <a:lnTo>
                  <a:pt x="198" y="941"/>
                </a:lnTo>
                <a:lnTo>
                  <a:pt x="198" y="935"/>
                </a:lnTo>
                <a:lnTo>
                  <a:pt x="204" y="935"/>
                </a:lnTo>
                <a:lnTo>
                  <a:pt x="204" y="930"/>
                </a:lnTo>
                <a:lnTo>
                  <a:pt x="210" y="924"/>
                </a:lnTo>
                <a:lnTo>
                  <a:pt x="210" y="918"/>
                </a:lnTo>
                <a:lnTo>
                  <a:pt x="210" y="913"/>
                </a:lnTo>
                <a:lnTo>
                  <a:pt x="210" y="907"/>
                </a:lnTo>
                <a:lnTo>
                  <a:pt x="215" y="907"/>
                </a:lnTo>
                <a:lnTo>
                  <a:pt x="215" y="896"/>
                </a:lnTo>
                <a:lnTo>
                  <a:pt x="215" y="890"/>
                </a:lnTo>
                <a:lnTo>
                  <a:pt x="221" y="884"/>
                </a:lnTo>
                <a:lnTo>
                  <a:pt x="227" y="884"/>
                </a:lnTo>
                <a:lnTo>
                  <a:pt x="227" y="879"/>
                </a:lnTo>
                <a:lnTo>
                  <a:pt x="232" y="879"/>
                </a:lnTo>
                <a:lnTo>
                  <a:pt x="238" y="873"/>
                </a:lnTo>
                <a:lnTo>
                  <a:pt x="244" y="873"/>
                </a:lnTo>
                <a:lnTo>
                  <a:pt x="244" y="867"/>
                </a:lnTo>
                <a:lnTo>
                  <a:pt x="249" y="867"/>
                </a:lnTo>
                <a:lnTo>
                  <a:pt x="255" y="867"/>
                </a:lnTo>
                <a:lnTo>
                  <a:pt x="255" y="862"/>
                </a:lnTo>
                <a:lnTo>
                  <a:pt x="261" y="862"/>
                </a:lnTo>
                <a:lnTo>
                  <a:pt x="261" y="856"/>
                </a:lnTo>
                <a:lnTo>
                  <a:pt x="266" y="850"/>
                </a:lnTo>
                <a:lnTo>
                  <a:pt x="266" y="828"/>
                </a:lnTo>
                <a:lnTo>
                  <a:pt x="272" y="799"/>
                </a:lnTo>
                <a:lnTo>
                  <a:pt x="272" y="788"/>
                </a:lnTo>
                <a:lnTo>
                  <a:pt x="272" y="777"/>
                </a:lnTo>
                <a:lnTo>
                  <a:pt x="272" y="765"/>
                </a:lnTo>
                <a:lnTo>
                  <a:pt x="272" y="760"/>
                </a:lnTo>
                <a:lnTo>
                  <a:pt x="272" y="754"/>
                </a:lnTo>
                <a:lnTo>
                  <a:pt x="272" y="748"/>
                </a:lnTo>
                <a:lnTo>
                  <a:pt x="272" y="743"/>
                </a:lnTo>
                <a:lnTo>
                  <a:pt x="272" y="731"/>
                </a:lnTo>
                <a:lnTo>
                  <a:pt x="272" y="726"/>
                </a:lnTo>
                <a:lnTo>
                  <a:pt x="266" y="726"/>
                </a:lnTo>
                <a:lnTo>
                  <a:pt x="261" y="714"/>
                </a:lnTo>
                <a:lnTo>
                  <a:pt x="255" y="703"/>
                </a:lnTo>
                <a:lnTo>
                  <a:pt x="249" y="703"/>
                </a:lnTo>
                <a:lnTo>
                  <a:pt x="244" y="697"/>
                </a:lnTo>
                <a:lnTo>
                  <a:pt x="244" y="692"/>
                </a:lnTo>
                <a:lnTo>
                  <a:pt x="238" y="686"/>
                </a:lnTo>
                <a:lnTo>
                  <a:pt x="238" y="680"/>
                </a:lnTo>
                <a:lnTo>
                  <a:pt x="227" y="675"/>
                </a:lnTo>
                <a:lnTo>
                  <a:pt x="215" y="669"/>
                </a:lnTo>
                <a:lnTo>
                  <a:pt x="215" y="663"/>
                </a:lnTo>
                <a:lnTo>
                  <a:pt x="210" y="658"/>
                </a:lnTo>
                <a:lnTo>
                  <a:pt x="204" y="652"/>
                </a:lnTo>
                <a:lnTo>
                  <a:pt x="198" y="646"/>
                </a:lnTo>
                <a:lnTo>
                  <a:pt x="193" y="646"/>
                </a:lnTo>
                <a:lnTo>
                  <a:pt x="187" y="641"/>
                </a:lnTo>
                <a:lnTo>
                  <a:pt x="187" y="635"/>
                </a:lnTo>
                <a:lnTo>
                  <a:pt x="181" y="635"/>
                </a:lnTo>
                <a:lnTo>
                  <a:pt x="181" y="629"/>
                </a:lnTo>
                <a:lnTo>
                  <a:pt x="176" y="629"/>
                </a:lnTo>
                <a:lnTo>
                  <a:pt x="170" y="629"/>
                </a:lnTo>
                <a:lnTo>
                  <a:pt x="170" y="623"/>
                </a:lnTo>
                <a:lnTo>
                  <a:pt x="170" y="618"/>
                </a:lnTo>
                <a:lnTo>
                  <a:pt x="164" y="618"/>
                </a:lnTo>
                <a:lnTo>
                  <a:pt x="159" y="618"/>
                </a:lnTo>
                <a:lnTo>
                  <a:pt x="153" y="618"/>
                </a:lnTo>
                <a:lnTo>
                  <a:pt x="147" y="612"/>
                </a:lnTo>
                <a:lnTo>
                  <a:pt x="142" y="612"/>
                </a:lnTo>
                <a:lnTo>
                  <a:pt x="136" y="606"/>
                </a:lnTo>
                <a:lnTo>
                  <a:pt x="119" y="606"/>
                </a:lnTo>
                <a:lnTo>
                  <a:pt x="113" y="612"/>
                </a:lnTo>
                <a:lnTo>
                  <a:pt x="91" y="618"/>
                </a:lnTo>
                <a:lnTo>
                  <a:pt x="85" y="618"/>
                </a:lnTo>
                <a:lnTo>
                  <a:pt x="62" y="629"/>
                </a:lnTo>
                <a:lnTo>
                  <a:pt x="57" y="629"/>
                </a:lnTo>
                <a:lnTo>
                  <a:pt x="51" y="629"/>
                </a:lnTo>
                <a:lnTo>
                  <a:pt x="45" y="629"/>
                </a:lnTo>
                <a:lnTo>
                  <a:pt x="40" y="629"/>
                </a:lnTo>
                <a:lnTo>
                  <a:pt x="34" y="635"/>
                </a:lnTo>
                <a:lnTo>
                  <a:pt x="28" y="641"/>
                </a:lnTo>
                <a:lnTo>
                  <a:pt x="23" y="646"/>
                </a:lnTo>
                <a:lnTo>
                  <a:pt x="17" y="646"/>
                </a:lnTo>
                <a:lnTo>
                  <a:pt x="17" y="652"/>
                </a:lnTo>
                <a:lnTo>
                  <a:pt x="6" y="652"/>
                </a:lnTo>
                <a:lnTo>
                  <a:pt x="0" y="652"/>
                </a:lnTo>
                <a:lnTo>
                  <a:pt x="0" y="646"/>
                </a:lnTo>
                <a:lnTo>
                  <a:pt x="0" y="641"/>
                </a:lnTo>
                <a:lnTo>
                  <a:pt x="0" y="635"/>
                </a:lnTo>
                <a:lnTo>
                  <a:pt x="6" y="635"/>
                </a:lnTo>
                <a:lnTo>
                  <a:pt x="6" y="629"/>
                </a:lnTo>
                <a:lnTo>
                  <a:pt x="6" y="623"/>
                </a:lnTo>
                <a:lnTo>
                  <a:pt x="6" y="618"/>
                </a:lnTo>
                <a:lnTo>
                  <a:pt x="11" y="618"/>
                </a:lnTo>
                <a:lnTo>
                  <a:pt x="11" y="612"/>
                </a:lnTo>
                <a:lnTo>
                  <a:pt x="11" y="606"/>
                </a:lnTo>
                <a:lnTo>
                  <a:pt x="17" y="606"/>
                </a:lnTo>
                <a:lnTo>
                  <a:pt x="17" y="601"/>
                </a:lnTo>
                <a:lnTo>
                  <a:pt x="11" y="601"/>
                </a:lnTo>
                <a:lnTo>
                  <a:pt x="11" y="595"/>
                </a:lnTo>
                <a:lnTo>
                  <a:pt x="17" y="601"/>
                </a:lnTo>
                <a:lnTo>
                  <a:pt x="23" y="601"/>
                </a:lnTo>
                <a:lnTo>
                  <a:pt x="28" y="601"/>
                </a:lnTo>
                <a:lnTo>
                  <a:pt x="40" y="589"/>
                </a:lnTo>
                <a:lnTo>
                  <a:pt x="45" y="589"/>
                </a:lnTo>
                <a:lnTo>
                  <a:pt x="45" y="584"/>
                </a:lnTo>
                <a:lnTo>
                  <a:pt x="51" y="584"/>
                </a:lnTo>
                <a:lnTo>
                  <a:pt x="51" y="578"/>
                </a:lnTo>
                <a:lnTo>
                  <a:pt x="57" y="578"/>
                </a:lnTo>
                <a:lnTo>
                  <a:pt x="57" y="572"/>
                </a:lnTo>
                <a:lnTo>
                  <a:pt x="62" y="572"/>
                </a:lnTo>
                <a:lnTo>
                  <a:pt x="74" y="561"/>
                </a:lnTo>
                <a:lnTo>
                  <a:pt x="79" y="561"/>
                </a:lnTo>
                <a:lnTo>
                  <a:pt x="85" y="555"/>
                </a:lnTo>
                <a:lnTo>
                  <a:pt x="85" y="550"/>
                </a:lnTo>
                <a:lnTo>
                  <a:pt x="91" y="550"/>
                </a:lnTo>
                <a:lnTo>
                  <a:pt x="91" y="544"/>
                </a:lnTo>
                <a:lnTo>
                  <a:pt x="91" y="538"/>
                </a:lnTo>
                <a:lnTo>
                  <a:pt x="91" y="533"/>
                </a:lnTo>
                <a:lnTo>
                  <a:pt x="91" y="527"/>
                </a:lnTo>
                <a:lnTo>
                  <a:pt x="91" y="521"/>
                </a:lnTo>
                <a:lnTo>
                  <a:pt x="85" y="521"/>
                </a:lnTo>
                <a:lnTo>
                  <a:pt x="85" y="516"/>
                </a:lnTo>
                <a:lnTo>
                  <a:pt x="85" y="504"/>
                </a:lnTo>
                <a:lnTo>
                  <a:pt x="79" y="504"/>
                </a:lnTo>
                <a:lnTo>
                  <a:pt x="74" y="499"/>
                </a:lnTo>
                <a:lnTo>
                  <a:pt x="74" y="493"/>
                </a:lnTo>
                <a:lnTo>
                  <a:pt x="74" y="487"/>
                </a:lnTo>
                <a:lnTo>
                  <a:pt x="74" y="482"/>
                </a:lnTo>
                <a:lnTo>
                  <a:pt x="68" y="476"/>
                </a:lnTo>
                <a:lnTo>
                  <a:pt x="68" y="465"/>
                </a:lnTo>
                <a:lnTo>
                  <a:pt x="74" y="459"/>
                </a:lnTo>
                <a:lnTo>
                  <a:pt x="74" y="453"/>
                </a:lnTo>
                <a:lnTo>
                  <a:pt x="85" y="453"/>
                </a:lnTo>
                <a:lnTo>
                  <a:pt x="85" y="448"/>
                </a:lnTo>
                <a:lnTo>
                  <a:pt x="91" y="448"/>
                </a:lnTo>
                <a:lnTo>
                  <a:pt x="96" y="453"/>
                </a:lnTo>
                <a:lnTo>
                  <a:pt x="102" y="453"/>
                </a:lnTo>
                <a:lnTo>
                  <a:pt x="113" y="453"/>
                </a:lnTo>
                <a:lnTo>
                  <a:pt x="113" y="459"/>
                </a:lnTo>
                <a:lnTo>
                  <a:pt x="119" y="459"/>
                </a:lnTo>
                <a:lnTo>
                  <a:pt x="125" y="459"/>
                </a:lnTo>
                <a:lnTo>
                  <a:pt x="130" y="465"/>
                </a:lnTo>
                <a:lnTo>
                  <a:pt x="136" y="465"/>
                </a:lnTo>
                <a:lnTo>
                  <a:pt x="142" y="465"/>
                </a:lnTo>
                <a:lnTo>
                  <a:pt x="147" y="465"/>
                </a:lnTo>
                <a:lnTo>
                  <a:pt x="159" y="465"/>
                </a:lnTo>
                <a:lnTo>
                  <a:pt x="159" y="459"/>
                </a:lnTo>
                <a:lnTo>
                  <a:pt x="159" y="453"/>
                </a:lnTo>
                <a:lnTo>
                  <a:pt x="164" y="453"/>
                </a:lnTo>
                <a:lnTo>
                  <a:pt x="170" y="448"/>
                </a:lnTo>
                <a:lnTo>
                  <a:pt x="170" y="442"/>
                </a:lnTo>
                <a:lnTo>
                  <a:pt x="176" y="436"/>
                </a:lnTo>
                <a:lnTo>
                  <a:pt x="187" y="436"/>
                </a:lnTo>
                <a:lnTo>
                  <a:pt x="198" y="436"/>
                </a:lnTo>
                <a:lnTo>
                  <a:pt x="204" y="436"/>
                </a:lnTo>
                <a:lnTo>
                  <a:pt x="210" y="436"/>
                </a:lnTo>
                <a:lnTo>
                  <a:pt x="215" y="431"/>
                </a:lnTo>
                <a:lnTo>
                  <a:pt x="227" y="431"/>
                </a:lnTo>
                <a:lnTo>
                  <a:pt x="232" y="425"/>
                </a:lnTo>
                <a:lnTo>
                  <a:pt x="238" y="425"/>
                </a:lnTo>
                <a:lnTo>
                  <a:pt x="244" y="419"/>
                </a:lnTo>
                <a:lnTo>
                  <a:pt x="249" y="419"/>
                </a:lnTo>
                <a:lnTo>
                  <a:pt x="255" y="419"/>
                </a:lnTo>
                <a:lnTo>
                  <a:pt x="261" y="414"/>
                </a:lnTo>
                <a:lnTo>
                  <a:pt x="261" y="408"/>
                </a:lnTo>
                <a:lnTo>
                  <a:pt x="266" y="408"/>
                </a:lnTo>
                <a:lnTo>
                  <a:pt x="272" y="408"/>
                </a:lnTo>
                <a:lnTo>
                  <a:pt x="278" y="402"/>
                </a:lnTo>
                <a:lnTo>
                  <a:pt x="284" y="397"/>
                </a:lnTo>
                <a:lnTo>
                  <a:pt x="289" y="397"/>
                </a:lnTo>
                <a:lnTo>
                  <a:pt x="289" y="391"/>
                </a:lnTo>
                <a:lnTo>
                  <a:pt x="295" y="391"/>
                </a:lnTo>
                <a:lnTo>
                  <a:pt x="301" y="391"/>
                </a:lnTo>
                <a:lnTo>
                  <a:pt x="301" y="385"/>
                </a:lnTo>
                <a:lnTo>
                  <a:pt x="306" y="380"/>
                </a:lnTo>
                <a:lnTo>
                  <a:pt x="312" y="380"/>
                </a:lnTo>
                <a:lnTo>
                  <a:pt x="318" y="374"/>
                </a:lnTo>
                <a:lnTo>
                  <a:pt x="323" y="374"/>
                </a:lnTo>
                <a:lnTo>
                  <a:pt x="323" y="368"/>
                </a:lnTo>
                <a:lnTo>
                  <a:pt x="329" y="368"/>
                </a:lnTo>
                <a:lnTo>
                  <a:pt x="329" y="363"/>
                </a:lnTo>
                <a:lnTo>
                  <a:pt x="335" y="363"/>
                </a:lnTo>
                <a:lnTo>
                  <a:pt x="340" y="363"/>
                </a:lnTo>
                <a:lnTo>
                  <a:pt x="340" y="357"/>
                </a:lnTo>
                <a:lnTo>
                  <a:pt x="346" y="357"/>
                </a:lnTo>
                <a:lnTo>
                  <a:pt x="346" y="351"/>
                </a:lnTo>
                <a:lnTo>
                  <a:pt x="352" y="351"/>
                </a:lnTo>
                <a:lnTo>
                  <a:pt x="352" y="346"/>
                </a:lnTo>
                <a:lnTo>
                  <a:pt x="357" y="346"/>
                </a:lnTo>
                <a:lnTo>
                  <a:pt x="357" y="340"/>
                </a:lnTo>
                <a:lnTo>
                  <a:pt x="363" y="340"/>
                </a:lnTo>
                <a:lnTo>
                  <a:pt x="369" y="340"/>
                </a:lnTo>
                <a:lnTo>
                  <a:pt x="369" y="334"/>
                </a:lnTo>
                <a:lnTo>
                  <a:pt x="369" y="329"/>
                </a:lnTo>
                <a:lnTo>
                  <a:pt x="374" y="329"/>
                </a:lnTo>
                <a:lnTo>
                  <a:pt x="380" y="329"/>
                </a:lnTo>
                <a:lnTo>
                  <a:pt x="380" y="323"/>
                </a:lnTo>
                <a:lnTo>
                  <a:pt x="386" y="312"/>
                </a:lnTo>
                <a:lnTo>
                  <a:pt x="391" y="312"/>
                </a:lnTo>
                <a:lnTo>
                  <a:pt x="397" y="312"/>
                </a:lnTo>
                <a:lnTo>
                  <a:pt x="397" y="306"/>
                </a:lnTo>
                <a:lnTo>
                  <a:pt x="397" y="300"/>
                </a:lnTo>
                <a:lnTo>
                  <a:pt x="408" y="295"/>
                </a:lnTo>
                <a:lnTo>
                  <a:pt x="414" y="295"/>
                </a:lnTo>
                <a:lnTo>
                  <a:pt x="420" y="283"/>
                </a:lnTo>
                <a:lnTo>
                  <a:pt x="425" y="283"/>
                </a:lnTo>
                <a:lnTo>
                  <a:pt x="425" y="278"/>
                </a:lnTo>
                <a:lnTo>
                  <a:pt x="431" y="278"/>
                </a:lnTo>
                <a:lnTo>
                  <a:pt x="431" y="272"/>
                </a:lnTo>
                <a:lnTo>
                  <a:pt x="442" y="266"/>
                </a:lnTo>
                <a:lnTo>
                  <a:pt x="448" y="261"/>
                </a:lnTo>
                <a:lnTo>
                  <a:pt x="454" y="261"/>
                </a:lnTo>
                <a:lnTo>
                  <a:pt x="454" y="255"/>
                </a:lnTo>
                <a:lnTo>
                  <a:pt x="459" y="255"/>
                </a:lnTo>
                <a:lnTo>
                  <a:pt x="465" y="255"/>
                </a:lnTo>
                <a:lnTo>
                  <a:pt x="471" y="249"/>
                </a:lnTo>
                <a:lnTo>
                  <a:pt x="476" y="249"/>
                </a:lnTo>
                <a:lnTo>
                  <a:pt x="482" y="244"/>
                </a:lnTo>
                <a:lnTo>
                  <a:pt x="488" y="244"/>
                </a:lnTo>
                <a:lnTo>
                  <a:pt x="505" y="244"/>
                </a:lnTo>
                <a:lnTo>
                  <a:pt x="516" y="244"/>
                </a:lnTo>
                <a:lnTo>
                  <a:pt x="522" y="244"/>
                </a:lnTo>
                <a:lnTo>
                  <a:pt x="522" y="238"/>
                </a:lnTo>
                <a:lnTo>
                  <a:pt x="527" y="238"/>
                </a:lnTo>
                <a:lnTo>
                  <a:pt x="539" y="232"/>
                </a:lnTo>
                <a:lnTo>
                  <a:pt x="539" y="227"/>
                </a:lnTo>
                <a:lnTo>
                  <a:pt x="539" y="215"/>
                </a:lnTo>
                <a:lnTo>
                  <a:pt x="539" y="210"/>
                </a:lnTo>
                <a:lnTo>
                  <a:pt x="539" y="204"/>
                </a:lnTo>
                <a:lnTo>
                  <a:pt x="533" y="198"/>
                </a:lnTo>
                <a:lnTo>
                  <a:pt x="527" y="198"/>
                </a:lnTo>
                <a:lnTo>
                  <a:pt x="527" y="193"/>
                </a:lnTo>
                <a:lnTo>
                  <a:pt x="527" y="187"/>
                </a:lnTo>
                <a:lnTo>
                  <a:pt x="522" y="176"/>
                </a:lnTo>
                <a:lnTo>
                  <a:pt x="522" y="170"/>
                </a:lnTo>
                <a:lnTo>
                  <a:pt x="510" y="153"/>
                </a:lnTo>
                <a:lnTo>
                  <a:pt x="510" y="142"/>
                </a:lnTo>
                <a:lnTo>
                  <a:pt x="510" y="130"/>
                </a:lnTo>
                <a:lnTo>
                  <a:pt x="505" y="113"/>
                </a:lnTo>
                <a:lnTo>
                  <a:pt x="505" y="102"/>
                </a:lnTo>
                <a:lnTo>
                  <a:pt x="499" y="91"/>
                </a:lnTo>
                <a:lnTo>
                  <a:pt x="499" y="85"/>
                </a:lnTo>
                <a:lnTo>
                  <a:pt x="499" y="79"/>
                </a:lnTo>
                <a:lnTo>
                  <a:pt x="499" y="74"/>
                </a:lnTo>
                <a:lnTo>
                  <a:pt x="505" y="74"/>
                </a:lnTo>
                <a:lnTo>
                  <a:pt x="505" y="68"/>
                </a:lnTo>
                <a:lnTo>
                  <a:pt x="505" y="62"/>
                </a:lnTo>
                <a:lnTo>
                  <a:pt x="510" y="62"/>
                </a:lnTo>
                <a:lnTo>
                  <a:pt x="510" y="57"/>
                </a:lnTo>
                <a:lnTo>
                  <a:pt x="510" y="51"/>
                </a:lnTo>
                <a:lnTo>
                  <a:pt x="510" y="45"/>
                </a:lnTo>
                <a:lnTo>
                  <a:pt x="527" y="34"/>
                </a:lnTo>
                <a:lnTo>
                  <a:pt x="533" y="34"/>
                </a:lnTo>
                <a:lnTo>
                  <a:pt x="539" y="34"/>
                </a:lnTo>
                <a:lnTo>
                  <a:pt x="550" y="34"/>
                </a:lnTo>
                <a:lnTo>
                  <a:pt x="556" y="34"/>
                </a:lnTo>
                <a:lnTo>
                  <a:pt x="561" y="34"/>
                </a:lnTo>
                <a:lnTo>
                  <a:pt x="567" y="28"/>
                </a:lnTo>
                <a:lnTo>
                  <a:pt x="573" y="28"/>
                </a:lnTo>
                <a:lnTo>
                  <a:pt x="573" y="23"/>
                </a:lnTo>
                <a:lnTo>
                  <a:pt x="578" y="23"/>
                </a:lnTo>
                <a:lnTo>
                  <a:pt x="584" y="17"/>
                </a:lnTo>
                <a:lnTo>
                  <a:pt x="590" y="17"/>
                </a:lnTo>
                <a:lnTo>
                  <a:pt x="595" y="17"/>
                </a:lnTo>
                <a:lnTo>
                  <a:pt x="595" y="11"/>
                </a:lnTo>
                <a:lnTo>
                  <a:pt x="601" y="11"/>
                </a:lnTo>
                <a:lnTo>
                  <a:pt x="607" y="6"/>
                </a:lnTo>
                <a:lnTo>
                  <a:pt x="612" y="6"/>
                </a:lnTo>
                <a:lnTo>
                  <a:pt x="618" y="6"/>
                </a:lnTo>
                <a:lnTo>
                  <a:pt x="624" y="6"/>
                </a:lnTo>
                <a:lnTo>
                  <a:pt x="629" y="0"/>
                </a:lnTo>
                <a:lnTo>
                  <a:pt x="641" y="0"/>
                </a:lnTo>
                <a:lnTo>
                  <a:pt x="646" y="0"/>
                </a:lnTo>
                <a:lnTo>
                  <a:pt x="658" y="6"/>
                </a:lnTo>
                <a:lnTo>
                  <a:pt x="669" y="6"/>
                </a:lnTo>
                <a:lnTo>
                  <a:pt x="680" y="6"/>
                </a:lnTo>
                <a:lnTo>
                  <a:pt x="686" y="6"/>
                </a:lnTo>
                <a:lnTo>
                  <a:pt x="703" y="11"/>
                </a:lnTo>
                <a:lnTo>
                  <a:pt x="714" y="11"/>
                </a:lnTo>
                <a:lnTo>
                  <a:pt x="731" y="11"/>
                </a:lnTo>
                <a:lnTo>
                  <a:pt x="737" y="11"/>
                </a:lnTo>
                <a:lnTo>
                  <a:pt x="743" y="11"/>
                </a:lnTo>
                <a:lnTo>
                  <a:pt x="748" y="11"/>
                </a:lnTo>
                <a:lnTo>
                  <a:pt x="748" y="17"/>
                </a:lnTo>
                <a:lnTo>
                  <a:pt x="754" y="17"/>
                </a:lnTo>
                <a:lnTo>
                  <a:pt x="760" y="17"/>
                </a:lnTo>
                <a:lnTo>
                  <a:pt x="771" y="23"/>
                </a:lnTo>
                <a:lnTo>
                  <a:pt x="777" y="17"/>
                </a:lnTo>
                <a:lnTo>
                  <a:pt x="777" y="23"/>
                </a:lnTo>
                <a:lnTo>
                  <a:pt x="782" y="23"/>
                </a:lnTo>
                <a:lnTo>
                  <a:pt x="782" y="17"/>
                </a:lnTo>
                <a:lnTo>
                  <a:pt x="788" y="17"/>
                </a:lnTo>
                <a:lnTo>
                  <a:pt x="794" y="17"/>
                </a:lnTo>
                <a:lnTo>
                  <a:pt x="799" y="17"/>
                </a:lnTo>
                <a:lnTo>
                  <a:pt x="805" y="11"/>
                </a:lnTo>
                <a:lnTo>
                  <a:pt x="816" y="23"/>
                </a:lnTo>
                <a:lnTo>
                  <a:pt x="822" y="23"/>
                </a:lnTo>
                <a:lnTo>
                  <a:pt x="822" y="28"/>
                </a:lnTo>
                <a:lnTo>
                  <a:pt x="822" y="34"/>
                </a:lnTo>
                <a:lnTo>
                  <a:pt x="822" y="40"/>
                </a:lnTo>
                <a:lnTo>
                  <a:pt x="828" y="40"/>
                </a:lnTo>
                <a:lnTo>
                  <a:pt x="828" y="45"/>
                </a:lnTo>
                <a:lnTo>
                  <a:pt x="833" y="45"/>
                </a:lnTo>
                <a:lnTo>
                  <a:pt x="833" y="51"/>
                </a:lnTo>
                <a:lnTo>
                  <a:pt x="833" y="57"/>
                </a:lnTo>
                <a:lnTo>
                  <a:pt x="833" y="62"/>
                </a:lnTo>
                <a:lnTo>
                  <a:pt x="839" y="62"/>
                </a:lnTo>
                <a:lnTo>
                  <a:pt x="845" y="68"/>
                </a:lnTo>
                <a:lnTo>
                  <a:pt x="850" y="74"/>
                </a:lnTo>
                <a:lnTo>
                  <a:pt x="862" y="74"/>
                </a:lnTo>
                <a:lnTo>
                  <a:pt x="867" y="74"/>
                </a:lnTo>
                <a:lnTo>
                  <a:pt x="867" y="79"/>
                </a:lnTo>
                <a:lnTo>
                  <a:pt x="873" y="85"/>
                </a:lnTo>
                <a:lnTo>
                  <a:pt x="879" y="85"/>
                </a:lnTo>
                <a:lnTo>
                  <a:pt x="879" y="91"/>
                </a:lnTo>
                <a:lnTo>
                  <a:pt x="884" y="91"/>
                </a:lnTo>
                <a:lnTo>
                  <a:pt x="884" y="96"/>
                </a:lnTo>
                <a:lnTo>
                  <a:pt x="890" y="96"/>
                </a:lnTo>
                <a:lnTo>
                  <a:pt x="890" y="102"/>
                </a:lnTo>
                <a:lnTo>
                  <a:pt x="896" y="102"/>
                </a:lnTo>
                <a:lnTo>
                  <a:pt x="896" y="108"/>
                </a:lnTo>
                <a:lnTo>
                  <a:pt x="901" y="108"/>
                </a:lnTo>
                <a:lnTo>
                  <a:pt x="901" y="113"/>
                </a:lnTo>
                <a:lnTo>
                  <a:pt x="901" y="119"/>
                </a:lnTo>
                <a:lnTo>
                  <a:pt x="907" y="119"/>
                </a:lnTo>
                <a:lnTo>
                  <a:pt x="907" y="125"/>
                </a:lnTo>
                <a:lnTo>
                  <a:pt x="907" y="130"/>
                </a:lnTo>
                <a:lnTo>
                  <a:pt x="907" y="142"/>
                </a:lnTo>
                <a:lnTo>
                  <a:pt x="907" y="147"/>
                </a:lnTo>
                <a:lnTo>
                  <a:pt x="907" y="159"/>
                </a:lnTo>
                <a:lnTo>
                  <a:pt x="907" y="170"/>
                </a:lnTo>
                <a:lnTo>
                  <a:pt x="907" y="176"/>
                </a:lnTo>
                <a:lnTo>
                  <a:pt x="907" y="181"/>
                </a:lnTo>
                <a:lnTo>
                  <a:pt x="913" y="187"/>
                </a:lnTo>
                <a:lnTo>
                  <a:pt x="918" y="187"/>
                </a:lnTo>
                <a:lnTo>
                  <a:pt x="918" y="193"/>
                </a:lnTo>
                <a:lnTo>
                  <a:pt x="918" y="198"/>
                </a:lnTo>
                <a:lnTo>
                  <a:pt x="930" y="198"/>
                </a:lnTo>
                <a:lnTo>
                  <a:pt x="930" y="204"/>
                </a:lnTo>
                <a:lnTo>
                  <a:pt x="935" y="210"/>
                </a:lnTo>
                <a:lnTo>
                  <a:pt x="935" y="215"/>
                </a:lnTo>
                <a:lnTo>
                  <a:pt x="947" y="215"/>
                </a:lnTo>
                <a:lnTo>
                  <a:pt x="947" y="221"/>
                </a:lnTo>
                <a:lnTo>
                  <a:pt x="958" y="227"/>
                </a:lnTo>
                <a:lnTo>
                  <a:pt x="964" y="227"/>
                </a:lnTo>
                <a:lnTo>
                  <a:pt x="964" y="232"/>
                </a:lnTo>
                <a:lnTo>
                  <a:pt x="964" y="238"/>
                </a:lnTo>
                <a:lnTo>
                  <a:pt x="969" y="244"/>
                </a:lnTo>
                <a:lnTo>
                  <a:pt x="969" y="249"/>
                </a:lnTo>
                <a:lnTo>
                  <a:pt x="969" y="255"/>
                </a:lnTo>
                <a:lnTo>
                  <a:pt x="964" y="266"/>
                </a:lnTo>
                <a:lnTo>
                  <a:pt x="964" y="272"/>
                </a:lnTo>
                <a:lnTo>
                  <a:pt x="958" y="283"/>
                </a:lnTo>
                <a:lnTo>
                  <a:pt x="947" y="295"/>
                </a:lnTo>
                <a:lnTo>
                  <a:pt x="947" y="300"/>
                </a:lnTo>
                <a:lnTo>
                  <a:pt x="941" y="300"/>
                </a:lnTo>
                <a:lnTo>
                  <a:pt x="941" y="312"/>
                </a:lnTo>
                <a:lnTo>
                  <a:pt x="935" y="312"/>
                </a:lnTo>
                <a:lnTo>
                  <a:pt x="935" y="317"/>
                </a:lnTo>
                <a:lnTo>
                  <a:pt x="935" y="323"/>
                </a:lnTo>
                <a:lnTo>
                  <a:pt x="935" y="329"/>
                </a:lnTo>
                <a:lnTo>
                  <a:pt x="930" y="340"/>
                </a:lnTo>
                <a:lnTo>
                  <a:pt x="930" y="363"/>
                </a:lnTo>
                <a:lnTo>
                  <a:pt x="930" y="368"/>
                </a:lnTo>
                <a:lnTo>
                  <a:pt x="930" y="374"/>
                </a:lnTo>
                <a:lnTo>
                  <a:pt x="930" y="380"/>
                </a:lnTo>
                <a:lnTo>
                  <a:pt x="930" y="385"/>
                </a:lnTo>
                <a:lnTo>
                  <a:pt x="924" y="385"/>
                </a:lnTo>
                <a:lnTo>
                  <a:pt x="924" y="391"/>
                </a:lnTo>
                <a:lnTo>
                  <a:pt x="918" y="391"/>
                </a:lnTo>
                <a:lnTo>
                  <a:pt x="918" y="397"/>
                </a:lnTo>
                <a:lnTo>
                  <a:pt x="913" y="402"/>
                </a:lnTo>
                <a:lnTo>
                  <a:pt x="907" y="408"/>
                </a:lnTo>
                <a:lnTo>
                  <a:pt x="901" y="408"/>
                </a:lnTo>
                <a:lnTo>
                  <a:pt x="896" y="414"/>
                </a:lnTo>
                <a:lnTo>
                  <a:pt x="890" y="414"/>
                </a:lnTo>
                <a:lnTo>
                  <a:pt x="890" y="419"/>
                </a:lnTo>
                <a:lnTo>
                  <a:pt x="884" y="419"/>
                </a:lnTo>
                <a:lnTo>
                  <a:pt x="879" y="419"/>
                </a:lnTo>
                <a:lnTo>
                  <a:pt x="873" y="425"/>
                </a:lnTo>
                <a:lnTo>
                  <a:pt x="867" y="431"/>
                </a:lnTo>
                <a:lnTo>
                  <a:pt x="867" y="436"/>
                </a:lnTo>
                <a:lnTo>
                  <a:pt x="862" y="436"/>
                </a:lnTo>
                <a:lnTo>
                  <a:pt x="862" y="442"/>
                </a:lnTo>
                <a:lnTo>
                  <a:pt x="862" y="448"/>
                </a:lnTo>
                <a:lnTo>
                  <a:pt x="856" y="448"/>
                </a:lnTo>
                <a:lnTo>
                  <a:pt x="856" y="453"/>
                </a:lnTo>
                <a:lnTo>
                  <a:pt x="850" y="459"/>
                </a:lnTo>
                <a:lnTo>
                  <a:pt x="850" y="465"/>
                </a:lnTo>
                <a:lnTo>
                  <a:pt x="845" y="465"/>
                </a:lnTo>
                <a:lnTo>
                  <a:pt x="845" y="470"/>
                </a:lnTo>
                <a:lnTo>
                  <a:pt x="839" y="476"/>
                </a:lnTo>
                <a:lnTo>
                  <a:pt x="833" y="476"/>
                </a:lnTo>
                <a:lnTo>
                  <a:pt x="833" y="482"/>
                </a:lnTo>
                <a:lnTo>
                  <a:pt x="833" y="487"/>
                </a:lnTo>
                <a:lnTo>
                  <a:pt x="828" y="487"/>
                </a:lnTo>
                <a:lnTo>
                  <a:pt x="828" y="493"/>
                </a:lnTo>
                <a:lnTo>
                  <a:pt x="828" y="499"/>
                </a:lnTo>
                <a:lnTo>
                  <a:pt x="822" y="504"/>
                </a:lnTo>
                <a:lnTo>
                  <a:pt x="816" y="504"/>
                </a:lnTo>
                <a:lnTo>
                  <a:pt x="816" y="510"/>
                </a:lnTo>
                <a:lnTo>
                  <a:pt x="811" y="510"/>
                </a:lnTo>
                <a:lnTo>
                  <a:pt x="811" y="516"/>
                </a:lnTo>
                <a:lnTo>
                  <a:pt x="805" y="516"/>
                </a:lnTo>
                <a:lnTo>
                  <a:pt x="805" y="521"/>
                </a:lnTo>
                <a:lnTo>
                  <a:pt x="799" y="521"/>
                </a:lnTo>
                <a:lnTo>
                  <a:pt x="799" y="527"/>
                </a:lnTo>
                <a:lnTo>
                  <a:pt x="799" y="533"/>
                </a:lnTo>
                <a:lnTo>
                  <a:pt x="794" y="533"/>
                </a:lnTo>
                <a:lnTo>
                  <a:pt x="788" y="538"/>
                </a:lnTo>
                <a:lnTo>
                  <a:pt x="788" y="544"/>
                </a:lnTo>
                <a:lnTo>
                  <a:pt x="782" y="544"/>
                </a:lnTo>
                <a:lnTo>
                  <a:pt x="788" y="550"/>
                </a:lnTo>
                <a:lnTo>
                  <a:pt x="794" y="550"/>
                </a:lnTo>
                <a:lnTo>
                  <a:pt x="799" y="550"/>
                </a:lnTo>
                <a:lnTo>
                  <a:pt x="799" y="555"/>
                </a:lnTo>
                <a:lnTo>
                  <a:pt x="805" y="561"/>
                </a:lnTo>
                <a:lnTo>
                  <a:pt x="811" y="572"/>
                </a:lnTo>
                <a:lnTo>
                  <a:pt x="816" y="578"/>
                </a:lnTo>
                <a:lnTo>
                  <a:pt x="816" y="584"/>
                </a:lnTo>
                <a:lnTo>
                  <a:pt x="822" y="595"/>
                </a:lnTo>
                <a:lnTo>
                  <a:pt x="822" y="601"/>
                </a:lnTo>
                <a:lnTo>
                  <a:pt x="828" y="606"/>
                </a:lnTo>
                <a:lnTo>
                  <a:pt x="828" y="618"/>
                </a:lnTo>
                <a:lnTo>
                  <a:pt x="833" y="618"/>
                </a:lnTo>
                <a:lnTo>
                  <a:pt x="833" y="623"/>
                </a:lnTo>
                <a:lnTo>
                  <a:pt x="839" y="623"/>
                </a:lnTo>
                <a:lnTo>
                  <a:pt x="845" y="629"/>
                </a:lnTo>
                <a:lnTo>
                  <a:pt x="850" y="623"/>
                </a:lnTo>
                <a:lnTo>
                  <a:pt x="856" y="618"/>
                </a:lnTo>
                <a:lnTo>
                  <a:pt x="856" y="612"/>
                </a:lnTo>
                <a:lnTo>
                  <a:pt x="862" y="606"/>
                </a:lnTo>
                <a:lnTo>
                  <a:pt x="862" y="601"/>
                </a:lnTo>
                <a:lnTo>
                  <a:pt x="862" y="595"/>
                </a:lnTo>
                <a:lnTo>
                  <a:pt x="867" y="589"/>
                </a:lnTo>
                <a:lnTo>
                  <a:pt x="873" y="589"/>
                </a:lnTo>
                <a:lnTo>
                  <a:pt x="873" y="584"/>
                </a:lnTo>
                <a:lnTo>
                  <a:pt x="879" y="584"/>
                </a:lnTo>
                <a:lnTo>
                  <a:pt x="884" y="584"/>
                </a:lnTo>
                <a:lnTo>
                  <a:pt x="890" y="589"/>
                </a:lnTo>
                <a:lnTo>
                  <a:pt x="896" y="589"/>
                </a:lnTo>
                <a:lnTo>
                  <a:pt x="896" y="595"/>
                </a:lnTo>
                <a:lnTo>
                  <a:pt x="901" y="601"/>
                </a:lnTo>
                <a:lnTo>
                  <a:pt x="907" y="606"/>
                </a:lnTo>
                <a:lnTo>
                  <a:pt x="913" y="606"/>
                </a:lnTo>
                <a:lnTo>
                  <a:pt x="913" y="618"/>
                </a:lnTo>
                <a:lnTo>
                  <a:pt x="918" y="618"/>
                </a:lnTo>
                <a:lnTo>
                  <a:pt x="924" y="629"/>
                </a:lnTo>
                <a:lnTo>
                  <a:pt x="930" y="629"/>
                </a:lnTo>
                <a:lnTo>
                  <a:pt x="935" y="629"/>
                </a:lnTo>
                <a:lnTo>
                  <a:pt x="935" y="635"/>
                </a:lnTo>
                <a:lnTo>
                  <a:pt x="941" y="635"/>
                </a:lnTo>
                <a:lnTo>
                  <a:pt x="941" y="641"/>
                </a:lnTo>
                <a:lnTo>
                  <a:pt x="947" y="646"/>
                </a:lnTo>
                <a:lnTo>
                  <a:pt x="952" y="646"/>
                </a:lnTo>
                <a:lnTo>
                  <a:pt x="952" y="658"/>
                </a:lnTo>
                <a:lnTo>
                  <a:pt x="952" y="663"/>
                </a:lnTo>
                <a:lnTo>
                  <a:pt x="952" y="669"/>
                </a:lnTo>
                <a:lnTo>
                  <a:pt x="952" y="675"/>
                </a:lnTo>
                <a:lnTo>
                  <a:pt x="952" y="680"/>
                </a:lnTo>
                <a:lnTo>
                  <a:pt x="952" y="686"/>
                </a:lnTo>
                <a:lnTo>
                  <a:pt x="952" y="692"/>
                </a:lnTo>
                <a:lnTo>
                  <a:pt x="952" y="697"/>
                </a:lnTo>
                <a:lnTo>
                  <a:pt x="952" y="703"/>
                </a:lnTo>
                <a:lnTo>
                  <a:pt x="958" y="720"/>
                </a:lnTo>
                <a:lnTo>
                  <a:pt x="958" y="726"/>
                </a:lnTo>
                <a:lnTo>
                  <a:pt x="958" y="737"/>
                </a:lnTo>
                <a:lnTo>
                  <a:pt x="964" y="743"/>
                </a:lnTo>
                <a:lnTo>
                  <a:pt x="969" y="754"/>
                </a:lnTo>
                <a:lnTo>
                  <a:pt x="969" y="760"/>
                </a:lnTo>
                <a:lnTo>
                  <a:pt x="969" y="765"/>
                </a:lnTo>
                <a:lnTo>
                  <a:pt x="952" y="777"/>
                </a:lnTo>
                <a:lnTo>
                  <a:pt x="947" y="782"/>
                </a:lnTo>
                <a:lnTo>
                  <a:pt x="947" y="788"/>
                </a:lnTo>
                <a:lnTo>
                  <a:pt x="947" y="794"/>
                </a:lnTo>
                <a:lnTo>
                  <a:pt x="941" y="794"/>
                </a:lnTo>
                <a:lnTo>
                  <a:pt x="941" y="805"/>
                </a:lnTo>
                <a:lnTo>
                  <a:pt x="935" y="811"/>
                </a:lnTo>
                <a:lnTo>
                  <a:pt x="935" y="822"/>
                </a:lnTo>
                <a:lnTo>
                  <a:pt x="935" y="828"/>
                </a:lnTo>
                <a:lnTo>
                  <a:pt x="935" y="833"/>
                </a:lnTo>
                <a:lnTo>
                  <a:pt x="941" y="833"/>
                </a:lnTo>
                <a:lnTo>
                  <a:pt x="941" y="845"/>
                </a:lnTo>
                <a:lnTo>
                  <a:pt x="941" y="856"/>
                </a:lnTo>
                <a:lnTo>
                  <a:pt x="947" y="867"/>
                </a:lnTo>
                <a:lnTo>
                  <a:pt x="952" y="879"/>
                </a:lnTo>
                <a:lnTo>
                  <a:pt x="952" y="884"/>
                </a:lnTo>
                <a:lnTo>
                  <a:pt x="947" y="890"/>
                </a:lnTo>
                <a:lnTo>
                  <a:pt x="935" y="890"/>
                </a:lnTo>
                <a:lnTo>
                  <a:pt x="924" y="890"/>
                </a:lnTo>
                <a:lnTo>
                  <a:pt x="918" y="890"/>
                </a:lnTo>
                <a:lnTo>
                  <a:pt x="913" y="890"/>
                </a:lnTo>
                <a:lnTo>
                  <a:pt x="907" y="890"/>
                </a:lnTo>
                <a:lnTo>
                  <a:pt x="907" y="901"/>
                </a:lnTo>
                <a:lnTo>
                  <a:pt x="901" y="901"/>
                </a:lnTo>
                <a:lnTo>
                  <a:pt x="896" y="907"/>
                </a:lnTo>
                <a:lnTo>
                  <a:pt x="890" y="913"/>
                </a:lnTo>
                <a:lnTo>
                  <a:pt x="884" y="913"/>
                </a:lnTo>
                <a:lnTo>
                  <a:pt x="884" y="918"/>
                </a:lnTo>
                <a:lnTo>
                  <a:pt x="879" y="918"/>
                </a:lnTo>
                <a:lnTo>
                  <a:pt x="873" y="924"/>
                </a:lnTo>
                <a:lnTo>
                  <a:pt x="873" y="930"/>
                </a:lnTo>
                <a:lnTo>
                  <a:pt x="873" y="941"/>
                </a:lnTo>
                <a:lnTo>
                  <a:pt x="867" y="941"/>
                </a:lnTo>
                <a:lnTo>
                  <a:pt x="862" y="947"/>
                </a:lnTo>
                <a:lnTo>
                  <a:pt x="856" y="947"/>
                </a:lnTo>
                <a:lnTo>
                  <a:pt x="856" y="952"/>
                </a:lnTo>
                <a:lnTo>
                  <a:pt x="856" y="958"/>
                </a:lnTo>
                <a:lnTo>
                  <a:pt x="850" y="958"/>
                </a:lnTo>
                <a:lnTo>
                  <a:pt x="850" y="964"/>
                </a:lnTo>
                <a:lnTo>
                  <a:pt x="856" y="964"/>
                </a:lnTo>
                <a:lnTo>
                  <a:pt x="856" y="969"/>
                </a:lnTo>
                <a:lnTo>
                  <a:pt x="862" y="969"/>
                </a:lnTo>
                <a:lnTo>
                  <a:pt x="862" y="975"/>
                </a:lnTo>
                <a:lnTo>
                  <a:pt x="862" y="981"/>
                </a:lnTo>
                <a:lnTo>
                  <a:pt x="867" y="981"/>
                </a:lnTo>
                <a:lnTo>
                  <a:pt x="862" y="986"/>
                </a:lnTo>
                <a:lnTo>
                  <a:pt x="856" y="992"/>
                </a:lnTo>
                <a:lnTo>
                  <a:pt x="856" y="998"/>
                </a:lnTo>
                <a:lnTo>
                  <a:pt x="862" y="998"/>
                </a:lnTo>
                <a:lnTo>
                  <a:pt x="862" y="1003"/>
                </a:lnTo>
                <a:lnTo>
                  <a:pt x="862" y="1009"/>
                </a:lnTo>
                <a:lnTo>
                  <a:pt x="856" y="1009"/>
                </a:lnTo>
                <a:lnTo>
                  <a:pt x="850" y="1009"/>
                </a:lnTo>
                <a:lnTo>
                  <a:pt x="850" y="1015"/>
                </a:lnTo>
                <a:lnTo>
                  <a:pt x="850" y="1020"/>
                </a:lnTo>
                <a:lnTo>
                  <a:pt x="850" y="1026"/>
                </a:lnTo>
                <a:lnTo>
                  <a:pt x="850" y="1032"/>
                </a:lnTo>
                <a:lnTo>
                  <a:pt x="845" y="1032"/>
                </a:lnTo>
                <a:lnTo>
                  <a:pt x="845" y="1037"/>
                </a:lnTo>
                <a:lnTo>
                  <a:pt x="839" y="1037"/>
                </a:lnTo>
                <a:lnTo>
                  <a:pt x="839" y="1043"/>
                </a:lnTo>
                <a:lnTo>
                  <a:pt x="839" y="1049"/>
                </a:lnTo>
                <a:lnTo>
                  <a:pt x="833" y="1049"/>
                </a:lnTo>
                <a:lnTo>
                  <a:pt x="833" y="1054"/>
                </a:lnTo>
                <a:lnTo>
                  <a:pt x="828" y="1054"/>
                </a:lnTo>
                <a:lnTo>
                  <a:pt x="822" y="1054"/>
                </a:lnTo>
                <a:lnTo>
                  <a:pt x="816" y="1049"/>
                </a:lnTo>
                <a:lnTo>
                  <a:pt x="811" y="1054"/>
                </a:lnTo>
                <a:lnTo>
                  <a:pt x="805" y="1054"/>
                </a:lnTo>
                <a:lnTo>
                  <a:pt x="805" y="1060"/>
                </a:lnTo>
                <a:lnTo>
                  <a:pt x="805" y="1066"/>
                </a:lnTo>
                <a:lnTo>
                  <a:pt x="805" y="1071"/>
                </a:lnTo>
                <a:lnTo>
                  <a:pt x="805" y="1077"/>
                </a:lnTo>
                <a:lnTo>
                  <a:pt x="794" y="1077"/>
                </a:lnTo>
                <a:lnTo>
                  <a:pt x="788" y="1077"/>
                </a:lnTo>
                <a:lnTo>
                  <a:pt x="788" y="1083"/>
                </a:lnTo>
                <a:lnTo>
                  <a:pt x="782" y="1077"/>
                </a:lnTo>
                <a:lnTo>
                  <a:pt x="777" y="1083"/>
                </a:lnTo>
                <a:lnTo>
                  <a:pt x="777" y="1088"/>
                </a:lnTo>
                <a:lnTo>
                  <a:pt x="771" y="1088"/>
                </a:lnTo>
                <a:lnTo>
                  <a:pt x="765" y="1088"/>
                </a:lnTo>
                <a:lnTo>
                  <a:pt x="765" y="1083"/>
                </a:lnTo>
                <a:lnTo>
                  <a:pt x="760" y="1083"/>
                </a:lnTo>
                <a:lnTo>
                  <a:pt x="754" y="1077"/>
                </a:lnTo>
                <a:lnTo>
                  <a:pt x="748" y="1077"/>
                </a:lnTo>
                <a:lnTo>
                  <a:pt x="743" y="1083"/>
                </a:lnTo>
                <a:lnTo>
                  <a:pt x="737" y="1083"/>
                </a:lnTo>
                <a:lnTo>
                  <a:pt x="737" y="1077"/>
                </a:lnTo>
                <a:lnTo>
                  <a:pt x="731" y="1077"/>
                </a:lnTo>
                <a:lnTo>
                  <a:pt x="726" y="1077"/>
                </a:lnTo>
                <a:lnTo>
                  <a:pt x="720" y="1077"/>
                </a:lnTo>
                <a:lnTo>
                  <a:pt x="720" y="1071"/>
                </a:lnTo>
                <a:lnTo>
                  <a:pt x="714" y="1071"/>
                </a:lnTo>
                <a:lnTo>
                  <a:pt x="714" y="1066"/>
                </a:lnTo>
                <a:lnTo>
                  <a:pt x="709" y="1066"/>
                </a:lnTo>
                <a:lnTo>
                  <a:pt x="703" y="1071"/>
                </a:lnTo>
                <a:lnTo>
                  <a:pt x="697" y="1077"/>
                </a:lnTo>
                <a:lnTo>
                  <a:pt x="692" y="1077"/>
                </a:lnTo>
                <a:lnTo>
                  <a:pt x="686" y="1077"/>
                </a:lnTo>
                <a:lnTo>
                  <a:pt x="686" y="1071"/>
                </a:lnTo>
                <a:lnTo>
                  <a:pt x="686" y="1060"/>
                </a:lnTo>
                <a:lnTo>
                  <a:pt x="686" y="1049"/>
                </a:lnTo>
                <a:lnTo>
                  <a:pt x="686" y="1037"/>
                </a:lnTo>
                <a:lnTo>
                  <a:pt x="692" y="1026"/>
                </a:lnTo>
                <a:lnTo>
                  <a:pt x="686" y="1020"/>
                </a:lnTo>
                <a:lnTo>
                  <a:pt x="680" y="1020"/>
                </a:lnTo>
                <a:lnTo>
                  <a:pt x="680" y="1015"/>
                </a:lnTo>
                <a:lnTo>
                  <a:pt x="675" y="1015"/>
                </a:lnTo>
                <a:lnTo>
                  <a:pt x="669" y="1015"/>
                </a:lnTo>
                <a:lnTo>
                  <a:pt x="669" y="1009"/>
                </a:lnTo>
                <a:lnTo>
                  <a:pt x="663" y="1009"/>
                </a:lnTo>
                <a:lnTo>
                  <a:pt x="663" y="1015"/>
                </a:lnTo>
                <a:lnTo>
                  <a:pt x="652" y="1020"/>
                </a:lnTo>
                <a:lnTo>
                  <a:pt x="652" y="1026"/>
                </a:lnTo>
                <a:lnTo>
                  <a:pt x="646" y="1026"/>
                </a:lnTo>
                <a:lnTo>
                  <a:pt x="646" y="1020"/>
                </a:lnTo>
                <a:lnTo>
                  <a:pt x="641" y="1026"/>
                </a:lnTo>
                <a:lnTo>
                  <a:pt x="635" y="1020"/>
                </a:lnTo>
                <a:lnTo>
                  <a:pt x="635" y="1026"/>
                </a:lnTo>
                <a:lnTo>
                  <a:pt x="624" y="1015"/>
                </a:lnTo>
                <a:lnTo>
                  <a:pt x="624" y="1003"/>
                </a:lnTo>
                <a:lnTo>
                  <a:pt x="624" y="998"/>
                </a:lnTo>
                <a:lnTo>
                  <a:pt x="618" y="992"/>
                </a:lnTo>
                <a:lnTo>
                  <a:pt x="618" y="998"/>
                </a:lnTo>
                <a:lnTo>
                  <a:pt x="612" y="998"/>
                </a:lnTo>
                <a:lnTo>
                  <a:pt x="612" y="992"/>
                </a:lnTo>
                <a:lnTo>
                  <a:pt x="607" y="986"/>
                </a:lnTo>
                <a:lnTo>
                  <a:pt x="601" y="981"/>
                </a:lnTo>
                <a:lnTo>
                  <a:pt x="595" y="981"/>
                </a:lnTo>
                <a:lnTo>
                  <a:pt x="595" y="975"/>
                </a:lnTo>
                <a:lnTo>
                  <a:pt x="590" y="975"/>
                </a:lnTo>
                <a:lnTo>
                  <a:pt x="590" y="969"/>
                </a:lnTo>
                <a:lnTo>
                  <a:pt x="590" y="964"/>
                </a:lnTo>
                <a:lnTo>
                  <a:pt x="590" y="958"/>
                </a:lnTo>
                <a:lnTo>
                  <a:pt x="595" y="935"/>
                </a:lnTo>
                <a:lnTo>
                  <a:pt x="590" y="930"/>
                </a:lnTo>
                <a:lnTo>
                  <a:pt x="584" y="930"/>
                </a:lnTo>
                <a:lnTo>
                  <a:pt x="584" y="924"/>
                </a:lnTo>
                <a:lnTo>
                  <a:pt x="578" y="924"/>
                </a:lnTo>
                <a:lnTo>
                  <a:pt x="573" y="924"/>
                </a:lnTo>
                <a:lnTo>
                  <a:pt x="573" y="930"/>
                </a:lnTo>
                <a:lnTo>
                  <a:pt x="567" y="930"/>
                </a:lnTo>
                <a:lnTo>
                  <a:pt x="567" y="924"/>
                </a:lnTo>
                <a:lnTo>
                  <a:pt x="561" y="924"/>
                </a:lnTo>
                <a:lnTo>
                  <a:pt x="561" y="918"/>
                </a:lnTo>
                <a:lnTo>
                  <a:pt x="556" y="913"/>
                </a:lnTo>
                <a:lnTo>
                  <a:pt x="550" y="913"/>
                </a:lnTo>
                <a:lnTo>
                  <a:pt x="544" y="907"/>
                </a:lnTo>
                <a:lnTo>
                  <a:pt x="539" y="907"/>
                </a:lnTo>
                <a:lnTo>
                  <a:pt x="539" y="901"/>
                </a:lnTo>
                <a:lnTo>
                  <a:pt x="539" y="896"/>
                </a:lnTo>
                <a:lnTo>
                  <a:pt x="533" y="896"/>
                </a:lnTo>
                <a:lnTo>
                  <a:pt x="527" y="896"/>
                </a:lnTo>
                <a:lnTo>
                  <a:pt x="522" y="896"/>
                </a:lnTo>
                <a:lnTo>
                  <a:pt x="510" y="884"/>
                </a:lnTo>
                <a:lnTo>
                  <a:pt x="510" y="879"/>
                </a:lnTo>
                <a:lnTo>
                  <a:pt x="510" y="873"/>
                </a:lnTo>
                <a:lnTo>
                  <a:pt x="510" y="867"/>
                </a:lnTo>
                <a:lnTo>
                  <a:pt x="510" y="862"/>
                </a:lnTo>
                <a:lnTo>
                  <a:pt x="510" y="856"/>
                </a:lnTo>
                <a:lnTo>
                  <a:pt x="505" y="856"/>
                </a:lnTo>
                <a:lnTo>
                  <a:pt x="499" y="856"/>
                </a:lnTo>
                <a:lnTo>
                  <a:pt x="499" y="862"/>
                </a:lnTo>
                <a:lnTo>
                  <a:pt x="499" y="873"/>
                </a:lnTo>
                <a:lnTo>
                  <a:pt x="499" y="879"/>
                </a:lnTo>
                <a:lnTo>
                  <a:pt x="499" y="890"/>
                </a:lnTo>
                <a:lnTo>
                  <a:pt x="499" y="896"/>
                </a:lnTo>
                <a:lnTo>
                  <a:pt x="493" y="913"/>
                </a:lnTo>
                <a:lnTo>
                  <a:pt x="493" y="918"/>
                </a:lnTo>
                <a:lnTo>
                  <a:pt x="493" y="924"/>
                </a:lnTo>
                <a:lnTo>
                  <a:pt x="488" y="924"/>
                </a:lnTo>
                <a:lnTo>
                  <a:pt x="488" y="935"/>
                </a:lnTo>
                <a:lnTo>
                  <a:pt x="482" y="941"/>
                </a:lnTo>
                <a:lnTo>
                  <a:pt x="476" y="941"/>
                </a:lnTo>
                <a:lnTo>
                  <a:pt x="471" y="941"/>
                </a:lnTo>
                <a:lnTo>
                  <a:pt x="471" y="947"/>
                </a:lnTo>
                <a:lnTo>
                  <a:pt x="465" y="941"/>
                </a:lnTo>
                <a:lnTo>
                  <a:pt x="454" y="941"/>
                </a:lnTo>
                <a:lnTo>
                  <a:pt x="448" y="941"/>
                </a:lnTo>
                <a:lnTo>
                  <a:pt x="437" y="947"/>
                </a:lnTo>
                <a:lnTo>
                  <a:pt x="431" y="947"/>
                </a:lnTo>
                <a:lnTo>
                  <a:pt x="425" y="947"/>
                </a:lnTo>
                <a:lnTo>
                  <a:pt x="420" y="947"/>
                </a:lnTo>
                <a:lnTo>
                  <a:pt x="391" y="947"/>
                </a:lnTo>
                <a:lnTo>
                  <a:pt x="374" y="952"/>
                </a:lnTo>
                <a:lnTo>
                  <a:pt x="374" y="947"/>
                </a:lnTo>
                <a:lnTo>
                  <a:pt x="357" y="935"/>
                </a:lnTo>
                <a:lnTo>
                  <a:pt x="357" y="930"/>
                </a:lnTo>
                <a:lnTo>
                  <a:pt x="363" y="930"/>
                </a:lnTo>
                <a:lnTo>
                  <a:pt x="363" y="924"/>
                </a:lnTo>
                <a:lnTo>
                  <a:pt x="363" y="918"/>
                </a:lnTo>
                <a:lnTo>
                  <a:pt x="357" y="918"/>
                </a:lnTo>
                <a:lnTo>
                  <a:pt x="357" y="913"/>
                </a:lnTo>
                <a:lnTo>
                  <a:pt x="357" y="907"/>
                </a:lnTo>
                <a:lnTo>
                  <a:pt x="363" y="907"/>
                </a:lnTo>
                <a:lnTo>
                  <a:pt x="357" y="907"/>
                </a:lnTo>
                <a:lnTo>
                  <a:pt x="357" y="901"/>
                </a:lnTo>
                <a:lnTo>
                  <a:pt x="352" y="896"/>
                </a:lnTo>
                <a:lnTo>
                  <a:pt x="346" y="901"/>
                </a:lnTo>
                <a:lnTo>
                  <a:pt x="346" y="907"/>
                </a:lnTo>
                <a:lnTo>
                  <a:pt x="340" y="907"/>
                </a:lnTo>
                <a:lnTo>
                  <a:pt x="340" y="913"/>
                </a:lnTo>
                <a:lnTo>
                  <a:pt x="329" y="918"/>
                </a:lnTo>
                <a:lnTo>
                  <a:pt x="323" y="924"/>
                </a:lnTo>
                <a:lnTo>
                  <a:pt x="318" y="930"/>
                </a:lnTo>
                <a:lnTo>
                  <a:pt x="312" y="935"/>
                </a:lnTo>
                <a:lnTo>
                  <a:pt x="306" y="941"/>
                </a:lnTo>
                <a:lnTo>
                  <a:pt x="301" y="947"/>
                </a:lnTo>
                <a:lnTo>
                  <a:pt x="295" y="947"/>
                </a:lnTo>
                <a:lnTo>
                  <a:pt x="289" y="958"/>
                </a:lnTo>
                <a:lnTo>
                  <a:pt x="284" y="964"/>
                </a:lnTo>
                <a:lnTo>
                  <a:pt x="278" y="969"/>
                </a:lnTo>
                <a:lnTo>
                  <a:pt x="266" y="975"/>
                </a:lnTo>
                <a:lnTo>
                  <a:pt x="266" y="981"/>
                </a:lnTo>
                <a:lnTo>
                  <a:pt x="261" y="986"/>
                </a:lnTo>
                <a:lnTo>
                  <a:pt x="255" y="992"/>
                </a:lnTo>
                <a:lnTo>
                  <a:pt x="249" y="992"/>
                </a:lnTo>
                <a:lnTo>
                  <a:pt x="244" y="992"/>
                </a:lnTo>
                <a:lnTo>
                  <a:pt x="232" y="986"/>
                </a:lnTo>
                <a:lnTo>
                  <a:pt x="227" y="986"/>
                </a:lnTo>
                <a:lnTo>
                  <a:pt x="221" y="986"/>
                </a:lnTo>
                <a:lnTo>
                  <a:pt x="215" y="986"/>
                </a:lnTo>
                <a:lnTo>
                  <a:pt x="215" y="992"/>
                </a:lnTo>
                <a:lnTo>
                  <a:pt x="215" y="998"/>
                </a:lnTo>
                <a:lnTo>
                  <a:pt x="215" y="1003"/>
                </a:lnTo>
                <a:lnTo>
                  <a:pt x="210" y="1009"/>
                </a:lnTo>
                <a:lnTo>
                  <a:pt x="210" y="1015"/>
                </a:lnTo>
                <a:lnTo>
                  <a:pt x="210" y="1020"/>
                </a:lnTo>
                <a:lnTo>
                  <a:pt x="210" y="1026"/>
                </a:lnTo>
                <a:lnTo>
                  <a:pt x="210" y="1032"/>
                </a:lnTo>
                <a:lnTo>
                  <a:pt x="210" y="1037"/>
                </a:lnTo>
                <a:lnTo>
                  <a:pt x="204" y="1037"/>
                </a:lnTo>
                <a:lnTo>
                  <a:pt x="204" y="1043"/>
                </a:lnTo>
                <a:lnTo>
                  <a:pt x="204" y="1049"/>
                </a:lnTo>
                <a:lnTo>
                  <a:pt x="198" y="1054"/>
                </a:lnTo>
                <a:lnTo>
                  <a:pt x="198" y="1066"/>
                </a:lnTo>
                <a:lnTo>
                  <a:pt x="198" y="1071"/>
                </a:lnTo>
                <a:lnTo>
                  <a:pt x="193" y="1083"/>
                </a:lnTo>
                <a:lnTo>
                  <a:pt x="193" y="1088"/>
                </a:lnTo>
                <a:lnTo>
                  <a:pt x="187" y="1088"/>
                </a:lnTo>
                <a:lnTo>
                  <a:pt x="187" y="1083"/>
                </a:lnTo>
                <a:lnTo>
                  <a:pt x="187" y="1088"/>
                </a:lnTo>
                <a:lnTo>
                  <a:pt x="181" y="108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91" name="Freeform 28"/>
          <p:cNvSpPr>
            <a:spLocks/>
          </p:cNvSpPr>
          <p:nvPr/>
        </p:nvSpPr>
        <p:spPr bwMode="gray">
          <a:xfrm>
            <a:off x="843937" y="5053604"/>
            <a:ext cx="958946" cy="200848"/>
          </a:xfrm>
          <a:custGeom>
            <a:avLst/>
            <a:gdLst>
              <a:gd name="T0" fmla="*/ 2147483647 w 567"/>
              <a:gd name="T1" fmla="*/ 2147483647 h 119"/>
              <a:gd name="T2" fmla="*/ 2147483647 w 567"/>
              <a:gd name="T3" fmla="*/ 2147483647 h 119"/>
              <a:gd name="T4" fmla="*/ 2147483647 w 567"/>
              <a:gd name="T5" fmla="*/ 2147483647 h 119"/>
              <a:gd name="T6" fmla="*/ 2147483647 w 567"/>
              <a:gd name="T7" fmla="*/ 2147483647 h 119"/>
              <a:gd name="T8" fmla="*/ 2147483647 w 567"/>
              <a:gd name="T9" fmla="*/ 2147483647 h 119"/>
              <a:gd name="T10" fmla="*/ 2147483647 w 567"/>
              <a:gd name="T11" fmla="*/ 2147483647 h 119"/>
              <a:gd name="T12" fmla="*/ 2147483647 w 567"/>
              <a:gd name="T13" fmla="*/ 2147483647 h 119"/>
              <a:gd name="T14" fmla="*/ 2147483647 w 567"/>
              <a:gd name="T15" fmla="*/ 2147483647 h 119"/>
              <a:gd name="T16" fmla="*/ 2147483647 w 567"/>
              <a:gd name="T17" fmla="*/ 2147483647 h 119"/>
              <a:gd name="T18" fmla="*/ 2147483647 w 567"/>
              <a:gd name="T19" fmla="*/ 2147483647 h 119"/>
              <a:gd name="T20" fmla="*/ 2147483647 w 567"/>
              <a:gd name="T21" fmla="*/ 2147483647 h 119"/>
              <a:gd name="T22" fmla="*/ 2147483647 w 567"/>
              <a:gd name="T23" fmla="*/ 2147483647 h 119"/>
              <a:gd name="T24" fmla="*/ 2147483647 w 567"/>
              <a:gd name="T25" fmla="*/ 2147483647 h 119"/>
              <a:gd name="T26" fmla="*/ 2147483647 w 567"/>
              <a:gd name="T27" fmla="*/ 2147483647 h 119"/>
              <a:gd name="T28" fmla="*/ 2147483647 w 567"/>
              <a:gd name="T29" fmla="*/ 2147483647 h 119"/>
              <a:gd name="T30" fmla="*/ 2147483647 w 567"/>
              <a:gd name="T31" fmla="*/ 2147483647 h 119"/>
              <a:gd name="T32" fmla="*/ 0 w 567"/>
              <a:gd name="T33" fmla="*/ 2147483647 h 119"/>
              <a:gd name="T34" fmla="*/ 2147483647 w 567"/>
              <a:gd name="T35" fmla="*/ 2147483647 h 119"/>
              <a:gd name="T36" fmla="*/ 2147483647 w 567"/>
              <a:gd name="T37" fmla="*/ 2147483647 h 119"/>
              <a:gd name="T38" fmla="*/ 2147483647 w 567"/>
              <a:gd name="T39" fmla="*/ 2147483647 h 119"/>
              <a:gd name="T40" fmla="*/ 2147483647 w 567"/>
              <a:gd name="T41" fmla="*/ 2147483647 h 119"/>
              <a:gd name="T42" fmla="*/ 2147483647 w 567"/>
              <a:gd name="T43" fmla="*/ 2147483647 h 119"/>
              <a:gd name="T44" fmla="*/ 2147483647 w 567"/>
              <a:gd name="T45" fmla="*/ 2147483647 h 119"/>
              <a:gd name="T46" fmla="*/ 2147483647 w 567"/>
              <a:gd name="T47" fmla="*/ 2147483647 h 119"/>
              <a:gd name="T48" fmla="*/ 2147483647 w 567"/>
              <a:gd name="T49" fmla="*/ 2147483647 h 119"/>
              <a:gd name="T50" fmla="*/ 2147483647 w 567"/>
              <a:gd name="T51" fmla="*/ 2147483647 h 119"/>
              <a:gd name="T52" fmla="*/ 2147483647 w 567"/>
              <a:gd name="T53" fmla="*/ 2147483647 h 119"/>
              <a:gd name="T54" fmla="*/ 2147483647 w 567"/>
              <a:gd name="T55" fmla="*/ 2147483647 h 119"/>
              <a:gd name="T56" fmla="*/ 2147483647 w 567"/>
              <a:gd name="T57" fmla="*/ 2147483647 h 119"/>
              <a:gd name="T58" fmla="*/ 2147483647 w 567"/>
              <a:gd name="T59" fmla="*/ 2147483647 h 119"/>
              <a:gd name="T60" fmla="*/ 2147483647 w 567"/>
              <a:gd name="T61" fmla="*/ 2147483647 h 119"/>
              <a:gd name="T62" fmla="*/ 2147483647 w 567"/>
              <a:gd name="T63" fmla="*/ 0 h 119"/>
              <a:gd name="T64" fmla="*/ 2147483647 w 567"/>
              <a:gd name="T65" fmla="*/ 2147483647 h 119"/>
              <a:gd name="T66" fmla="*/ 2147483647 w 567"/>
              <a:gd name="T67" fmla="*/ 2147483647 h 119"/>
              <a:gd name="T68" fmla="*/ 2147483647 w 567"/>
              <a:gd name="T69" fmla="*/ 2147483647 h 119"/>
              <a:gd name="T70" fmla="*/ 2147483647 w 567"/>
              <a:gd name="T71" fmla="*/ 2147483647 h 119"/>
              <a:gd name="T72" fmla="*/ 2147483647 w 567"/>
              <a:gd name="T73" fmla="*/ 2147483647 h 119"/>
              <a:gd name="T74" fmla="*/ 2147483647 w 567"/>
              <a:gd name="T75" fmla="*/ 2147483647 h 119"/>
              <a:gd name="T76" fmla="*/ 2147483647 w 567"/>
              <a:gd name="T77" fmla="*/ 2147483647 h 119"/>
              <a:gd name="T78" fmla="*/ 2147483647 w 567"/>
              <a:gd name="T79" fmla="*/ 2147483647 h 119"/>
              <a:gd name="T80" fmla="*/ 2147483647 w 567"/>
              <a:gd name="T81" fmla="*/ 2147483647 h 119"/>
              <a:gd name="T82" fmla="*/ 2147483647 w 567"/>
              <a:gd name="T83" fmla="*/ 2147483647 h 119"/>
              <a:gd name="T84" fmla="*/ 2147483647 w 567"/>
              <a:gd name="T85" fmla="*/ 2147483647 h 119"/>
              <a:gd name="T86" fmla="*/ 2147483647 w 567"/>
              <a:gd name="T87" fmla="*/ 2147483647 h 119"/>
              <a:gd name="T88" fmla="*/ 2147483647 w 567"/>
              <a:gd name="T89" fmla="*/ 2147483647 h 119"/>
              <a:gd name="T90" fmla="*/ 2147483647 w 567"/>
              <a:gd name="T91" fmla="*/ 2147483647 h 119"/>
              <a:gd name="T92" fmla="*/ 2147483647 w 567"/>
              <a:gd name="T93" fmla="*/ 2147483647 h 119"/>
              <a:gd name="T94" fmla="*/ 2147483647 w 567"/>
              <a:gd name="T95" fmla="*/ 2147483647 h 119"/>
              <a:gd name="T96" fmla="*/ 2147483647 w 567"/>
              <a:gd name="T97" fmla="*/ 2147483647 h 119"/>
              <a:gd name="T98" fmla="*/ 2147483647 w 567"/>
              <a:gd name="T99" fmla="*/ 2147483647 h 119"/>
              <a:gd name="T100" fmla="*/ 2147483647 w 567"/>
              <a:gd name="T101" fmla="*/ 2147483647 h 11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67"/>
              <a:gd name="T154" fmla="*/ 0 h 119"/>
              <a:gd name="T155" fmla="*/ 567 w 567"/>
              <a:gd name="T156" fmla="*/ 119 h 11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67" h="119">
                <a:moveTo>
                  <a:pt x="567" y="119"/>
                </a:moveTo>
                <a:lnTo>
                  <a:pt x="561" y="119"/>
                </a:lnTo>
                <a:lnTo>
                  <a:pt x="550" y="119"/>
                </a:lnTo>
                <a:lnTo>
                  <a:pt x="544" y="119"/>
                </a:lnTo>
                <a:lnTo>
                  <a:pt x="539" y="113"/>
                </a:lnTo>
                <a:lnTo>
                  <a:pt x="533" y="113"/>
                </a:lnTo>
                <a:lnTo>
                  <a:pt x="516" y="113"/>
                </a:lnTo>
                <a:lnTo>
                  <a:pt x="505" y="107"/>
                </a:lnTo>
                <a:lnTo>
                  <a:pt x="488" y="107"/>
                </a:lnTo>
                <a:lnTo>
                  <a:pt x="476" y="102"/>
                </a:lnTo>
                <a:lnTo>
                  <a:pt x="471" y="102"/>
                </a:lnTo>
                <a:lnTo>
                  <a:pt x="459" y="102"/>
                </a:lnTo>
                <a:lnTo>
                  <a:pt x="437" y="102"/>
                </a:lnTo>
                <a:lnTo>
                  <a:pt x="431" y="102"/>
                </a:lnTo>
                <a:lnTo>
                  <a:pt x="408" y="102"/>
                </a:lnTo>
                <a:lnTo>
                  <a:pt x="397" y="96"/>
                </a:lnTo>
                <a:lnTo>
                  <a:pt x="391" y="96"/>
                </a:lnTo>
                <a:lnTo>
                  <a:pt x="386" y="96"/>
                </a:lnTo>
                <a:lnTo>
                  <a:pt x="380" y="96"/>
                </a:lnTo>
                <a:lnTo>
                  <a:pt x="369" y="102"/>
                </a:lnTo>
                <a:lnTo>
                  <a:pt x="340" y="102"/>
                </a:lnTo>
                <a:lnTo>
                  <a:pt x="335" y="102"/>
                </a:lnTo>
                <a:lnTo>
                  <a:pt x="318" y="102"/>
                </a:lnTo>
                <a:lnTo>
                  <a:pt x="295" y="102"/>
                </a:lnTo>
                <a:lnTo>
                  <a:pt x="289" y="107"/>
                </a:lnTo>
                <a:lnTo>
                  <a:pt x="272" y="107"/>
                </a:lnTo>
                <a:lnTo>
                  <a:pt x="267" y="107"/>
                </a:lnTo>
                <a:lnTo>
                  <a:pt x="261" y="107"/>
                </a:lnTo>
                <a:lnTo>
                  <a:pt x="250" y="107"/>
                </a:lnTo>
                <a:lnTo>
                  <a:pt x="244" y="107"/>
                </a:lnTo>
                <a:lnTo>
                  <a:pt x="244" y="113"/>
                </a:lnTo>
                <a:lnTo>
                  <a:pt x="238" y="113"/>
                </a:lnTo>
                <a:lnTo>
                  <a:pt x="233" y="113"/>
                </a:lnTo>
                <a:lnTo>
                  <a:pt x="210" y="113"/>
                </a:lnTo>
                <a:lnTo>
                  <a:pt x="187" y="113"/>
                </a:lnTo>
                <a:lnTo>
                  <a:pt x="176" y="113"/>
                </a:lnTo>
                <a:lnTo>
                  <a:pt x="165" y="113"/>
                </a:lnTo>
                <a:lnTo>
                  <a:pt x="153" y="113"/>
                </a:lnTo>
                <a:lnTo>
                  <a:pt x="148" y="113"/>
                </a:lnTo>
                <a:lnTo>
                  <a:pt x="142" y="113"/>
                </a:lnTo>
                <a:lnTo>
                  <a:pt x="125" y="113"/>
                </a:lnTo>
                <a:lnTo>
                  <a:pt x="114" y="113"/>
                </a:lnTo>
                <a:lnTo>
                  <a:pt x="102" y="113"/>
                </a:lnTo>
                <a:lnTo>
                  <a:pt x="97" y="113"/>
                </a:lnTo>
                <a:lnTo>
                  <a:pt x="68" y="113"/>
                </a:lnTo>
                <a:lnTo>
                  <a:pt x="57" y="113"/>
                </a:lnTo>
                <a:lnTo>
                  <a:pt x="51" y="113"/>
                </a:lnTo>
                <a:lnTo>
                  <a:pt x="29" y="119"/>
                </a:lnTo>
                <a:lnTo>
                  <a:pt x="6" y="119"/>
                </a:lnTo>
                <a:lnTo>
                  <a:pt x="0" y="119"/>
                </a:lnTo>
                <a:lnTo>
                  <a:pt x="0" y="107"/>
                </a:lnTo>
                <a:lnTo>
                  <a:pt x="0" y="102"/>
                </a:lnTo>
                <a:lnTo>
                  <a:pt x="0" y="90"/>
                </a:lnTo>
                <a:lnTo>
                  <a:pt x="6" y="85"/>
                </a:lnTo>
                <a:lnTo>
                  <a:pt x="6" y="79"/>
                </a:lnTo>
                <a:lnTo>
                  <a:pt x="6" y="73"/>
                </a:lnTo>
                <a:lnTo>
                  <a:pt x="17" y="73"/>
                </a:lnTo>
                <a:lnTo>
                  <a:pt x="23" y="73"/>
                </a:lnTo>
                <a:lnTo>
                  <a:pt x="29" y="79"/>
                </a:lnTo>
                <a:lnTo>
                  <a:pt x="34" y="73"/>
                </a:lnTo>
                <a:lnTo>
                  <a:pt x="40" y="73"/>
                </a:lnTo>
                <a:lnTo>
                  <a:pt x="46" y="73"/>
                </a:lnTo>
                <a:lnTo>
                  <a:pt x="46" y="68"/>
                </a:lnTo>
                <a:lnTo>
                  <a:pt x="51" y="62"/>
                </a:lnTo>
                <a:lnTo>
                  <a:pt x="57" y="56"/>
                </a:lnTo>
                <a:lnTo>
                  <a:pt x="63" y="56"/>
                </a:lnTo>
                <a:lnTo>
                  <a:pt x="68" y="56"/>
                </a:lnTo>
                <a:lnTo>
                  <a:pt x="74" y="62"/>
                </a:lnTo>
                <a:lnTo>
                  <a:pt x="80" y="62"/>
                </a:lnTo>
                <a:lnTo>
                  <a:pt x="85" y="62"/>
                </a:lnTo>
                <a:lnTo>
                  <a:pt x="91" y="62"/>
                </a:lnTo>
                <a:lnTo>
                  <a:pt x="97" y="62"/>
                </a:lnTo>
                <a:lnTo>
                  <a:pt x="102" y="62"/>
                </a:lnTo>
                <a:lnTo>
                  <a:pt x="108" y="62"/>
                </a:lnTo>
                <a:lnTo>
                  <a:pt x="114" y="62"/>
                </a:lnTo>
                <a:lnTo>
                  <a:pt x="119" y="62"/>
                </a:lnTo>
                <a:lnTo>
                  <a:pt x="125" y="62"/>
                </a:lnTo>
                <a:lnTo>
                  <a:pt x="131" y="62"/>
                </a:lnTo>
                <a:lnTo>
                  <a:pt x="136" y="62"/>
                </a:lnTo>
                <a:lnTo>
                  <a:pt x="142" y="62"/>
                </a:lnTo>
                <a:lnTo>
                  <a:pt x="148" y="62"/>
                </a:lnTo>
                <a:lnTo>
                  <a:pt x="153" y="62"/>
                </a:lnTo>
                <a:lnTo>
                  <a:pt x="153" y="56"/>
                </a:lnTo>
                <a:lnTo>
                  <a:pt x="159" y="51"/>
                </a:lnTo>
                <a:lnTo>
                  <a:pt x="165" y="51"/>
                </a:lnTo>
                <a:lnTo>
                  <a:pt x="170" y="39"/>
                </a:lnTo>
                <a:lnTo>
                  <a:pt x="170" y="34"/>
                </a:lnTo>
                <a:lnTo>
                  <a:pt x="170" y="28"/>
                </a:lnTo>
                <a:lnTo>
                  <a:pt x="176" y="28"/>
                </a:lnTo>
                <a:lnTo>
                  <a:pt x="176" y="22"/>
                </a:lnTo>
                <a:lnTo>
                  <a:pt x="182" y="17"/>
                </a:lnTo>
                <a:lnTo>
                  <a:pt x="182" y="11"/>
                </a:lnTo>
                <a:lnTo>
                  <a:pt x="182" y="5"/>
                </a:lnTo>
                <a:lnTo>
                  <a:pt x="187" y="5"/>
                </a:lnTo>
                <a:lnTo>
                  <a:pt x="187" y="0"/>
                </a:lnTo>
                <a:lnTo>
                  <a:pt x="199" y="0"/>
                </a:lnTo>
                <a:lnTo>
                  <a:pt x="210" y="0"/>
                </a:lnTo>
                <a:lnTo>
                  <a:pt x="216" y="0"/>
                </a:lnTo>
                <a:lnTo>
                  <a:pt x="216" y="5"/>
                </a:lnTo>
                <a:lnTo>
                  <a:pt x="221" y="11"/>
                </a:lnTo>
                <a:lnTo>
                  <a:pt x="227" y="17"/>
                </a:lnTo>
                <a:lnTo>
                  <a:pt x="233" y="17"/>
                </a:lnTo>
                <a:lnTo>
                  <a:pt x="238" y="17"/>
                </a:lnTo>
                <a:lnTo>
                  <a:pt x="244" y="17"/>
                </a:lnTo>
                <a:lnTo>
                  <a:pt x="250" y="17"/>
                </a:lnTo>
                <a:lnTo>
                  <a:pt x="250" y="11"/>
                </a:lnTo>
                <a:lnTo>
                  <a:pt x="250" y="5"/>
                </a:lnTo>
                <a:lnTo>
                  <a:pt x="255" y="5"/>
                </a:lnTo>
                <a:lnTo>
                  <a:pt x="352" y="5"/>
                </a:lnTo>
                <a:lnTo>
                  <a:pt x="357" y="5"/>
                </a:lnTo>
                <a:lnTo>
                  <a:pt x="369" y="5"/>
                </a:lnTo>
                <a:lnTo>
                  <a:pt x="437" y="5"/>
                </a:lnTo>
                <a:lnTo>
                  <a:pt x="476" y="5"/>
                </a:lnTo>
                <a:lnTo>
                  <a:pt x="499" y="5"/>
                </a:lnTo>
                <a:lnTo>
                  <a:pt x="505" y="5"/>
                </a:lnTo>
                <a:lnTo>
                  <a:pt x="505" y="11"/>
                </a:lnTo>
                <a:lnTo>
                  <a:pt x="499" y="11"/>
                </a:lnTo>
                <a:lnTo>
                  <a:pt x="499" y="17"/>
                </a:lnTo>
                <a:lnTo>
                  <a:pt x="493" y="17"/>
                </a:lnTo>
                <a:lnTo>
                  <a:pt x="482" y="22"/>
                </a:lnTo>
                <a:lnTo>
                  <a:pt x="482" y="28"/>
                </a:lnTo>
                <a:lnTo>
                  <a:pt x="476" y="28"/>
                </a:lnTo>
                <a:lnTo>
                  <a:pt x="476" y="34"/>
                </a:lnTo>
                <a:lnTo>
                  <a:pt x="482" y="45"/>
                </a:lnTo>
                <a:lnTo>
                  <a:pt x="482" y="51"/>
                </a:lnTo>
                <a:lnTo>
                  <a:pt x="488" y="51"/>
                </a:lnTo>
                <a:lnTo>
                  <a:pt x="493" y="51"/>
                </a:lnTo>
                <a:lnTo>
                  <a:pt x="499" y="45"/>
                </a:lnTo>
                <a:lnTo>
                  <a:pt x="505" y="45"/>
                </a:lnTo>
                <a:lnTo>
                  <a:pt x="510" y="45"/>
                </a:lnTo>
                <a:lnTo>
                  <a:pt x="516" y="45"/>
                </a:lnTo>
                <a:lnTo>
                  <a:pt x="522" y="39"/>
                </a:lnTo>
                <a:lnTo>
                  <a:pt x="527" y="39"/>
                </a:lnTo>
                <a:lnTo>
                  <a:pt x="527" y="45"/>
                </a:lnTo>
                <a:lnTo>
                  <a:pt x="533" y="45"/>
                </a:lnTo>
                <a:lnTo>
                  <a:pt x="533" y="51"/>
                </a:lnTo>
                <a:lnTo>
                  <a:pt x="527" y="56"/>
                </a:lnTo>
                <a:lnTo>
                  <a:pt x="527" y="62"/>
                </a:lnTo>
                <a:lnTo>
                  <a:pt x="522" y="62"/>
                </a:lnTo>
                <a:lnTo>
                  <a:pt x="516" y="62"/>
                </a:lnTo>
                <a:lnTo>
                  <a:pt x="510" y="62"/>
                </a:lnTo>
                <a:lnTo>
                  <a:pt x="505" y="68"/>
                </a:lnTo>
                <a:lnTo>
                  <a:pt x="505" y="73"/>
                </a:lnTo>
                <a:lnTo>
                  <a:pt x="510" y="79"/>
                </a:lnTo>
                <a:lnTo>
                  <a:pt x="522" y="79"/>
                </a:lnTo>
                <a:lnTo>
                  <a:pt x="527" y="85"/>
                </a:lnTo>
                <a:lnTo>
                  <a:pt x="533" y="90"/>
                </a:lnTo>
                <a:lnTo>
                  <a:pt x="539" y="90"/>
                </a:lnTo>
                <a:lnTo>
                  <a:pt x="550" y="90"/>
                </a:lnTo>
                <a:lnTo>
                  <a:pt x="561" y="90"/>
                </a:lnTo>
                <a:lnTo>
                  <a:pt x="567" y="90"/>
                </a:lnTo>
                <a:lnTo>
                  <a:pt x="567" y="102"/>
                </a:lnTo>
                <a:lnTo>
                  <a:pt x="567" y="11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92" name="Freeform 29"/>
          <p:cNvSpPr>
            <a:spLocks/>
          </p:cNvSpPr>
          <p:nvPr/>
        </p:nvSpPr>
        <p:spPr bwMode="gray">
          <a:xfrm>
            <a:off x="3523154" y="5330581"/>
            <a:ext cx="528068" cy="845507"/>
          </a:xfrm>
          <a:custGeom>
            <a:avLst/>
            <a:gdLst>
              <a:gd name="T0" fmla="*/ 2147483647 w 312"/>
              <a:gd name="T1" fmla="*/ 2147483647 h 499"/>
              <a:gd name="T2" fmla="*/ 2147483647 w 312"/>
              <a:gd name="T3" fmla="*/ 2147483647 h 499"/>
              <a:gd name="T4" fmla="*/ 2147483647 w 312"/>
              <a:gd name="T5" fmla="*/ 2147483647 h 499"/>
              <a:gd name="T6" fmla="*/ 2147483647 w 312"/>
              <a:gd name="T7" fmla="*/ 2147483647 h 499"/>
              <a:gd name="T8" fmla="*/ 2147483647 w 312"/>
              <a:gd name="T9" fmla="*/ 2147483647 h 499"/>
              <a:gd name="T10" fmla="*/ 2147483647 w 312"/>
              <a:gd name="T11" fmla="*/ 2147483647 h 499"/>
              <a:gd name="T12" fmla="*/ 2147483647 w 312"/>
              <a:gd name="T13" fmla="*/ 2147483647 h 499"/>
              <a:gd name="T14" fmla="*/ 2147483647 w 312"/>
              <a:gd name="T15" fmla="*/ 2147483647 h 499"/>
              <a:gd name="T16" fmla="*/ 2147483647 w 312"/>
              <a:gd name="T17" fmla="*/ 2147483647 h 499"/>
              <a:gd name="T18" fmla="*/ 2147483647 w 312"/>
              <a:gd name="T19" fmla="*/ 2147483647 h 499"/>
              <a:gd name="T20" fmla="*/ 2147483647 w 312"/>
              <a:gd name="T21" fmla="*/ 2147483647 h 499"/>
              <a:gd name="T22" fmla="*/ 2147483647 w 312"/>
              <a:gd name="T23" fmla="*/ 2147483647 h 499"/>
              <a:gd name="T24" fmla="*/ 2147483647 w 312"/>
              <a:gd name="T25" fmla="*/ 2147483647 h 499"/>
              <a:gd name="T26" fmla="*/ 2147483647 w 312"/>
              <a:gd name="T27" fmla="*/ 2147483647 h 499"/>
              <a:gd name="T28" fmla="*/ 2147483647 w 312"/>
              <a:gd name="T29" fmla="*/ 2147483647 h 499"/>
              <a:gd name="T30" fmla="*/ 2147483647 w 312"/>
              <a:gd name="T31" fmla="*/ 2147483647 h 499"/>
              <a:gd name="T32" fmla="*/ 2147483647 w 312"/>
              <a:gd name="T33" fmla="*/ 2147483647 h 499"/>
              <a:gd name="T34" fmla="*/ 2147483647 w 312"/>
              <a:gd name="T35" fmla="*/ 2147483647 h 499"/>
              <a:gd name="T36" fmla="*/ 2147483647 w 312"/>
              <a:gd name="T37" fmla="*/ 2147483647 h 499"/>
              <a:gd name="T38" fmla="*/ 2147483647 w 312"/>
              <a:gd name="T39" fmla="*/ 2147483647 h 499"/>
              <a:gd name="T40" fmla="*/ 2147483647 w 312"/>
              <a:gd name="T41" fmla="*/ 2147483647 h 499"/>
              <a:gd name="T42" fmla="*/ 2147483647 w 312"/>
              <a:gd name="T43" fmla="*/ 2147483647 h 499"/>
              <a:gd name="T44" fmla="*/ 2147483647 w 312"/>
              <a:gd name="T45" fmla="*/ 2147483647 h 499"/>
              <a:gd name="T46" fmla="*/ 2147483647 w 312"/>
              <a:gd name="T47" fmla="*/ 2147483647 h 499"/>
              <a:gd name="T48" fmla="*/ 2147483647 w 312"/>
              <a:gd name="T49" fmla="*/ 2147483647 h 499"/>
              <a:gd name="T50" fmla="*/ 2147483647 w 312"/>
              <a:gd name="T51" fmla="*/ 2147483647 h 499"/>
              <a:gd name="T52" fmla="*/ 2147483647 w 312"/>
              <a:gd name="T53" fmla="*/ 2147483647 h 499"/>
              <a:gd name="T54" fmla="*/ 2147483647 w 312"/>
              <a:gd name="T55" fmla="*/ 2147483647 h 499"/>
              <a:gd name="T56" fmla="*/ 2147483647 w 312"/>
              <a:gd name="T57" fmla="*/ 0 h 499"/>
              <a:gd name="T58" fmla="*/ 2147483647 w 312"/>
              <a:gd name="T59" fmla="*/ 2147483647 h 499"/>
              <a:gd name="T60" fmla="*/ 2147483647 w 312"/>
              <a:gd name="T61" fmla="*/ 2147483647 h 499"/>
              <a:gd name="T62" fmla="*/ 2147483647 w 312"/>
              <a:gd name="T63" fmla="*/ 2147483647 h 499"/>
              <a:gd name="T64" fmla="*/ 2147483647 w 312"/>
              <a:gd name="T65" fmla="*/ 2147483647 h 499"/>
              <a:gd name="T66" fmla="*/ 2147483647 w 312"/>
              <a:gd name="T67" fmla="*/ 2147483647 h 499"/>
              <a:gd name="T68" fmla="*/ 2147483647 w 312"/>
              <a:gd name="T69" fmla="*/ 2147483647 h 499"/>
              <a:gd name="T70" fmla="*/ 2147483647 w 312"/>
              <a:gd name="T71" fmla="*/ 2147483647 h 499"/>
              <a:gd name="T72" fmla="*/ 2147483647 w 312"/>
              <a:gd name="T73" fmla="*/ 2147483647 h 499"/>
              <a:gd name="T74" fmla="*/ 2147483647 w 312"/>
              <a:gd name="T75" fmla="*/ 2147483647 h 499"/>
              <a:gd name="T76" fmla="*/ 2147483647 w 312"/>
              <a:gd name="T77" fmla="*/ 2147483647 h 499"/>
              <a:gd name="T78" fmla="*/ 2147483647 w 312"/>
              <a:gd name="T79" fmla="*/ 2147483647 h 499"/>
              <a:gd name="T80" fmla="*/ 2147483647 w 312"/>
              <a:gd name="T81" fmla="*/ 2147483647 h 499"/>
              <a:gd name="T82" fmla="*/ 2147483647 w 312"/>
              <a:gd name="T83" fmla="*/ 2147483647 h 499"/>
              <a:gd name="T84" fmla="*/ 2147483647 w 312"/>
              <a:gd name="T85" fmla="*/ 2147483647 h 499"/>
              <a:gd name="T86" fmla="*/ 2147483647 w 312"/>
              <a:gd name="T87" fmla="*/ 2147483647 h 499"/>
              <a:gd name="T88" fmla="*/ 2147483647 w 312"/>
              <a:gd name="T89" fmla="*/ 2147483647 h 499"/>
              <a:gd name="T90" fmla="*/ 2147483647 w 312"/>
              <a:gd name="T91" fmla="*/ 2147483647 h 499"/>
              <a:gd name="T92" fmla="*/ 2147483647 w 312"/>
              <a:gd name="T93" fmla="*/ 2147483647 h 499"/>
              <a:gd name="T94" fmla="*/ 2147483647 w 312"/>
              <a:gd name="T95" fmla="*/ 2147483647 h 499"/>
              <a:gd name="T96" fmla="*/ 2147483647 w 312"/>
              <a:gd name="T97" fmla="*/ 2147483647 h 499"/>
              <a:gd name="T98" fmla="*/ 2147483647 w 312"/>
              <a:gd name="T99" fmla="*/ 2147483647 h 499"/>
              <a:gd name="T100" fmla="*/ 2147483647 w 312"/>
              <a:gd name="T101" fmla="*/ 2147483647 h 499"/>
              <a:gd name="T102" fmla="*/ 2147483647 w 312"/>
              <a:gd name="T103" fmla="*/ 2147483647 h 499"/>
              <a:gd name="T104" fmla="*/ 2147483647 w 312"/>
              <a:gd name="T105" fmla="*/ 2147483647 h 499"/>
              <a:gd name="T106" fmla="*/ 2147483647 w 312"/>
              <a:gd name="T107" fmla="*/ 2147483647 h 49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12"/>
              <a:gd name="T163" fmla="*/ 0 h 499"/>
              <a:gd name="T164" fmla="*/ 312 w 312"/>
              <a:gd name="T165" fmla="*/ 499 h 49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12" h="499">
                <a:moveTo>
                  <a:pt x="108" y="499"/>
                </a:moveTo>
                <a:lnTo>
                  <a:pt x="102" y="499"/>
                </a:lnTo>
                <a:lnTo>
                  <a:pt x="96" y="499"/>
                </a:lnTo>
                <a:lnTo>
                  <a:pt x="91" y="499"/>
                </a:lnTo>
                <a:lnTo>
                  <a:pt x="85" y="499"/>
                </a:lnTo>
                <a:lnTo>
                  <a:pt x="73" y="499"/>
                </a:lnTo>
                <a:lnTo>
                  <a:pt x="62" y="493"/>
                </a:lnTo>
                <a:lnTo>
                  <a:pt x="56" y="499"/>
                </a:lnTo>
                <a:lnTo>
                  <a:pt x="51" y="499"/>
                </a:lnTo>
                <a:lnTo>
                  <a:pt x="45" y="499"/>
                </a:lnTo>
                <a:lnTo>
                  <a:pt x="39" y="499"/>
                </a:lnTo>
                <a:lnTo>
                  <a:pt x="34" y="499"/>
                </a:lnTo>
                <a:lnTo>
                  <a:pt x="28" y="499"/>
                </a:lnTo>
                <a:lnTo>
                  <a:pt x="22" y="499"/>
                </a:lnTo>
                <a:lnTo>
                  <a:pt x="17" y="499"/>
                </a:lnTo>
                <a:lnTo>
                  <a:pt x="11" y="493"/>
                </a:lnTo>
                <a:lnTo>
                  <a:pt x="5" y="493"/>
                </a:lnTo>
                <a:lnTo>
                  <a:pt x="5" y="488"/>
                </a:lnTo>
                <a:lnTo>
                  <a:pt x="0" y="482"/>
                </a:lnTo>
                <a:lnTo>
                  <a:pt x="5" y="476"/>
                </a:lnTo>
                <a:lnTo>
                  <a:pt x="5" y="471"/>
                </a:lnTo>
                <a:lnTo>
                  <a:pt x="5" y="465"/>
                </a:lnTo>
                <a:lnTo>
                  <a:pt x="5" y="459"/>
                </a:lnTo>
                <a:lnTo>
                  <a:pt x="11" y="454"/>
                </a:lnTo>
                <a:lnTo>
                  <a:pt x="17" y="454"/>
                </a:lnTo>
                <a:lnTo>
                  <a:pt x="28" y="454"/>
                </a:lnTo>
                <a:lnTo>
                  <a:pt x="28" y="448"/>
                </a:lnTo>
                <a:lnTo>
                  <a:pt x="34" y="448"/>
                </a:lnTo>
                <a:lnTo>
                  <a:pt x="34" y="442"/>
                </a:lnTo>
                <a:lnTo>
                  <a:pt x="34" y="437"/>
                </a:lnTo>
                <a:lnTo>
                  <a:pt x="39" y="437"/>
                </a:lnTo>
                <a:lnTo>
                  <a:pt x="39" y="431"/>
                </a:lnTo>
                <a:lnTo>
                  <a:pt x="39" y="425"/>
                </a:lnTo>
                <a:lnTo>
                  <a:pt x="39" y="420"/>
                </a:lnTo>
                <a:lnTo>
                  <a:pt x="39" y="397"/>
                </a:lnTo>
                <a:lnTo>
                  <a:pt x="39" y="386"/>
                </a:lnTo>
                <a:lnTo>
                  <a:pt x="34" y="380"/>
                </a:lnTo>
                <a:lnTo>
                  <a:pt x="34" y="374"/>
                </a:lnTo>
                <a:lnTo>
                  <a:pt x="34" y="368"/>
                </a:lnTo>
                <a:lnTo>
                  <a:pt x="34" y="357"/>
                </a:lnTo>
                <a:lnTo>
                  <a:pt x="39" y="357"/>
                </a:lnTo>
                <a:lnTo>
                  <a:pt x="39" y="346"/>
                </a:lnTo>
                <a:lnTo>
                  <a:pt x="45" y="340"/>
                </a:lnTo>
                <a:lnTo>
                  <a:pt x="45" y="334"/>
                </a:lnTo>
                <a:lnTo>
                  <a:pt x="51" y="329"/>
                </a:lnTo>
                <a:lnTo>
                  <a:pt x="56" y="323"/>
                </a:lnTo>
                <a:lnTo>
                  <a:pt x="56" y="317"/>
                </a:lnTo>
                <a:lnTo>
                  <a:pt x="56" y="312"/>
                </a:lnTo>
                <a:lnTo>
                  <a:pt x="62" y="306"/>
                </a:lnTo>
                <a:lnTo>
                  <a:pt x="62" y="295"/>
                </a:lnTo>
                <a:lnTo>
                  <a:pt x="68" y="289"/>
                </a:lnTo>
                <a:lnTo>
                  <a:pt x="73" y="289"/>
                </a:lnTo>
                <a:lnTo>
                  <a:pt x="73" y="283"/>
                </a:lnTo>
                <a:lnTo>
                  <a:pt x="79" y="278"/>
                </a:lnTo>
                <a:lnTo>
                  <a:pt x="79" y="272"/>
                </a:lnTo>
                <a:lnTo>
                  <a:pt x="85" y="272"/>
                </a:lnTo>
                <a:lnTo>
                  <a:pt x="85" y="266"/>
                </a:lnTo>
                <a:lnTo>
                  <a:pt x="85" y="261"/>
                </a:lnTo>
                <a:lnTo>
                  <a:pt x="91" y="255"/>
                </a:lnTo>
                <a:lnTo>
                  <a:pt x="91" y="249"/>
                </a:lnTo>
                <a:lnTo>
                  <a:pt x="96" y="244"/>
                </a:lnTo>
                <a:lnTo>
                  <a:pt x="102" y="232"/>
                </a:lnTo>
                <a:lnTo>
                  <a:pt x="102" y="227"/>
                </a:lnTo>
                <a:lnTo>
                  <a:pt x="102" y="221"/>
                </a:lnTo>
                <a:lnTo>
                  <a:pt x="96" y="221"/>
                </a:lnTo>
                <a:lnTo>
                  <a:pt x="96" y="215"/>
                </a:lnTo>
                <a:lnTo>
                  <a:pt x="91" y="210"/>
                </a:lnTo>
                <a:lnTo>
                  <a:pt x="91" y="204"/>
                </a:lnTo>
                <a:lnTo>
                  <a:pt x="85" y="204"/>
                </a:lnTo>
                <a:lnTo>
                  <a:pt x="85" y="198"/>
                </a:lnTo>
                <a:lnTo>
                  <a:pt x="85" y="193"/>
                </a:lnTo>
                <a:lnTo>
                  <a:pt x="91" y="198"/>
                </a:lnTo>
                <a:lnTo>
                  <a:pt x="91" y="193"/>
                </a:lnTo>
                <a:lnTo>
                  <a:pt x="91" y="187"/>
                </a:lnTo>
                <a:lnTo>
                  <a:pt x="91" y="181"/>
                </a:lnTo>
                <a:lnTo>
                  <a:pt x="91" y="176"/>
                </a:lnTo>
                <a:lnTo>
                  <a:pt x="91" y="164"/>
                </a:lnTo>
                <a:lnTo>
                  <a:pt x="91" y="153"/>
                </a:lnTo>
                <a:lnTo>
                  <a:pt x="91" y="147"/>
                </a:lnTo>
                <a:lnTo>
                  <a:pt x="91" y="142"/>
                </a:lnTo>
                <a:lnTo>
                  <a:pt x="91" y="136"/>
                </a:lnTo>
                <a:lnTo>
                  <a:pt x="91" y="130"/>
                </a:lnTo>
                <a:lnTo>
                  <a:pt x="85" y="130"/>
                </a:lnTo>
                <a:lnTo>
                  <a:pt x="85" y="125"/>
                </a:lnTo>
                <a:lnTo>
                  <a:pt x="79" y="125"/>
                </a:lnTo>
                <a:lnTo>
                  <a:pt x="73" y="119"/>
                </a:lnTo>
                <a:lnTo>
                  <a:pt x="62" y="119"/>
                </a:lnTo>
                <a:lnTo>
                  <a:pt x="56" y="119"/>
                </a:lnTo>
                <a:lnTo>
                  <a:pt x="51" y="113"/>
                </a:lnTo>
                <a:lnTo>
                  <a:pt x="45" y="108"/>
                </a:lnTo>
                <a:lnTo>
                  <a:pt x="39" y="108"/>
                </a:lnTo>
                <a:lnTo>
                  <a:pt x="39" y="102"/>
                </a:lnTo>
                <a:lnTo>
                  <a:pt x="45" y="91"/>
                </a:lnTo>
                <a:lnTo>
                  <a:pt x="45" y="85"/>
                </a:lnTo>
                <a:lnTo>
                  <a:pt x="56" y="79"/>
                </a:lnTo>
                <a:lnTo>
                  <a:pt x="62" y="79"/>
                </a:lnTo>
                <a:lnTo>
                  <a:pt x="68" y="79"/>
                </a:lnTo>
                <a:lnTo>
                  <a:pt x="73" y="79"/>
                </a:lnTo>
                <a:lnTo>
                  <a:pt x="73" y="74"/>
                </a:lnTo>
                <a:lnTo>
                  <a:pt x="79" y="74"/>
                </a:lnTo>
                <a:lnTo>
                  <a:pt x="85" y="74"/>
                </a:lnTo>
                <a:lnTo>
                  <a:pt x="85" y="79"/>
                </a:lnTo>
                <a:lnTo>
                  <a:pt x="91" y="85"/>
                </a:lnTo>
                <a:lnTo>
                  <a:pt x="91" y="91"/>
                </a:lnTo>
                <a:lnTo>
                  <a:pt x="96" y="91"/>
                </a:lnTo>
                <a:lnTo>
                  <a:pt x="102" y="85"/>
                </a:lnTo>
                <a:lnTo>
                  <a:pt x="108" y="85"/>
                </a:lnTo>
                <a:lnTo>
                  <a:pt x="113" y="79"/>
                </a:lnTo>
                <a:lnTo>
                  <a:pt x="113" y="85"/>
                </a:lnTo>
                <a:lnTo>
                  <a:pt x="125" y="85"/>
                </a:lnTo>
                <a:lnTo>
                  <a:pt x="130" y="85"/>
                </a:lnTo>
                <a:lnTo>
                  <a:pt x="130" y="91"/>
                </a:lnTo>
                <a:lnTo>
                  <a:pt x="136" y="91"/>
                </a:lnTo>
                <a:lnTo>
                  <a:pt x="142" y="91"/>
                </a:lnTo>
                <a:lnTo>
                  <a:pt x="142" y="96"/>
                </a:lnTo>
                <a:lnTo>
                  <a:pt x="147" y="96"/>
                </a:lnTo>
                <a:lnTo>
                  <a:pt x="153" y="96"/>
                </a:lnTo>
                <a:lnTo>
                  <a:pt x="159" y="96"/>
                </a:lnTo>
                <a:lnTo>
                  <a:pt x="170" y="102"/>
                </a:lnTo>
                <a:lnTo>
                  <a:pt x="181" y="108"/>
                </a:lnTo>
                <a:lnTo>
                  <a:pt x="187" y="113"/>
                </a:lnTo>
                <a:lnTo>
                  <a:pt x="187" y="119"/>
                </a:lnTo>
                <a:lnTo>
                  <a:pt x="193" y="119"/>
                </a:lnTo>
                <a:lnTo>
                  <a:pt x="198" y="119"/>
                </a:lnTo>
                <a:lnTo>
                  <a:pt x="198" y="113"/>
                </a:lnTo>
                <a:lnTo>
                  <a:pt x="198" y="108"/>
                </a:lnTo>
                <a:lnTo>
                  <a:pt x="198" y="102"/>
                </a:lnTo>
                <a:lnTo>
                  <a:pt x="198" y="96"/>
                </a:lnTo>
                <a:lnTo>
                  <a:pt x="198" y="91"/>
                </a:lnTo>
                <a:lnTo>
                  <a:pt x="193" y="91"/>
                </a:lnTo>
                <a:lnTo>
                  <a:pt x="193" y="85"/>
                </a:lnTo>
                <a:lnTo>
                  <a:pt x="193" y="79"/>
                </a:lnTo>
                <a:lnTo>
                  <a:pt x="198" y="79"/>
                </a:lnTo>
                <a:lnTo>
                  <a:pt x="198" y="74"/>
                </a:lnTo>
                <a:lnTo>
                  <a:pt x="210" y="68"/>
                </a:lnTo>
                <a:lnTo>
                  <a:pt x="210" y="62"/>
                </a:lnTo>
                <a:lnTo>
                  <a:pt x="215" y="57"/>
                </a:lnTo>
                <a:lnTo>
                  <a:pt x="215" y="51"/>
                </a:lnTo>
                <a:lnTo>
                  <a:pt x="215" y="40"/>
                </a:lnTo>
                <a:lnTo>
                  <a:pt x="215" y="34"/>
                </a:lnTo>
                <a:lnTo>
                  <a:pt x="210" y="17"/>
                </a:lnTo>
                <a:lnTo>
                  <a:pt x="210" y="11"/>
                </a:lnTo>
                <a:lnTo>
                  <a:pt x="210" y="6"/>
                </a:lnTo>
                <a:lnTo>
                  <a:pt x="215" y="6"/>
                </a:lnTo>
                <a:lnTo>
                  <a:pt x="215" y="0"/>
                </a:lnTo>
                <a:lnTo>
                  <a:pt x="221" y="0"/>
                </a:lnTo>
                <a:lnTo>
                  <a:pt x="227" y="0"/>
                </a:lnTo>
                <a:lnTo>
                  <a:pt x="232" y="6"/>
                </a:lnTo>
                <a:lnTo>
                  <a:pt x="238" y="6"/>
                </a:lnTo>
                <a:lnTo>
                  <a:pt x="244" y="11"/>
                </a:lnTo>
                <a:lnTo>
                  <a:pt x="249" y="11"/>
                </a:lnTo>
                <a:lnTo>
                  <a:pt x="249" y="17"/>
                </a:lnTo>
                <a:lnTo>
                  <a:pt x="255" y="17"/>
                </a:lnTo>
                <a:lnTo>
                  <a:pt x="255" y="23"/>
                </a:lnTo>
                <a:lnTo>
                  <a:pt x="266" y="23"/>
                </a:lnTo>
                <a:lnTo>
                  <a:pt x="272" y="23"/>
                </a:lnTo>
                <a:lnTo>
                  <a:pt x="272" y="28"/>
                </a:lnTo>
                <a:lnTo>
                  <a:pt x="272" y="34"/>
                </a:lnTo>
                <a:lnTo>
                  <a:pt x="272" y="40"/>
                </a:lnTo>
                <a:lnTo>
                  <a:pt x="278" y="40"/>
                </a:lnTo>
                <a:lnTo>
                  <a:pt x="278" y="45"/>
                </a:lnTo>
                <a:lnTo>
                  <a:pt x="278" y="51"/>
                </a:lnTo>
                <a:lnTo>
                  <a:pt x="283" y="51"/>
                </a:lnTo>
                <a:lnTo>
                  <a:pt x="283" y="57"/>
                </a:lnTo>
                <a:lnTo>
                  <a:pt x="289" y="57"/>
                </a:lnTo>
                <a:lnTo>
                  <a:pt x="289" y="62"/>
                </a:lnTo>
                <a:lnTo>
                  <a:pt x="295" y="62"/>
                </a:lnTo>
                <a:lnTo>
                  <a:pt x="295" y="68"/>
                </a:lnTo>
                <a:lnTo>
                  <a:pt x="300" y="68"/>
                </a:lnTo>
                <a:lnTo>
                  <a:pt x="300" y="74"/>
                </a:lnTo>
                <a:lnTo>
                  <a:pt x="306" y="79"/>
                </a:lnTo>
                <a:lnTo>
                  <a:pt x="312" y="79"/>
                </a:lnTo>
                <a:lnTo>
                  <a:pt x="295" y="79"/>
                </a:lnTo>
                <a:lnTo>
                  <a:pt x="283" y="85"/>
                </a:lnTo>
                <a:lnTo>
                  <a:pt x="283" y="91"/>
                </a:lnTo>
                <a:lnTo>
                  <a:pt x="283" y="96"/>
                </a:lnTo>
                <a:lnTo>
                  <a:pt x="289" y="102"/>
                </a:lnTo>
                <a:lnTo>
                  <a:pt x="289" y="108"/>
                </a:lnTo>
                <a:lnTo>
                  <a:pt x="283" y="119"/>
                </a:lnTo>
                <a:lnTo>
                  <a:pt x="283" y="136"/>
                </a:lnTo>
                <a:lnTo>
                  <a:pt x="272" y="142"/>
                </a:lnTo>
                <a:lnTo>
                  <a:pt x="266" y="147"/>
                </a:lnTo>
                <a:lnTo>
                  <a:pt x="272" y="153"/>
                </a:lnTo>
                <a:lnTo>
                  <a:pt x="272" y="164"/>
                </a:lnTo>
                <a:lnTo>
                  <a:pt x="266" y="170"/>
                </a:lnTo>
                <a:lnTo>
                  <a:pt x="266" y="176"/>
                </a:lnTo>
                <a:lnTo>
                  <a:pt x="261" y="176"/>
                </a:lnTo>
                <a:lnTo>
                  <a:pt x="255" y="187"/>
                </a:lnTo>
                <a:lnTo>
                  <a:pt x="249" y="193"/>
                </a:lnTo>
                <a:lnTo>
                  <a:pt x="255" y="198"/>
                </a:lnTo>
                <a:lnTo>
                  <a:pt x="255" y="204"/>
                </a:lnTo>
                <a:lnTo>
                  <a:pt x="255" y="215"/>
                </a:lnTo>
                <a:lnTo>
                  <a:pt x="255" y="227"/>
                </a:lnTo>
                <a:lnTo>
                  <a:pt x="261" y="244"/>
                </a:lnTo>
                <a:lnTo>
                  <a:pt x="261" y="249"/>
                </a:lnTo>
                <a:lnTo>
                  <a:pt x="261" y="255"/>
                </a:lnTo>
                <a:lnTo>
                  <a:pt x="261" y="261"/>
                </a:lnTo>
                <a:lnTo>
                  <a:pt x="266" y="272"/>
                </a:lnTo>
                <a:lnTo>
                  <a:pt x="272" y="283"/>
                </a:lnTo>
                <a:lnTo>
                  <a:pt x="272" y="289"/>
                </a:lnTo>
                <a:lnTo>
                  <a:pt x="272" y="295"/>
                </a:lnTo>
                <a:lnTo>
                  <a:pt x="278" y="300"/>
                </a:lnTo>
                <a:lnTo>
                  <a:pt x="272" y="312"/>
                </a:lnTo>
                <a:lnTo>
                  <a:pt x="266" y="312"/>
                </a:lnTo>
                <a:lnTo>
                  <a:pt x="255" y="306"/>
                </a:lnTo>
                <a:lnTo>
                  <a:pt x="255" y="300"/>
                </a:lnTo>
                <a:lnTo>
                  <a:pt x="249" y="306"/>
                </a:lnTo>
                <a:lnTo>
                  <a:pt x="244" y="312"/>
                </a:lnTo>
                <a:lnTo>
                  <a:pt x="238" y="306"/>
                </a:lnTo>
                <a:lnTo>
                  <a:pt x="232" y="300"/>
                </a:lnTo>
                <a:lnTo>
                  <a:pt x="221" y="289"/>
                </a:lnTo>
                <a:lnTo>
                  <a:pt x="215" y="283"/>
                </a:lnTo>
                <a:lnTo>
                  <a:pt x="215" y="272"/>
                </a:lnTo>
                <a:lnTo>
                  <a:pt x="210" y="261"/>
                </a:lnTo>
                <a:lnTo>
                  <a:pt x="198" y="255"/>
                </a:lnTo>
                <a:lnTo>
                  <a:pt x="193" y="255"/>
                </a:lnTo>
                <a:lnTo>
                  <a:pt x="187" y="261"/>
                </a:lnTo>
                <a:lnTo>
                  <a:pt x="187" y="266"/>
                </a:lnTo>
                <a:lnTo>
                  <a:pt x="187" y="278"/>
                </a:lnTo>
                <a:lnTo>
                  <a:pt x="181" y="283"/>
                </a:lnTo>
                <a:lnTo>
                  <a:pt x="176" y="289"/>
                </a:lnTo>
                <a:lnTo>
                  <a:pt x="170" y="289"/>
                </a:lnTo>
                <a:lnTo>
                  <a:pt x="164" y="289"/>
                </a:lnTo>
                <a:lnTo>
                  <a:pt x="159" y="295"/>
                </a:lnTo>
                <a:lnTo>
                  <a:pt x="153" y="300"/>
                </a:lnTo>
                <a:lnTo>
                  <a:pt x="153" y="312"/>
                </a:lnTo>
                <a:lnTo>
                  <a:pt x="164" y="312"/>
                </a:lnTo>
                <a:lnTo>
                  <a:pt x="170" y="317"/>
                </a:lnTo>
                <a:lnTo>
                  <a:pt x="170" y="323"/>
                </a:lnTo>
                <a:lnTo>
                  <a:pt x="164" y="329"/>
                </a:lnTo>
                <a:lnTo>
                  <a:pt x="153" y="329"/>
                </a:lnTo>
                <a:lnTo>
                  <a:pt x="142" y="329"/>
                </a:lnTo>
                <a:lnTo>
                  <a:pt x="130" y="329"/>
                </a:lnTo>
                <a:lnTo>
                  <a:pt x="130" y="334"/>
                </a:lnTo>
                <a:lnTo>
                  <a:pt x="125" y="334"/>
                </a:lnTo>
                <a:lnTo>
                  <a:pt x="125" y="340"/>
                </a:lnTo>
                <a:lnTo>
                  <a:pt x="130" y="340"/>
                </a:lnTo>
                <a:lnTo>
                  <a:pt x="130" y="346"/>
                </a:lnTo>
                <a:lnTo>
                  <a:pt x="142" y="346"/>
                </a:lnTo>
                <a:lnTo>
                  <a:pt x="136" y="351"/>
                </a:lnTo>
                <a:lnTo>
                  <a:pt x="130" y="351"/>
                </a:lnTo>
                <a:lnTo>
                  <a:pt x="125" y="363"/>
                </a:lnTo>
                <a:lnTo>
                  <a:pt x="125" y="368"/>
                </a:lnTo>
                <a:lnTo>
                  <a:pt x="125" y="374"/>
                </a:lnTo>
                <a:lnTo>
                  <a:pt x="125" y="386"/>
                </a:lnTo>
                <a:lnTo>
                  <a:pt x="125" y="391"/>
                </a:lnTo>
                <a:lnTo>
                  <a:pt x="130" y="397"/>
                </a:lnTo>
                <a:lnTo>
                  <a:pt x="125" y="408"/>
                </a:lnTo>
                <a:lnTo>
                  <a:pt x="125" y="420"/>
                </a:lnTo>
                <a:lnTo>
                  <a:pt x="119" y="425"/>
                </a:lnTo>
                <a:lnTo>
                  <a:pt x="113" y="431"/>
                </a:lnTo>
                <a:lnTo>
                  <a:pt x="113" y="437"/>
                </a:lnTo>
                <a:lnTo>
                  <a:pt x="108" y="437"/>
                </a:lnTo>
                <a:lnTo>
                  <a:pt x="102" y="442"/>
                </a:lnTo>
                <a:lnTo>
                  <a:pt x="102" y="448"/>
                </a:lnTo>
                <a:lnTo>
                  <a:pt x="108" y="448"/>
                </a:lnTo>
                <a:lnTo>
                  <a:pt x="119" y="448"/>
                </a:lnTo>
                <a:lnTo>
                  <a:pt x="125" y="442"/>
                </a:lnTo>
                <a:lnTo>
                  <a:pt x="125" y="448"/>
                </a:lnTo>
                <a:lnTo>
                  <a:pt x="125" y="454"/>
                </a:lnTo>
                <a:lnTo>
                  <a:pt x="119" y="454"/>
                </a:lnTo>
                <a:lnTo>
                  <a:pt x="113" y="465"/>
                </a:lnTo>
                <a:lnTo>
                  <a:pt x="108" y="465"/>
                </a:lnTo>
                <a:lnTo>
                  <a:pt x="108" y="471"/>
                </a:lnTo>
                <a:lnTo>
                  <a:pt x="102" y="471"/>
                </a:lnTo>
                <a:lnTo>
                  <a:pt x="113" y="476"/>
                </a:lnTo>
                <a:lnTo>
                  <a:pt x="113" y="482"/>
                </a:lnTo>
                <a:lnTo>
                  <a:pt x="119" y="482"/>
                </a:lnTo>
                <a:lnTo>
                  <a:pt x="119" y="488"/>
                </a:lnTo>
                <a:lnTo>
                  <a:pt x="113" y="493"/>
                </a:lnTo>
                <a:lnTo>
                  <a:pt x="113" y="499"/>
                </a:lnTo>
                <a:lnTo>
                  <a:pt x="108" y="49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93" name="Freeform 30"/>
          <p:cNvSpPr>
            <a:spLocks noEditPoints="1"/>
          </p:cNvSpPr>
          <p:nvPr/>
        </p:nvSpPr>
        <p:spPr bwMode="gray">
          <a:xfrm>
            <a:off x="3696476" y="5763053"/>
            <a:ext cx="536168" cy="633321"/>
          </a:xfrm>
          <a:custGeom>
            <a:avLst/>
            <a:gdLst>
              <a:gd name="T0" fmla="*/ 2147483647 w 317"/>
              <a:gd name="T1" fmla="*/ 2147483647 h 374"/>
              <a:gd name="T2" fmla="*/ 0 w 317"/>
              <a:gd name="T3" fmla="*/ 2147483647 h 374"/>
              <a:gd name="T4" fmla="*/ 2147483647 w 317"/>
              <a:gd name="T5" fmla="*/ 2147483647 h 374"/>
              <a:gd name="T6" fmla="*/ 2147483647 w 317"/>
              <a:gd name="T7" fmla="*/ 2147483647 h 374"/>
              <a:gd name="T8" fmla="*/ 2147483647 w 317"/>
              <a:gd name="T9" fmla="*/ 2147483647 h 374"/>
              <a:gd name="T10" fmla="*/ 2147483647 w 317"/>
              <a:gd name="T11" fmla="*/ 2147483647 h 374"/>
              <a:gd name="T12" fmla="*/ 2147483647 w 317"/>
              <a:gd name="T13" fmla="*/ 2147483647 h 374"/>
              <a:gd name="T14" fmla="*/ 2147483647 w 317"/>
              <a:gd name="T15" fmla="*/ 2147483647 h 374"/>
              <a:gd name="T16" fmla="*/ 2147483647 w 317"/>
              <a:gd name="T17" fmla="*/ 2147483647 h 374"/>
              <a:gd name="T18" fmla="*/ 2147483647 w 317"/>
              <a:gd name="T19" fmla="*/ 2147483647 h 374"/>
              <a:gd name="T20" fmla="*/ 2147483647 w 317"/>
              <a:gd name="T21" fmla="*/ 2147483647 h 374"/>
              <a:gd name="T22" fmla="*/ 2147483647 w 317"/>
              <a:gd name="T23" fmla="*/ 2147483647 h 374"/>
              <a:gd name="T24" fmla="*/ 2147483647 w 317"/>
              <a:gd name="T25" fmla="*/ 2147483647 h 374"/>
              <a:gd name="T26" fmla="*/ 2147483647 w 317"/>
              <a:gd name="T27" fmla="*/ 2147483647 h 374"/>
              <a:gd name="T28" fmla="*/ 2147483647 w 317"/>
              <a:gd name="T29" fmla="*/ 2147483647 h 374"/>
              <a:gd name="T30" fmla="*/ 2147483647 w 317"/>
              <a:gd name="T31" fmla="*/ 2147483647 h 374"/>
              <a:gd name="T32" fmla="*/ 2147483647 w 317"/>
              <a:gd name="T33" fmla="*/ 2147483647 h 374"/>
              <a:gd name="T34" fmla="*/ 2147483647 w 317"/>
              <a:gd name="T35" fmla="*/ 2147483647 h 374"/>
              <a:gd name="T36" fmla="*/ 2147483647 w 317"/>
              <a:gd name="T37" fmla="*/ 2147483647 h 374"/>
              <a:gd name="T38" fmla="*/ 2147483647 w 317"/>
              <a:gd name="T39" fmla="*/ 2147483647 h 374"/>
              <a:gd name="T40" fmla="*/ 2147483647 w 317"/>
              <a:gd name="T41" fmla="*/ 2147483647 h 374"/>
              <a:gd name="T42" fmla="*/ 2147483647 w 317"/>
              <a:gd name="T43" fmla="*/ 2147483647 h 374"/>
              <a:gd name="T44" fmla="*/ 2147483647 w 317"/>
              <a:gd name="T45" fmla="*/ 2147483647 h 374"/>
              <a:gd name="T46" fmla="*/ 2147483647 w 317"/>
              <a:gd name="T47" fmla="*/ 2147483647 h 374"/>
              <a:gd name="T48" fmla="*/ 2147483647 w 317"/>
              <a:gd name="T49" fmla="*/ 2147483647 h 374"/>
              <a:gd name="T50" fmla="*/ 2147483647 w 317"/>
              <a:gd name="T51" fmla="*/ 2147483647 h 374"/>
              <a:gd name="T52" fmla="*/ 2147483647 w 317"/>
              <a:gd name="T53" fmla="*/ 2147483647 h 374"/>
              <a:gd name="T54" fmla="*/ 2147483647 w 317"/>
              <a:gd name="T55" fmla="*/ 2147483647 h 374"/>
              <a:gd name="T56" fmla="*/ 2147483647 w 317"/>
              <a:gd name="T57" fmla="*/ 2147483647 h 374"/>
              <a:gd name="T58" fmla="*/ 2147483647 w 317"/>
              <a:gd name="T59" fmla="*/ 2147483647 h 374"/>
              <a:gd name="T60" fmla="*/ 2147483647 w 317"/>
              <a:gd name="T61" fmla="*/ 2147483647 h 374"/>
              <a:gd name="T62" fmla="*/ 2147483647 w 317"/>
              <a:gd name="T63" fmla="*/ 2147483647 h 374"/>
              <a:gd name="T64" fmla="*/ 2147483647 w 317"/>
              <a:gd name="T65" fmla="*/ 2147483647 h 374"/>
              <a:gd name="T66" fmla="*/ 2147483647 w 317"/>
              <a:gd name="T67" fmla="*/ 2147483647 h 374"/>
              <a:gd name="T68" fmla="*/ 2147483647 w 317"/>
              <a:gd name="T69" fmla="*/ 2147483647 h 374"/>
              <a:gd name="T70" fmla="*/ 2147483647 w 317"/>
              <a:gd name="T71" fmla="*/ 2147483647 h 374"/>
              <a:gd name="T72" fmla="*/ 2147483647 w 317"/>
              <a:gd name="T73" fmla="*/ 2147483647 h 374"/>
              <a:gd name="T74" fmla="*/ 2147483647 w 317"/>
              <a:gd name="T75" fmla="*/ 2147483647 h 374"/>
              <a:gd name="T76" fmla="*/ 2147483647 w 317"/>
              <a:gd name="T77" fmla="*/ 2147483647 h 374"/>
              <a:gd name="T78" fmla="*/ 2147483647 w 317"/>
              <a:gd name="T79" fmla="*/ 2147483647 h 374"/>
              <a:gd name="T80" fmla="*/ 2147483647 w 317"/>
              <a:gd name="T81" fmla="*/ 2147483647 h 374"/>
              <a:gd name="T82" fmla="*/ 2147483647 w 317"/>
              <a:gd name="T83" fmla="*/ 2147483647 h 374"/>
              <a:gd name="T84" fmla="*/ 2147483647 w 317"/>
              <a:gd name="T85" fmla="*/ 2147483647 h 374"/>
              <a:gd name="T86" fmla="*/ 2147483647 w 317"/>
              <a:gd name="T87" fmla="*/ 2147483647 h 374"/>
              <a:gd name="T88" fmla="*/ 2147483647 w 317"/>
              <a:gd name="T89" fmla="*/ 2147483647 h 374"/>
              <a:gd name="T90" fmla="*/ 2147483647 w 317"/>
              <a:gd name="T91" fmla="*/ 2147483647 h 374"/>
              <a:gd name="T92" fmla="*/ 2147483647 w 317"/>
              <a:gd name="T93" fmla="*/ 2147483647 h 374"/>
              <a:gd name="T94" fmla="*/ 2147483647 w 317"/>
              <a:gd name="T95" fmla="*/ 2147483647 h 374"/>
              <a:gd name="T96" fmla="*/ 2147483647 w 317"/>
              <a:gd name="T97" fmla="*/ 2147483647 h 37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17"/>
              <a:gd name="T148" fmla="*/ 0 h 374"/>
              <a:gd name="T149" fmla="*/ 317 w 317"/>
              <a:gd name="T150" fmla="*/ 374 h 37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17" h="374">
                <a:moveTo>
                  <a:pt x="6" y="244"/>
                </a:moveTo>
                <a:lnTo>
                  <a:pt x="11" y="244"/>
                </a:lnTo>
                <a:lnTo>
                  <a:pt x="11" y="238"/>
                </a:lnTo>
                <a:lnTo>
                  <a:pt x="17" y="233"/>
                </a:lnTo>
                <a:lnTo>
                  <a:pt x="17" y="227"/>
                </a:lnTo>
                <a:lnTo>
                  <a:pt x="11" y="227"/>
                </a:lnTo>
                <a:lnTo>
                  <a:pt x="11" y="221"/>
                </a:lnTo>
                <a:lnTo>
                  <a:pt x="0" y="216"/>
                </a:lnTo>
                <a:lnTo>
                  <a:pt x="6" y="216"/>
                </a:lnTo>
                <a:lnTo>
                  <a:pt x="6" y="210"/>
                </a:lnTo>
                <a:lnTo>
                  <a:pt x="11" y="210"/>
                </a:lnTo>
                <a:lnTo>
                  <a:pt x="17" y="199"/>
                </a:lnTo>
                <a:lnTo>
                  <a:pt x="23" y="199"/>
                </a:lnTo>
                <a:lnTo>
                  <a:pt x="23" y="193"/>
                </a:lnTo>
                <a:lnTo>
                  <a:pt x="23" y="187"/>
                </a:lnTo>
                <a:lnTo>
                  <a:pt x="17" y="193"/>
                </a:lnTo>
                <a:lnTo>
                  <a:pt x="6" y="193"/>
                </a:lnTo>
                <a:lnTo>
                  <a:pt x="0" y="193"/>
                </a:lnTo>
                <a:lnTo>
                  <a:pt x="0" y="187"/>
                </a:lnTo>
                <a:lnTo>
                  <a:pt x="6" y="182"/>
                </a:lnTo>
                <a:lnTo>
                  <a:pt x="11" y="182"/>
                </a:lnTo>
                <a:lnTo>
                  <a:pt x="11" y="176"/>
                </a:lnTo>
                <a:lnTo>
                  <a:pt x="17" y="170"/>
                </a:lnTo>
                <a:lnTo>
                  <a:pt x="23" y="165"/>
                </a:lnTo>
                <a:lnTo>
                  <a:pt x="23" y="153"/>
                </a:lnTo>
                <a:lnTo>
                  <a:pt x="28" y="142"/>
                </a:lnTo>
                <a:lnTo>
                  <a:pt x="23" y="136"/>
                </a:lnTo>
                <a:lnTo>
                  <a:pt x="23" y="131"/>
                </a:lnTo>
                <a:lnTo>
                  <a:pt x="23" y="119"/>
                </a:lnTo>
                <a:lnTo>
                  <a:pt x="23" y="113"/>
                </a:lnTo>
                <a:lnTo>
                  <a:pt x="23" y="108"/>
                </a:lnTo>
                <a:lnTo>
                  <a:pt x="28" y="96"/>
                </a:lnTo>
                <a:lnTo>
                  <a:pt x="34" y="96"/>
                </a:lnTo>
                <a:lnTo>
                  <a:pt x="40" y="91"/>
                </a:lnTo>
                <a:lnTo>
                  <a:pt x="28" y="91"/>
                </a:lnTo>
                <a:lnTo>
                  <a:pt x="28" y="85"/>
                </a:lnTo>
                <a:lnTo>
                  <a:pt x="23" y="85"/>
                </a:lnTo>
                <a:lnTo>
                  <a:pt x="23" y="79"/>
                </a:lnTo>
                <a:lnTo>
                  <a:pt x="28" y="79"/>
                </a:lnTo>
                <a:lnTo>
                  <a:pt x="28" y="74"/>
                </a:lnTo>
                <a:lnTo>
                  <a:pt x="40" y="74"/>
                </a:lnTo>
                <a:lnTo>
                  <a:pt x="51" y="74"/>
                </a:lnTo>
                <a:lnTo>
                  <a:pt x="62" y="74"/>
                </a:lnTo>
                <a:lnTo>
                  <a:pt x="68" y="68"/>
                </a:lnTo>
                <a:lnTo>
                  <a:pt x="68" y="62"/>
                </a:lnTo>
                <a:lnTo>
                  <a:pt x="62" y="57"/>
                </a:lnTo>
                <a:lnTo>
                  <a:pt x="51" y="57"/>
                </a:lnTo>
                <a:lnTo>
                  <a:pt x="51" y="45"/>
                </a:lnTo>
                <a:lnTo>
                  <a:pt x="57" y="40"/>
                </a:lnTo>
                <a:lnTo>
                  <a:pt x="62" y="34"/>
                </a:lnTo>
                <a:lnTo>
                  <a:pt x="68" y="34"/>
                </a:lnTo>
                <a:lnTo>
                  <a:pt x="74" y="34"/>
                </a:lnTo>
                <a:lnTo>
                  <a:pt x="79" y="28"/>
                </a:lnTo>
                <a:lnTo>
                  <a:pt x="85" y="23"/>
                </a:lnTo>
                <a:lnTo>
                  <a:pt x="85" y="11"/>
                </a:lnTo>
                <a:lnTo>
                  <a:pt x="85" y="6"/>
                </a:lnTo>
                <a:lnTo>
                  <a:pt x="91" y="0"/>
                </a:lnTo>
                <a:lnTo>
                  <a:pt x="96" y="0"/>
                </a:lnTo>
                <a:lnTo>
                  <a:pt x="108" y="6"/>
                </a:lnTo>
                <a:lnTo>
                  <a:pt x="113" y="17"/>
                </a:lnTo>
                <a:lnTo>
                  <a:pt x="113" y="28"/>
                </a:lnTo>
                <a:lnTo>
                  <a:pt x="119" y="34"/>
                </a:lnTo>
                <a:lnTo>
                  <a:pt x="130" y="45"/>
                </a:lnTo>
                <a:lnTo>
                  <a:pt x="136" y="51"/>
                </a:lnTo>
                <a:lnTo>
                  <a:pt x="142" y="57"/>
                </a:lnTo>
                <a:lnTo>
                  <a:pt x="147" y="62"/>
                </a:lnTo>
                <a:lnTo>
                  <a:pt x="147" y="68"/>
                </a:lnTo>
                <a:lnTo>
                  <a:pt x="142" y="68"/>
                </a:lnTo>
                <a:lnTo>
                  <a:pt x="136" y="68"/>
                </a:lnTo>
                <a:lnTo>
                  <a:pt x="136" y="74"/>
                </a:lnTo>
                <a:lnTo>
                  <a:pt x="142" y="74"/>
                </a:lnTo>
                <a:lnTo>
                  <a:pt x="142" y="79"/>
                </a:lnTo>
                <a:lnTo>
                  <a:pt x="153" y="85"/>
                </a:lnTo>
                <a:lnTo>
                  <a:pt x="159" y="85"/>
                </a:lnTo>
                <a:lnTo>
                  <a:pt x="164" y="91"/>
                </a:lnTo>
                <a:lnTo>
                  <a:pt x="170" y="91"/>
                </a:lnTo>
                <a:lnTo>
                  <a:pt x="181" y="96"/>
                </a:lnTo>
                <a:lnTo>
                  <a:pt x="193" y="96"/>
                </a:lnTo>
                <a:lnTo>
                  <a:pt x="198" y="96"/>
                </a:lnTo>
                <a:lnTo>
                  <a:pt x="210" y="96"/>
                </a:lnTo>
                <a:lnTo>
                  <a:pt x="221" y="102"/>
                </a:lnTo>
                <a:lnTo>
                  <a:pt x="227" y="113"/>
                </a:lnTo>
                <a:lnTo>
                  <a:pt x="227" y="119"/>
                </a:lnTo>
                <a:lnTo>
                  <a:pt x="221" y="131"/>
                </a:lnTo>
                <a:lnTo>
                  <a:pt x="221" y="142"/>
                </a:lnTo>
                <a:lnTo>
                  <a:pt x="221" y="148"/>
                </a:lnTo>
                <a:lnTo>
                  <a:pt x="232" y="165"/>
                </a:lnTo>
                <a:lnTo>
                  <a:pt x="238" y="182"/>
                </a:lnTo>
                <a:lnTo>
                  <a:pt x="249" y="193"/>
                </a:lnTo>
                <a:lnTo>
                  <a:pt x="255" y="193"/>
                </a:lnTo>
                <a:lnTo>
                  <a:pt x="266" y="199"/>
                </a:lnTo>
                <a:lnTo>
                  <a:pt x="278" y="204"/>
                </a:lnTo>
                <a:lnTo>
                  <a:pt x="278" y="210"/>
                </a:lnTo>
                <a:lnTo>
                  <a:pt x="295" y="227"/>
                </a:lnTo>
                <a:lnTo>
                  <a:pt x="300" y="244"/>
                </a:lnTo>
                <a:lnTo>
                  <a:pt x="295" y="244"/>
                </a:lnTo>
                <a:lnTo>
                  <a:pt x="289" y="250"/>
                </a:lnTo>
                <a:lnTo>
                  <a:pt x="295" y="250"/>
                </a:lnTo>
                <a:lnTo>
                  <a:pt x="289" y="250"/>
                </a:lnTo>
                <a:lnTo>
                  <a:pt x="289" y="255"/>
                </a:lnTo>
                <a:lnTo>
                  <a:pt x="289" y="261"/>
                </a:lnTo>
                <a:lnTo>
                  <a:pt x="295" y="261"/>
                </a:lnTo>
                <a:lnTo>
                  <a:pt x="295" y="267"/>
                </a:lnTo>
                <a:lnTo>
                  <a:pt x="300" y="267"/>
                </a:lnTo>
                <a:lnTo>
                  <a:pt x="306" y="272"/>
                </a:lnTo>
                <a:lnTo>
                  <a:pt x="312" y="272"/>
                </a:lnTo>
                <a:lnTo>
                  <a:pt x="312" y="278"/>
                </a:lnTo>
                <a:lnTo>
                  <a:pt x="312" y="284"/>
                </a:lnTo>
                <a:lnTo>
                  <a:pt x="312" y="289"/>
                </a:lnTo>
                <a:lnTo>
                  <a:pt x="306" y="289"/>
                </a:lnTo>
                <a:lnTo>
                  <a:pt x="312" y="289"/>
                </a:lnTo>
                <a:lnTo>
                  <a:pt x="306" y="289"/>
                </a:lnTo>
                <a:lnTo>
                  <a:pt x="312" y="289"/>
                </a:lnTo>
                <a:lnTo>
                  <a:pt x="312" y="295"/>
                </a:lnTo>
                <a:lnTo>
                  <a:pt x="312" y="306"/>
                </a:lnTo>
                <a:lnTo>
                  <a:pt x="312" y="312"/>
                </a:lnTo>
                <a:lnTo>
                  <a:pt x="306" y="312"/>
                </a:lnTo>
                <a:lnTo>
                  <a:pt x="312" y="312"/>
                </a:lnTo>
                <a:lnTo>
                  <a:pt x="317" y="318"/>
                </a:lnTo>
                <a:lnTo>
                  <a:pt x="312" y="323"/>
                </a:lnTo>
                <a:lnTo>
                  <a:pt x="312" y="329"/>
                </a:lnTo>
                <a:lnTo>
                  <a:pt x="306" y="329"/>
                </a:lnTo>
                <a:lnTo>
                  <a:pt x="306" y="335"/>
                </a:lnTo>
                <a:lnTo>
                  <a:pt x="300" y="340"/>
                </a:lnTo>
                <a:lnTo>
                  <a:pt x="306" y="340"/>
                </a:lnTo>
                <a:lnTo>
                  <a:pt x="300" y="346"/>
                </a:lnTo>
                <a:lnTo>
                  <a:pt x="295" y="352"/>
                </a:lnTo>
                <a:lnTo>
                  <a:pt x="300" y="352"/>
                </a:lnTo>
                <a:lnTo>
                  <a:pt x="295" y="352"/>
                </a:lnTo>
                <a:lnTo>
                  <a:pt x="283" y="352"/>
                </a:lnTo>
                <a:lnTo>
                  <a:pt x="272" y="352"/>
                </a:lnTo>
                <a:lnTo>
                  <a:pt x="266" y="352"/>
                </a:lnTo>
                <a:lnTo>
                  <a:pt x="249" y="352"/>
                </a:lnTo>
                <a:lnTo>
                  <a:pt x="244" y="352"/>
                </a:lnTo>
                <a:lnTo>
                  <a:pt x="238" y="352"/>
                </a:lnTo>
                <a:lnTo>
                  <a:pt x="210" y="352"/>
                </a:lnTo>
                <a:lnTo>
                  <a:pt x="204" y="352"/>
                </a:lnTo>
                <a:lnTo>
                  <a:pt x="198" y="352"/>
                </a:lnTo>
                <a:lnTo>
                  <a:pt x="193" y="352"/>
                </a:lnTo>
                <a:lnTo>
                  <a:pt x="187" y="352"/>
                </a:lnTo>
                <a:lnTo>
                  <a:pt x="176" y="352"/>
                </a:lnTo>
                <a:lnTo>
                  <a:pt x="170" y="352"/>
                </a:lnTo>
                <a:lnTo>
                  <a:pt x="176" y="357"/>
                </a:lnTo>
                <a:lnTo>
                  <a:pt x="164" y="357"/>
                </a:lnTo>
                <a:lnTo>
                  <a:pt x="159" y="357"/>
                </a:lnTo>
                <a:lnTo>
                  <a:pt x="130" y="363"/>
                </a:lnTo>
                <a:lnTo>
                  <a:pt x="125" y="363"/>
                </a:lnTo>
                <a:lnTo>
                  <a:pt x="119" y="363"/>
                </a:lnTo>
                <a:lnTo>
                  <a:pt x="113" y="363"/>
                </a:lnTo>
                <a:lnTo>
                  <a:pt x="96" y="363"/>
                </a:lnTo>
                <a:lnTo>
                  <a:pt x="91" y="369"/>
                </a:lnTo>
                <a:lnTo>
                  <a:pt x="85" y="369"/>
                </a:lnTo>
                <a:lnTo>
                  <a:pt x="79" y="369"/>
                </a:lnTo>
                <a:lnTo>
                  <a:pt x="74" y="369"/>
                </a:lnTo>
                <a:lnTo>
                  <a:pt x="62" y="374"/>
                </a:lnTo>
                <a:lnTo>
                  <a:pt x="57" y="374"/>
                </a:lnTo>
                <a:lnTo>
                  <a:pt x="57" y="369"/>
                </a:lnTo>
                <a:lnTo>
                  <a:pt x="51" y="369"/>
                </a:lnTo>
                <a:lnTo>
                  <a:pt x="51" y="363"/>
                </a:lnTo>
                <a:lnTo>
                  <a:pt x="45" y="363"/>
                </a:lnTo>
                <a:lnTo>
                  <a:pt x="40" y="357"/>
                </a:lnTo>
                <a:lnTo>
                  <a:pt x="40" y="352"/>
                </a:lnTo>
                <a:lnTo>
                  <a:pt x="40" y="340"/>
                </a:lnTo>
                <a:lnTo>
                  <a:pt x="40" y="335"/>
                </a:lnTo>
                <a:lnTo>
                  <a:pt x="40" y="323"/>
                </a:lnTo>
                <a:lnTo>
                  <a:pt x="40" y="318"/>
                </a:lnTo>
                <a:lnTo>
                  <a:pt x="40" y="312"/>
                </a:lnTo>
                <a:lnTo>
                  <a:pt x="40" y="306"/>
                </a:lnTo>
                <a:lnTo>
                  <a:pt x="40" y="301"/>
                </a:lnTo>
                <a:lnTo>
                  <a:pt x="40" y="295"/>
                </a:lnTo>
                <a:lnTo>
                  <a:pt x="40" y="289"/>
                </a:lnTo>
                <a:lnTo>
                  <a:pt x="40" y="284"/>
                </a:lnTo>
                <a:lnTo>
                  <a:pt x="40" y="272"/>
                </a:lnTo>
                <a:lnTo>
                  <a:pt x="28" y="267"/>
                </a:lnTo>
                <a:lnTo>
                  <a:pt x="28" y="261"/>
                </a:lnTo>
                <a:lnTo>
                  <a:pt x="28" y="255"/>
                </a:lnTo>
                <a:lnTo>
                  <a:pt x="23" y="255"/>
                </a:lnTo>
                <a:lnTo>
                  <a:pt x="23" y="250"/>
                </a:lnTo>
                <a:lnTo>
                  <a:pt x="17" y="250"/>
                </a:lnTo>
                <a:lnTo>
                  <a:pt x="11" y="250"/>
                </a:lnTo>
                <a:lnTo>
                  <a:pt x="6" y="244"/>
                </a:lnTo>
                <a:close/>
                <a:moveTo>
                  <a:pt x="300" y="255"/>
                </a:moveTo>
                <a:lnTo>
                  <a:pt x="295" y="250"/>
                </a:lnTo>
                <a:lnTo>
                  <a:pt x="300" y="250"/>
                </a:lnTo>
                <a:lnTo>
                  <a:pt x="306" y="250"/>
                </a:lnTo>
                <a:lnTo>
                  <a:pt x="306" y="255"/>
                </a:lnTo>
                <a:lnTo>
                  <a:pt x="306" y="261"/>
                </a:lnTo>
                <a:lnTo>
                  <a:pt x="300" y="261"/>
                </a:lnTo>
                <a:lnTo>
                  <a:pt x="300" y="255"/>
                </a:lnTo>
                <a:close/>
                <a:moveTo>
                  <a:pt x="312" y="335"/>
                </a:moveTo>
                <a:lnTo>
                  <a:pt x="306" y="329"/>
                </a:lnTo>
                <a:lnTo>
                  <a:pt x="312" y="329"/>
                </a:lnTo>
                <a:lnTo>
                  <a:pt x="312" y="323"/>
                </a:lnTo>
                <a:lnTo>
                  <a:pt x="312" y="318"/>
                </a:lnTo>
                <a:lnTo>
                  <a:pt x="317" y="318"/>
                </a:lnTo>
                <a:lnTo>
                  <a:pt x="317" y="323"/>
                </a:lnTo>
                <a:lnTo>
                  <a:pt x="317" y="329"/>
                </a:lnTo>
                <a:lnTo>
                  <a:pt x="317" y="335"/>
                </a:lnTo>
                <a:lnTo>
                  <a:pt x="312" y="33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94" name="Freeform 31"/>
          <p:cNvSpPr>
            <a:spLocks/>
          </p:cNvSpPr>
          <p:nvPr/>
        </p:nvSpPr>
        <p:spPr bwMode="gray">
          <a:xfrm>
            <a:off x="3195946" y="5032549"/>
            <a:ext cx="450316" cy="604164"/>
          </a:xfrm>
          <a:custGeom>
            <a:avLst/>
            <a:gdLst>
              <a:gd name="T0" fmla="*/ 2147483647 w 266"/>
              <a:gd name="T1" fmla="*/ 2147483647 h 357"/>
              <a:gd name="T2" fmla="*/ 2147483647 w 266"/>
              <a:gd name="T3" fmla="*/ 2147483647 h 357"/>
              <a:gd name="T4" fmla="*/ 2147483647 w 266"/>
              <a:gd name="T5" fmla="*/ 2147483647 h 357"/>
              <a:gd name="T6" fmla="*/ 2147483647 w 266"/>
              <a:gd name="T7" fmla="*/ 2147483647 h 357"/>
              <a:gd name="T8" fmla="*/ 2147483647 w 266"/>
              <a:gd name="T9" fmla="*/ 2147483647 h 357"/>
              <a:gd name="T10" fmla="*/ 2147483647 w 266"/>
              <a:gd name="T11" fmla="*/ 2147483647 h 357"/>
              <a:gd name="T12" fmla="*/ 2147483647 w 266"/>
              <a:gd name="T13" fmla="*/ 2147483647 h 357"/>
              <a:gd name="T14" fmla="*/ 2147483647 w 266"/>
              <a:gd name="T15" fmla="*/ 2147483647 h 357"/>
              <a:gd name="T16" fmla="*/ 2147483647 w 266"/>
              <a:gd name="T17" fmla="*/ 2147483647 h 357"/>
              <a:gd name="T18" fmla="*/ 2147483647 w 266"/>
              <a:gd name="T19" fmla="*/ 2147483647 h 357"/>
              <a:gd name="T20" fmla="*/ 2147483647 w 266"/>
              <a:gd name="T21" fmla="*/ 2147483647 h 357"/>
              <a:gd name="T22" fmla="*/ 2147483647 w 266"/>
              <a:gd name="T23" fmla="*/ 2147483647 h 357"/>
              <a:gd name="T24" fmla="*/ 2147483647 w 266"/>
              <a:gd name="T25" fmla="*/ 2147483647 h 357"/>
              <a:gd name="T26" fmla="*/ 2147483647 w 266"/>
              <a:gd name="T27" fmla="*/ 2147483647 h 357"/>
              <a:gd name="T28" fmla="*/ 2147483647 w 266"/>
              <a:gd name="T29" fmla="*/ 2147483647 h 357"/>
              <a:gd name="T30" fmla="*/ 2147483647 w 266"/>
              <a:gd name="T31" fmla="*/ 2147483647 h 357"/>
              <a:gd name="T32" fmla="*/ 2147483647 w 266"/>
              <a:gd name="T33" fmla="*/ 0 h 357"/>
              <a:gd name="T34" fmla="*/ 2147483647 w 266"/>
              <a:gd name="T35" fmla="*/ 2147483647 h 357"/>
              <a:gd name="T36" fmla="*/ 2147483647 w 266"/>
              <a:gd name="T37" fmla="*/ 2147483647 h 357"/>
              <a:gd name="T38" fmla="*/ 2147483647 w 266"/>
              <a:gd name="T39" fmla="*/ 2147483647 h 357"/>
              <a:gd name="T40" fmla="*/ 2147483647 w 266"/>
              <a:gd name="T41" fmla="*/ 2147483647 h 357"/>
              <a:gd name="T42" fmla="*/ 2147483647 w 266"/>
              <a:gd name="T43" fmla="*/ 2147483647 h 357"/>
              <a:gd name="T44" fmla="*/ 2147483647 w 266"/>
              <a:gd name="T45" fmla="*/ 2147483647 h 357"/>
              <a:gd name="T46" fmla="*/ 2147483647 w 266"/>
              <a:gd name="T47" fmla="*/ 2147483647 h 357"/>
              <a:gd name="T48" fmla="*/ 2147483647 w 266"/>
              <a:gd name="T49" fmla="*/ 2147483647 h 357"/>
              <a:gd name="T50" fmla="*/ 2147483647 w 266"/>
              <a:gd name="T51" fmla="*/ 2147483647 h 357"/>
              <a:gd name="T52" fmla="*/ 2147483647 w 266"/>
              <a:gd name="T53" fmla="*/ 2147483647 h 357"/>
              <a:gd name="T54" fmla="*/ 2147483647 w 266"/>
              <a:gd name="T55" fmla="*/ 2147483647 h 357"/>
              <a:gd name="T56" fmla="*/ 2147483647 w 266"/>
              <a:gd name="T57" fmla="*/ 2147483647 h 357"/>
              <a:gd name="T58" fmla="*/ 2147483647 w 266"/>
              <a:gd name="T59" fmla="*/ 2147483647 h 357"/>
              <a:gd name="T60" fmla="*/ 2147483647 w 266"/>
              <a:gd name="T61" fmla="*/ 2147483647 h 357"/>
              <a:gd name="T62" fmla="*/ 2147483647 w 266"/>
              <a:gd name="T63" fmla="*/ 2147483647 h 357"/>
              <a:gd name="T64" fmla="*/ 2147483647 w 266"/>
              <a:gd name="T65" fmla="*/ 2147483647 h 357"/>
              <a:gd name="T66" fmla="*/ 2147483647 w 266"/>
              <a:gd name="T67" fmla="*/ 2147483647 h 357"/>
              <a:gd name="T68" fmla="*/ 2147483647 w 266"/>
              <a:gd name="T69" fmla="*/ 2147483647 h 357"/>
              <a:gd name="T70" fmla="*/ 2147483647 w 266"/>
              <a:gd name="T71" fmla="*/ 2147483647 h 357"/>
              <a:gd name="T72" fmla="*/ 2147483647 w 266"/>
              <a:gd name="T73" fmla="*/ 2147483647 h 357"/>
              <a:gd name="T74" fmla="*/ 2147483647 w 266"/>
              <a:gd name="T75" fmla="*/ 2147483647 h 357"/>
              <a:gd name="T76" fmla="*/ 2147483647 w 266"/>
              <a:gd name="T77" fmla="*/ 2147483647 h 357"/>
              <a:gd name="T78" fmla="*/ 2147483647 w 266"/>
              <a:gd name="T79" fmla="*/ 2147483647 h 357"/>
              <a:gd name="T80" fmla="*/ 2147483647 w 266"/>
              <a:gd name="T81" fmla="*/ 2147483647 h 357"/>
              <a:gd name="T82" fmla="*/ 2147483647 w 266"/>
              <a:gd name="T83" fmla="*/ 2147483647 h 357"/>
              <a:gd name="T84" fmla="*/ 2147483647 w 266"/>
              <a:gd name="T85" fmla="*/ 2147483647 h 357"/>
              <a:gd name="T86" fmla="*/ 2147483647 w 266"/>
              <a:gd name="T87" fmla="*/ 2147483647 h 357"/>
              <a:gd name="T88" fmla="*/ 2147483647 w 266"/>
              <a:gd name="T89" fmla="*/ 2147483647 h 357"/>
              <a:gd name="T90" fmla="*/ 2147483647 w 266"/>
              <a:gd name="T91" fmla="*/ 2147483647 h 357"/>
              <a:gd name="T92" fmla="*/ 2147483647 w 266"/>
              <a:gd name="T93" fmla="*/ 2147483647 h 357"/>
              <a:gd name="T94" fmla="*/ 2147483647 w 266"/>
              <a:gd name="T95" fmla="*/ 2147483647 h 357"/>
              <a:gd name="T96" fmla="*/ 2147483647 w 266"/>
              <a:gd name="T97" fmla="*/ 2147483647 h 357"/>
              <a:gd name="T98" fmla="*/ 2147483647 w 266"/>
              <a:gd name="T99" fmla="*/ 2147483647 h 357"/>
              <a:gd name="T100" fmla="*/ 2147483647 w 266"/>
              <a:gd name="T101" fmla="*/ 2147483647 h 357"/>
              <a:gd name="T102" fmla="*/ 2147483647 w 266"/>
              <a:gd name="T103" fmla="*/ 2147483647 h 357"/>
              <a:gd name="T104" fmla="*/ 2147483647 w 266"/>
              <a:gd name="T105" fmla="*/ 2147483647 h 357"/>
              <a:gd name="T106" fmla="*/ 2147483647 w 266"/>
              <a:gd name="T107" fmla="*/ 2147483647 h 35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66"/>
              <a:gd name="T163" fmla="*/ 0 h 357"/>
              <a:gd name="T164" fmla="*/ 266 w 266"/>
              <a:gd name="T165" fmla="*/ 357 h 35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66" h="357">
                <a:moveTo>
                  <a:pt x="6" y="352"/>
                </a:moveTo>
                <a:lnTo>
                  <a:pt x="0" y="352"/>
                </a:lnTo>
                <a:lnTo>
                  <a:pt x="6" y="346"/>
                </a:lnTo>
                <a:lnTo>
                  <a:pt x="6" y="335"/>
                </a:lnTo>
                <a:lnTo>
                  <a:pt x="11" y="323"/>
                </a:lnTo>
                <a:lnTo>
                  <a:pt x="11" y="312"/>
                </a:lnTo>
                <a:lnTo>
                  <a:pt x="11" y="306"/>
                </a:lnTo>
                <a:lnTo>
                  <a:pt x="17" y="301"/>
                </a:lnTo>
                <a:lnTo>
                  <a:pt x="17" y="295"/>
                </a:lnTo>
                <a:lnTo>
                  <a:pt x="23" y="284"/>
                </a:lnTo>
                <a:lnTo>
                  <a:pt x="28" y="278"/>
                </a:lnTo>
                <a:lnTo>
                  <a:pt x="28" y="267"/>
                </a:lnTo>
                <a:lnTo>
                  <a:pt x="28" y="255"/>
                </a:lnTo>
                <a:lnTo>
                  <a:pt x="34" y="250"/>
                </a:lnTo>
                <a:lnTo>
                  <a:pt x="34" y="238"/>
                </a:lnTo>
                <a:lnTo>
                  <a:pt x="40" y="227"/>
                </a:lnTo>
                <a:lnTo>
                  <a:pt x="45" y="216"/>
                </a:lnTo>
                <a:lnTo>
                  <a:pt x="45" y="210"/>
                </a:lnTo>
                <a:lnTo>
                  <a:pt x="40" y="199"/>
                </a:lnTo>
                <a:lnTo>
                  <a:pt x="40" y="182"/>
                </a:lnTo>
                <a:lnTo>
                  <a:pt x="40" y="176"/>
                </a:lnTo>
                <a:lnTo>
                  <a:pt x="40" y="165"/>
                </a:lnTo>
                <a:lnTo>
                  <a:pt x="34" y="153"/>
                </a:lnTo>
                <a:lnTo>
                  <a:pt x="28" y="136"/>
                </a:lnTo>
                <a:lnTo>
                  <a:pt x="28" y="131"/>
                </a:lnTo>
                <a:lnTo>
                  <a:pt x="23" y="114"/>
                </a:lnTo>
                <a:lnTo>
                  <a:pt x="17" y="102"/>
                </a:lnTo>
                <a:lnTo>
                  <a:pt x="17" y="91"/>
                </a:lnTo>
                <a:lnTo>
                  <a:pt x="17" y="85"/>
                </a:lnTo>
                <a:lnTo>
                  <a:pt x="23" y="85"/>
                </a:lnTo>
                <a:lnTo>
                  <a:pt x="28" y="85"/>
                </a:lnTo>
                <a:lnTo>
                  <a:pt x="23" y="74"/>
                </a:lnTo>
                <a:lnTo>
                  <a:pt x="40" y="74"/>
                </a:lnTo>
                <a:lnTo>
                  <a:pt x="45" y="74"/>
                </a:lnTo>
                <a:lnTo>
                  <a:pt x="51" y="74"/>
                </a:lnTo>
                <a:lnTo>
                  <a:pt x="57" y="74"/>
                </a:lnTo>
                <a:lnTo>
                  <a:pt x="62" y="74"/>
                </a:lnTo>
                <a:lnTo>
                  <a:pt x="68" y="68"/>
                </a:lnTo>
                <a:lnTo>
                  <a:pt x="74" y="68"/>
                </a:lnTo>
                <a:lnTo>
                  <a:pt x="79" y="63"/>
                </a:lnTo>
                <a:lnTo>
                  <a:pt x="79" y="57"/>
                </a:lnTo>
                <a:lnTo>
                  <a:pt x="79" y="51"/>
                </a:lnTo>
                <a:lnTo>
                  <a:pt x="85" y="40"/>
                </a:lnTo>
                <a:lnTo>
                  <a:pt x="85" y="29"/>
                </a:lnTo>
                <a:lnTo>
                  <a:pt x="85" y="23"/>
                </a:lnTo>
                <a:lnTo>
                  <a:pt x="91" y="17"/>
                </a:lnTo>
                <a:lnTo>
                  <a:pt x="96" y="17"/>
                </a:lnTo>
                <a:lnTo>
                  <a:pt x="96" y="12"/>
                </a:lnTo>
                <a:lnTo>
                  <a:pt x="102" y="6"/>
                </a:lnTo>
                <a:lnTo>
                  <a:pt x="108" y="0"/>
                </a:lnTo>
                <a:lnTo>
                  <a:pt x="113" y="0"/>
                </a:lnTo>
                <a:lnTo>
                  <a:pt x="113" y="6"/>
                </a:lnTo>
                <a:lnTo>
                  <a:pt x="113" y="12"/>
                </a:lnTo>
                <a:lnTo>
                  <a:pt x="113" y="17"/>
                </a:lnTo>
                <a:lnTo>
                  <a:pt x="119" y="17"/>
                </a:lnTo>
                <a:lnTo>
                  <a:pt x="125" y="17"/>
                </a:lnTo>
                <a:lnTo>
                  <a:pt x="125" y="12"/>
                </a:lnTo>
                <a:lnTo>
                  <a:pt x="130" y="12"/>
                </a:lnTo>
                <a:lnTo>
                  <a:pt x="136" y="12"/>
                </a:lnTo>
                <a:lnTo>
                  <a:pt x="142" y="12"/>
                </a:lnTo>
                <a:lnTo>
                  <a:pt x="147" y="17"/>
                </a:lnTo>
                <a:lnTo>
                  <a:pt x="153" y="17"/>
                </a:lnTo>
                <a:lnTo>
                  <a:pt x="159" y="23"/>
                </a:lnTo>
                <a:lnTo>
                  <a:pt x="164" y="23"/>
                </a:lnTo>
                <a:lnTo>
                  <a:pt x="170" y="23"/>
                </a:lnTo>
                <a:lnTo>
                  <a:pt x="176" y="29"/>
                </a:lnTo>
                <a:lnTo>
                  <a:pt x="181" y="29"/>
                </a:lnTo>
                <a:lnTo>
                  <a:pt x="187" y="34"/>
                </a:lnTo>
                <a:lnTo>
                  <a:pt x="187" y="40"/>
                </a:lnTo>
                <a:lnTo>
                  <a:pt x="181" y="46"/>
                </a:lnTo>
                <a:lnTo>
                  <a:pt x="181" y="51"/>
                </a:lnTo>
                <a:lnTo>
                  <a:pt x="181" y="57"/>
                </a:lnTo>
                <a:lnTo>
                  <a:pt x="176" y="57"/>
                </a:lnTo>
                <a:lnTo>
                  <a:pt x="176" y="63"/>
                </a:lnTo>
                <a:lnTo>
                  <a:pt x="170" y="63"/>
                </a:lnTo>
                <a:lnTo>
                  <a:pt x="164" y="68"/>
                </a:lnTo>
                <a:lnTo>
                  <a:pt x="159" y="74"/>
                </a:lnTo>
                <a:lnTo>
                  <a:pt x="159" y="80"/>
                </a:lnTo>
                <a:lnTo>
                  <a:pt x="153" y="85"/>
                </a:lnTo>
                <a:lnTo>
                  <a:pt x="153" y="91"/>
                </a:lnTo>
                <a:lnTo>
                  <a:pt x="159" y="97"/>
                </a:lnTo>
                <a:lnTo>
                  <a:pt x="153" y="97"/>
                </a:lnTo>
                <a:lnTo>
                  <a:pt x="153" y="102"/>
                </a:lnTo>
                <a:lnTo>
                  <a:pt x="153" y="108"/>
                </a:lnTo>
                <a:lnTo>
                  <a:pt x="153" y="114"/>
                </a:lnTo>
                <a:lnTo>
                  <a:pt x="159" y="114"/>
                </a:lnTo>
                <a:lnTo>
                  <a:pt x="164" y="114"/>
                </a:lnTo>
                <a:lnTo>
                  <a:pt x="170" y="114"/>
                </a:lnTo>
                <a:lnTo>
                  <a:pt x="170" y="119"/>
                </a:lnTo>
                <a:lnTo>
                  <a:pt x="176" y="125"/>
                </a:lnTo>
                <a:lnTo>
                  <a:pt x="181" y="125"/>
                </a:lnTo>
                <a:lnTo>
                  <a:pt x="181" y="131"/>
                </a:lnTo>
                <a:lnTo>
                  <a:pt x="187" y="131"/>
                </a:lnTo>
                <a:lnTo>
                  <a:pt x="193" y="136"/>
                </a:lnTo>
                <a:lnTo>
                  <a:pt x="193" y="142"/>
                </a:lnTo>
                <a:lnTo>
                  <a:pt x="193" y="153"/>
                </a:lnTo>
                <a:lnTo>
                  <a:pt x="198" y="153"/>
                </a:lnTo>
                <a:lnTo>
                  <a:pt x="198" y="159"/>
                </a:lnTo>
                <a:lnTo>
                  <a:pt x="193" y="165"/>
                </a:lnTo>
                <a:lnTo>
                  <a:pt x="193" y="170"/>
                </a:lnTo>
                <a:lnTo>
                  <a:pt x="193" y="176"/>
                </a:lnTo>
                <a:lnTo>
                  <a:pt x="193" y="182"/>
                </a:lnTo>
                <a:lnTo>
                  <a:pt x="198" y="182"/>
                </a:lnTo>
                <a:lnTo>
                  <a:pt x="204" y="182"/>
                </a:lnTo>
                <a:lnTo>
                  <a:pt x="210" y="182"/>
                </a:lnTo>
                <a:lnTo>
                  <a:pt x="210" y="187"/>
                </a:lnTo>
                <a:lnTo>
                  <a:pt x="210" y="193"/>
                </a:lnTo>
                <a:lnTo>
                  <a:pt x="210" y="199"/>
                </a:lnTo>
                <a:lnTo>
                  <a:pt x="215" y="199"/>
                </a:lnTo>
                <a:lnTo>
                  <a:pt x="221" y="199"/>
                </a:lnTo>
                <a:lnTo>
                  <a:pt x="221" y="204"/>
                </a:lnTo>
                <a:lnTo>
                  <a:pt x="221" y="216"/>
                </a:lnTo>
                <a:lnTo>
                  <a:pt x="221" y="221"/>
                </a:lnTo>
                <a:lnTo>
                  <a:pt x="227" y="227"/>
                </a:lnTo>
                <a:lnTo>
                  <a:pt x="227" y="238"/>
                </a:lnTo>
                <a:lnTo>
                  <a:pt x="232" y="244"/>
                </a:lnTo>
                <a:lnTo>
                  <a:pt x="238" y="244"/>
                </a:lnTo>
                <a:lnTo>
                  <a:pt x="238" y="250"/>
                </a:lnTo>
                <a:lnTo>
                  <a:pt x="244" y="250"/>
                </a:lnTo>
                <a:lnTo>
                  <a:pt x="249" y="250"/>
                </a:lnTo>
                <a:lnTo>
                  <a:pt x="255" y="250"/>
                </a:lnTo>
                <a:lnTo>
                  <a:pt x="261" y="250"/>
                </a:lnTo>
                <a:lnTo>
                  <a:pt x="266" y="250"/>
                </a:lnTo>
                <a:lnTo>
                  <a:pt x="266" y="255"/>
                </a:lnTo>
                <a:lnTo>
                  <a:pt x="261" y="255"/>
                </a:lnTo>
                <a:lnTo>
                  <a:pt x="255" y="255"/>
                </a:lnTo>
                <a:lnTo>
                  <a:pt x="249" y="255"/>
                </a:lnTo>
                <a:lnTo>
                  <a:pt x="238" y="261"/>
                </a:lnTo>
                <a:lnTo>
                  <a:pt x="238" y="267"/>
                </a:lnTo>
                <a:lnTo>
                  <a:pt x="232" y="278"/>
                </a:lnTo>
                <a:lnTo>
                  <a:pt x="232" y="284"/>
                </a:lnTo>
                <a:lnTo>
                  <a:pt x="227" y="284"/>
                </a:lnTo>
                <a:lnTo>
                  <a:pt x="221" y="289"/>
                </a:lnTo>
                <a:lnTo>
                  <a:pt x="210" y="295"/>
                </a:lnTo>
                <a:lnTo>
                  <a:pt x="198" y="295"/>
                </a:lnTo>
                <a:lnTo>
                  <a:pt x="187" y="295"/>
                </a:lnTo>
                <a:lnTo>
                  <a:pt x="181" y="295"/>
                </a:lnTo>
                <a:lnTo>
                  <a:pt x="170" y="289"/>
                </a:lnTo>
                <a:lnTo>
                  <a:pt x="164" y="289"/>
                </a:lnTo>
                <a:lnTo>
                  <a:pt x="147" y="295"/>
                </a:lnTo>
                <a:lnTo>
                  <a:pt x="136" y="295"/>
                </a:lnTo>
                <a:lnTo>
                  <a:pt x="130" y="295"/>
                </a:lnTo>
                <a:lnTo>
                  <a:pt x="125" y="295"/>
                </a:lnTo>
                <a:lnTo>
                  <a:pt x="119" y="295"/>
                </a:lnTo>
                <a:lnTo>
                  <a:pt x="113" y="301"/>
                </a:lnTo>
                <a:lnTo>
                  <a:pt x="113" y="306"/>
                </a:lnTo>
                <a:lnTo>
                  <a:pt x="119" y="312"/>
                </a:lnTo>
                <a:lnTo>
                  <a:pt x="119" y="318"/>
                </a:lnTo>
                <a:lnTo>
                  <a:pt x="113" y="329"/>
                </a:lnTo>
                <a:lnTo>
                  <a:pt x="108" y="335"/>
                </a:lnTo>
                <a:lnTo>
                  <a:pt x="96" y="340"/>
                </a:lnTo>
                <a:lnTo>
                  <a:pt x="96" y="352"/>
                </a:lnTo>
                <a:lnTo>
                  <a:pt x="85" y="352"/>
                </a:lnTo>
                <a:lnTo>
                  <a:pt x="74" y="346"/>
                </a:lnTo>
                <a:lnTo>
                  <a:pt x="68" y="340"/>
                </a:lnTo>
                <a:lnTo>
                  <a:pt x="57" y="340"/>
                </a:lnTo>
                <a:lnTo>
                  <a:pt x="45" y="340"/>
                </a:lnTo>
                <a:lnTo>
                  <a:pt x="40" y="340"/>
                </a:lnTo>
                <a:lnTo>
                  <a:pt x="28" y="346"/>
                </a:lnTo>
                <a:lnTo>
                  <a:pt x="23" y="352"/>
                </a:lnTo>
                <a:lnTo>
                  <a:pt x="17" y="357"/>
                </a:lnTo>
                <a:lnTo>
                  <a:pt x="6" y="35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95" name="Freeform 32"/>
          <p:cNvSpPr>
            <a:spLocks/>
          </p:cNvSpPr>
          <p:nvPr/>
        </p:nvSpPr>
        <p:spPr bwMode="gray">
          <a:xfrm>
            <a:off x="3205665" y="5513612"/>
            <a:ext cx="490811" cy="471346"/>
          </a:xfrm>
          <a:custGeom>
            <a:avLst/>
            <a:gdLst>
              <a:gd name="T0" fmla="*/ 2147483647 w 289"/>
              <a:gd name="T1" fmla="*/ 2147483647 h 278"/>
              <a:gd name="T2" fmla="*/ 2147483647 w 289"/>
              <a:gd name="T3" fmla="*/ 2147483647 h 278"/>
              <a:gd name="T4" fmla="*/ 2147483647 w 289"/>
              <a:gd name="T5" fmla="*/ 2147483647 h 278"/>
              <a:gd name="T6" fmla="*/ 2147483647 w 289"/>
              <a:gd name="T7" fmla="*/ 2147483647 h 278"/>
              <a:gd name="T8" fmla="*/ 2147483647 w 289"/>
              <a:gd name="T9" fmla="*/ 2147483647 h 278"/>
              <a:gd name="T10" fmla="*/ 2147483647 w 289"/>
              <a:gd name="T11" fmla="*/ 2147483647 h 278"/>
              <a:gd name="T12" fmla="*/ 2147483647 w 289"/>
              <a:gd name="T13" fmla="*/ 2147483647 h 278"/>
              <a:gd name="T14" fmla="*/ 2147483647 w 289"/>
              <a:gd name="T15" fmla="*/ 2147483647 h 278"/>
              <a:gd name="T16" fmla="*/ 2147483647 w 289"/>
              <a:gd name="T17" fmla="*/ 2147483647 h 278"/>
              <a:gd name="T18" fmla="*/ 2147483647 w 289"/>
              <a:gd name="T19" fmla="*/ 2147483647 h 278"/>
              <a:gd name="T20" fmla="*/ 2147483647 w 289"/>
              <a:gd name="T21" fmla="*/ 2147483647 h 278"/>
              <a:gd name="T22" fmla="*/ 2147483647 w 289"/>
              <a:gd name="T23" fmla="*/ 2147483647 h 278"/>
              <a:gd name="T24" fmla="*/ 2147483647 w 289"/>
              <a:gd name="T25" fmla="*/ 2147483647 h 278"/>
              <a:gd name="T26" fmla="*/ 2147483647 w 289"/>
              <a:gd name="T27" fmla="*/ 2147483647 h 278"/>
              <a:gd name="T28" fmla="*/ 2147483647 w 289"/>
              <a:gd name="T29" fmla="*/ 2147483647 h 278"/>
              <a:gd name="T30" fmla="*/ 2147483647 w 289"/>
              <a:gd name="T31" fmla="*/ 2147483647 h 278"/>
              <a:gd name="T32" fmla="*/ 2147483647 w 289"/>
              <a:gd name="T33" fmla="*/ 2147483647 h 278"/>
              <a:gd name="T34" fmla="*/ 0 w 289"/>
              <a:gd name="T35" fmla="*/ 2147483647 h 278"/>
              <a:gd name="T36" fmla="*/ 2147483647 w 289"/>
              <a:gd name="T37" fmla="*/ 2147483647 h 278"/>
              <a:gd name="T38" fmla="*/ 2147483647 w 289"/>
              <a:gd name="T39" fmla="*/ 2147483647 h 278"/>
              <a:gd name="T40" fmla="*/ 2147483647 w 289"/>
              <a:gd name="T41" fmla="*/ 2147483647 h 278"/>
              <a:gd name="T42" fmla="*/ 2147483647 w 289"/>
              <a:gd name="T43" fmla="*/ 2147483647 h 278"/>
              <a:gd name="T44" fmla="*/ 2147483647 w 289"/>
              <a:gd name="T45" fmla="*/ 2147483647 h 278"/>
              <a:gd name="T46" fmla="*/ 2147483647 w 289"/>
              <a:gd name="T47" fmla="*/ 2147483647 h 278"/>
              <a:gd name="T48" fmla="*/ 2147483647 w 289"/>
              <a:gd name="T49" fmla="*/ 2147483647 h 278"/>
              <a:gd name="T50" fmla="*/ 2147483647 w 289"/>
              <a:gd name="T51" fmla="*/ 2147483647 h 278"/>
              <a:gd name="T52" fmla="*/ 2147483647 w 289"/>
              <a:gd name="T53" fmla="*/ 2147483647 h 278"/>
              <a:gd name="T54" fmla="*/ 2147483647 w 289"/>
              <a:gd name="T55" fmla="*/ 2147483647 h 278"/>
              <a:gd name="T56" fmla="*/ 2147483647 w 289"/>
              <a:gd name="T57" fmla="*/ 2147483647 h 278"/>
              <a:gd name="T58" fmla="*/ 2147483647 w 289"/>
              <a:gd name="T59" fmla="*/ 2147483647 h 278"/>
              <a:gd name="T60" fmla="*/ 2147483647 w 289"/>
              <a:gd name="T61" fmla="*/ 2147483647 h 278"/>
              <a:gd name="T62" fmla="*/ 2147483647 w 289"/>
              <a:gd name="T63" fmla="*/ 2147483647 h 278"/>
              <a:gd name="T64" fmla="*/ 2147483647 w 289"/>
              <a:gd name="T65" fmla="*/ 0 h 278"/>
              <a:gd name="T66" fmla="*/ 2147483647 w 289"/>
              <a:gd name="T67" fmla="*/ 2147483647 h 278"/>
              <a:gd name="T68" fmla="*/ 2147483647 w 289"/>
              <a:gd name="T69" fmla="*/ 2147483647 h 278"/>
              <a:gd name="T70" fmla="*/ 2147483647 w 289"/>
              <a:gd name="T71" fmla="*/ 2147483647 h 278"/>
              <a:gd name="T72" fmla="*/ 2147483647 w 289"/>
              <a:gd name="T73" fmla="*/ 2147483647 h 278"/>
              <a:gd name="T74" fmla="*/ 2147483647 w 289"/>
              <a:gd name="T75" fmla="*/ 2147483647 h 278"/>
              <a:gd name="T76" fmla="*/ 2147483647 w 289"/>
              <a:gd name="T77" fmla="*/ 2147483647 h 278"/>
              <a:gd name="T78" fmla="*/ 2147483647 w 289"/>
              <a:gd name="T79" fmla="*/ 2147483647 h 278"/>
              <a:gd name="T80" fmla="*/ 2147483647 w 289"/>
              <a:gd name="T81" fmla="*/ 2147483647 h 278"/>
              <a:gd name="T82" fmla="*/ 2147483647 w 289"/>
              <a:gd name="T83" fmla="*/ 2147483647 h 278"/>
              <a:gd name="T84" fmla="*/ 2147483647 w 289"/>
              <a:gd name="T85" fmla="*/ 2147483647 h 278"/>
              <a:gd name="T86" fmla="*/ 2147483647 w 289"/>
              <a:gd name="T87" fmla="*/ 2147483647 h 278"/>
              <a:gd name="T88" fmla="*/ 2147483647 w 289"/>
              <a:gd name="T89" fmla="*/ 2147483647 h 278"/>
              <a:gd name="T90" fmla="*/ 2147483647 w 289"/>
              <a:gd name="T91" fmla="*/ 2147483647 h 278"/>
              <a:gd name="T92" fmla="*/ 2147483647 w 289"/>
              <a:gd name="T93" fmla="*/ 2147483647 h 278"/>
              <a:gd name="T94" fmla="*/ 2147483647 w 289"/>
              <a:gd name="T95" fmla="*/ 2147483647 h 278"/>
              <a:gd name="T96" fmla="*/ 2147483647 w 289"/>
              <a:gd name="T97" fmla="*/ 2147483647 h 278"/>
              <a:gd name="T98" fmla="*/ 2147483647 w 289"/>
              <a:gd name="T99" fmla="*/ 2147483647 h 278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89"/>
              <a:gd name="T151" fmla="*/ 0 h 278"/>
              <a:gd name="T152" fmla="*/ 289 w 289"/>
              <a:gd name="T153" fmla="*/ 278 h 278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89" h="278">
                <a:moveTo>
                  <a:pt x="221" y="272"/>
                </a:moveTo>
                <a:lnTo>
                  <a:pt x="215" y="278"/>
                </a:lnTo>
                <a:lnTo>
                  <a:pt x="209" y="278"/>
                </a:lnTo>
                <a:lnTo>
                  <a:pt x="198" y="272"/>
                </a:lnTo>
                <a:lnTo>
                  <a:pt x="192" y="272"/>
                </a:lnTo>
                <a:lnTo>
                  <a:pt x="192" y="266"/>
                </a:lnTo>
                <a:lnTo>
                  <a:pt x="187" y="266"/>
                </a:lnTo>
                <a:lnTo>
                  <a:pt x="187" y="272"/>
                </a:lnTo>
                <a:lnTo>
                  <a:pt x="181" y="272"/>
                </a:lnTo>
                <a:lnTo>
                  <a:pt x="175" y="266"/>
                </a:lnTo>
                <a:lnTo>
                  <a:pt x="175" y="272"/>
                </a:lnTo>
                <a:lnTo>
                  <a:pt x="170" y="272"/>
                </a:lnTo>
                <a:lnTo>
                  <a:pt x="164" y="266"/>
                </a:lnTo>
                <a:lnTo>
                  <a:pt x="158" y="266"/>
                </a:lnTo>
                <a:lnTo>
                  <a:pt x="153" y="266"/>
                </a:lnTo>
                <a:lnTo>
                  <a:pt x="147" y="266"/>
                </a:lnTo>
                <a:lnTo>
                  <a:pt x="136" y="266"/>
                </a:lnTo>
                <a:lnTo>
                  <a:pt x="130" y="266"/>
                </a:lnTo>
                <a:lnTo>
                  <a:pt x="124" y="266"/>
                </a:lnTo>
                <a:lnTo>
                  <a:pt x="119" y="266"/>
                </a:lnTo>
                <a:lnTo>
                  <a:pt x="113" y="266"/>
                </a:lnTo>
                <a:lnTo>
                  <a:pt x="102" y="266"/>
                </a:lnTo>
                <a:lnTo>
                  <a:pt x="96" y="266"/>
                </a:lnTo>
                <a:lnTo>
                  <a:pt x="85" y="266"/>
                </a:lnTo>
                <a:lnTo>
                  <a:pt x="79" y="266"/>
                </a:lnTo>
                <a:lnTo>
                  <a:pt x="73" y="266"/>
                </a:lnTo>
                <a:lnTo>
                  <a:pt x="68" y="266"/>
                </a:lnTo>
                <a:lnTo>
                  <a:pt x="68" y="260"/>
                </a:lnTo>
                <a:lnTo>
                  <a:pt x="62" y="260"/>
                </a:lnTo>
                <a:lnTo>
                  <a:pt x="62" y="249"/>
                </a:lnTo>
                <a:lnTo>
                  <a:pt x="56" y="249"/>
                </a:lnTo>
                <a:lnTo>
                  <a:pt x="51" y="249"/>
                </a:lnTo>
                <a:lnTo>
                  <a:pt x="51" y="243"/>
                </a:lnTo>
                <a:lnTo>
                  <a:pt x="51" y="238"/>
                </a:lnTo>
                <a:lnTo>
                  <a:pt x="45" y="238"/>
                </a:lnTo>
                <a:lnTo>
                  <a:pt x="39" y="232"/>
                </a:lnTo>
                <a:lnTo>
                  <a:pt x="34" y="232"/>
                </a:lnTo>
                <a:lnTo>
                  <a:pt x="34" y="226"/>
                </a:lnTo>
                <a:lnTo>
                  <a:pt x="34" y="221"/>
                </a:lnTo>
                <a:lnTo>
                  <a:pt x="39" y="221"/>
                </a:lnTo>
                <a:lnTo>
                  <a:pt x="39" y="215"/>
                </a:lnTo>
                <a:lnTo>
                  <a:pt x="39" y="209"/>
                </a:lnTo>
                <a:lnTo>
                  <a:pt x="39" y="204"/>
                </a:lnTo>
                <a:lnTo>
                  <a:pt x="39" y="192"/>
                </a:lnTo>
                <a:lnTo>
                  <a:pt x="45" y="181"/>
                </a:lnTo>
                <a:lnTo>
                  <a:pt x="51" y="181"/>
                </a:lnTo>
                <a:lnTo>
                  <a:pt x="51" y="175"/>
                </a:lnTo>
                <a:lnTo>
                  <a:pt x="45" y="175"/>
                </a:lnTo>
                <a:lnTo>
                  <a:pt x="39" y="175"/>
                </a:lnTo>
                <a:lnTo>
                  <a:pt x="34" y="175"/>
                </a:lnTo>
                <a:lnTo>
                  <a:pt x="22" y="175"/>
                </a:lnTo>
                <a:lnTo>
                  <a:pt x="11" y="175"/>
                </a:lnTo>
                <a:lnTo>
                  <a:pt x="0" y="175"/>
                </a:lnTo>
                <a:lnTo>
                  <a:pt x="0" y="170"/>
                </a:lnTo>
                <a:lnTo>
                  <a:pt x="0" y="164"/>
                </a:lnTo>
                <a:lnTo>
                  <a:pt x="5" y="158"/>
                </a:lnTo>
                <a:lnTo>
                  <a:pt x="5" y="153"/>
                </a:lnTo>
                <a:lnTo>
                  <a:pt x="5" y="147"/>
                </a:lnTo>
                <a:lnTo>
                  <a:pt x="11" y="141"/>
                </a:lnTo>
                <a:lnTo>
                  <a:pt x="11" y="130"/>
                </a:lnTo>
                <a:lnTo>
                  <a:pt x="11" y="124"/>
                </a:lnTo>
                <a:lnTo>
                  <a:pt x="17" y="119"/>
                </a:lnTo>
                <a:lnTo>
                  <a:pt x="17" y="113"/>
                </a:lnTo>
                <a:lnTo>
                  <a:pt x="17" y="107"/>
                </a:lnTo>
                <a:lnTo>
                  <a:pt x="22" y="107"/>
                </a:lnTo>
                <a:lnTo>
                  <a:pt x="22" y="96"/>
                </a:lnTo>
                <a:lnTo>
                  <a:pt x="22" y="90"/>
                </a:lnTo>
                <a:lnTo>
                  <a:pt x="11" y="73"/>
                </a:lnTo>
                <a:lnTo>
                  <a:pt x="17" y="68"/>
                </a:lnTo>
                <a:lnTo>
                  <a:pt x="22" y="62"/>
                </a:lnTo>
                <a:lnTo>
                  <a:pt x="34" y="56"/>
                </a:lnTo>
                <a:lnTo>
                  <a:pt x="39" y="56"/>
                </a:lnTo>
                <a:lnTo>
                  <a:pt x="51" y="56"/>
                </a:lnTo>
                <a:lnTo>
                  <a:pt x="62" y="56"/>
                </a:lnTo>
                <a:lnTo>
                  <a:pt x="68" y="62"/>
                </a:lnTo>
                <a:lnTo>
                  <a:pt x="79" y="68"/>
                </a:lnTo>
                <a:lnTo>
                  <a:pt x="90" y="68"/>
                </a:lnTo>
                <a:lnTo>
                  <a:pt x="90" y="56"/>
                </a:lnTo>
                <a:lnTo>
                  <a:pt x="102" y="51"/>
                </a:lnTo>
                <a:lnTo>
                  <a:pt x="107" y="45"/>
                </a:lnTo>
                <a:lnTo>
                  <a:pt x="113" y="34"/>
                </a:lnTo>
                <a:lnTo>
                  <a:pt x="113" y="28"/>
                </a:lnTo>
                <a:lnTo>
                  <a:pt x="107" y="22"/>
                </a:lnTo>
                <a:lnTo>
                  <a:pt x="107" y="17"/>
                </a:lnTo>
                <a:lnTo>
                  <a:pt x="113" y="11"/>
                </a:lnTo>
                <a:lnTo>
                  <a:pt x="119" y="11"/>
                </a:lnTo>
                <a:lnTo>
                  <a:pt x="124" y="11"/>
                </a:lnTo>
                <a:lnTo>
                  <a:pt x="130" y="11"/>
                </a:lnTo>
                <a:lnTo>
                  <a:pt x="141" y="11"/>
                </a:lnTo>
                <a:lnTo>
                  <a:pt x="158" y="5"/>
                </a:lnTo>
                <a:lnTo>
                  <a:pt x="164" y="5"/>
                </a:lnTo>
                <a:lnTo>
                  <a:pt x="175" y="11"/>
                </a:lnTo>
                <a:lnTo>
                  <a:pt x="181" y="11"/>
                </a:lnTo>
                <a:lnTo>
                  <a:pt x="192" y="11"/>
                </a:lnTo>
                <a:lnTo>
                  <a:pt x="204" y="11"/>
                </a:lnTo>
                <a:lnTo>
                  <a:pt x="215" y="5"/>
                </a:lnTo>
                <a:lnTo>
                  <a:pt x="221" y="0"/>
                </a:lnTo>
                <a:lnTo>
                  <a:pt x="226" y="0"/>
                </a:lnTo>
                <a:lnTo>
                  <a:pt x="232" y="0"/>
                </a:lnTo>
                <a:lnTo>
                  <a:pt x="238" y="5"/>
                </a:lnTo>
                <a:lnTo>
                  <a:pt x="243" y="11"/>
                </a:lnTo>
                <a:lnTo>
                  <a:pt x="249" y="11"/>
                </a:lnTo>
                <a:lnTo>
                  <a:pt x="260" y="11"/>
                </a:lnTo>
                <a:lnTo>
                  <a:pt x="266" y="17"/>
                </a:lnTo>
                <a:lnTo>
                  <a:pt x="272" y="17"/>
                </a:lnTo>
                <a:lnTo>
                  <a:pt x="272" y="22"/>
                </a:lnTo>
                <a:lnTo>
                  <a:pt x="278" y="22"/>
                </a:lnTo>
                <a:lnTo>
                  <a:pt x="278" y="28"/>
                </a:lnTo>
                <a:lnTo>
                  <a:pt x="278" y="34"/>
                </a:lnTo>
                <a:lnTo>
                  <a:pt x="278" y="39"/>
                </a:lnTo>
                <a:lnTo>
                  <a:pt x="278" y="45"/>
                </a:lnTo>
                <a:lnTo>
                  <a:pt x="278" y="56"/>
                </a:lnTo>
                <a:lnTo>
                  <a:pt x="278" y="68"/>
                </a:lnTo>
                <a:lnTo>
                  <a:pt x="278" y="73"/>
                </a:lnTo>
                <a:lnTo>
                  <a:pt x="278" y="79"/>
                </a:lnTo>
                <a:lnTo>
                  <a:pt x="278" y="85"/>
                </a:lnTo>
                <a:lnTo>
                  <a:pt x="278" y="90"/>
                </a:lnTo>
                <a:lnTo>
                  <a:pt x="272" y="85"/>
                </a:lnTo>
                <a:lnTo>
                  <a:pt x="272" y="90"/>
                </a:lnTo>
                <a:lnTo>
                  <a:pt x="272" y="96"/>
                </a:lnTo>
                <a:lnTo>
                  <a:pt x="278" y="96"/>
                </a:lnTo>
                <a:lnTo>
                  <a:pt x="278" y="102"/>
                </a:lnTo>
                <a:lnTo>
                  <a:pt x="283" y="107"/>
                </a:lnTo>
                <a:lnTo>
                  <a:pt x="283" y="113"/>
                </a:lnTo>
                <a:lnTo>
                  <a:pt x="289" y="113"/>
                </a:lnTo>
                <a:lnTo>
                  <a:pt x="289" y="119"/>
                </a:lnTo>
                <a:lnTo>
                  <a:pt x="289" y="124"/>
                </a:lnTo>
                <a:lnTo>
                  <a:pt x="283" y="136"/>
                </a:lnTo>
                <a:lnTo>
                  <a:pt x="278" y="141"/>
                </a:lnTo>
                <a:lnTo>
                  <a:pt x="278" y="147"/>
                </a:lnTo>
                <a:lnTo>
                  <a:pt x="272" y="153"/>
                </a:lnTo>
                <a:lnTo>
                  <a:pt x="272" y="158"/>
                </a:lnTo>
                <a:lnTo>
                  <a:pt x="272" y="164"/>
                </a:lnTo>
                <a:lnTo>
                  <a:pt x="266" y="164"/>
                </a:lnTo>
                <a:lnTo>
                  <a:pt x="266" y="170"/>
                </a:lnTo>
                <a:lnTo>
                  <a:pt x="260" y="175"/>
                </a:lnTo>
                <a:lnTo>
                  <a:pt x="260" y="181"/>
                </a:lnTo>
                <a:lnTo>
                  <a:pt x="255" y="181"/>
                </a:lnTo>
                <a:lnTo>
                  <a:pt x="249" y="187"/>
                </a:lnTo>
                <a:lnTo>
                  <a:pt x="249" y="198"/>
                </a:lnTo>
                <a:lnTo>
                  <a:pt x="243" y="204"/>
                </a:lnTo>
                <a:lnTo>
                  <a:pt x="243" y="209"/>
                </a:lnTo>
                <a:lnTo>
                  <a:pt x="243" y="215"/>
                </a:lnTo>
                <a:lnTo>
                  <a:pt x="238" y="221"/>
                </a:lnTo>
                <a:lnTo>
                  <a:pt x="232" y="226"/>
                </a:lnTo>
                <a:lnTo>
                  <a:pt x="232" y="232"/>
                </a:lnTo>
                <a:lnTo>
                  <a:pt x="226" y="238"/>
                </a:lnTo>
                <a:lnTo>
                  <a:pt x="226" y="249"/>
                </a:lnTo>
                <a:lnTo>
                  <a:pt x="221" y="249"/>
                </a:lnTo>
                <a:lnTo>
                  <a:pt x="221" y="260"/>
                </a:lnTo>
                <a:lnTo>
                  <a:pt x="221" y="266"/>
                </a:lnTo>
                <a:lnTo>
                  <a:pt x="221" y="272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396" name="Rectangle 3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56254" y="3207096"/>
            <a:ext cx="1007392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Adamwar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397" name="Rectangle 3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997712" y="1903201"/>
            <a:ext cx="570669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Born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398" name="Rectangle 3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001007" y="5617276"/>
            <a:ext cx="1029577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Cross River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399" name="Rectangle 3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591745" y="5761433"/>
            <a:ext cx="495713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Delt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0" name="Rectangle 3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658159" y="5128113"/>
            <a:ext cx="352469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Ed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1" name="Rectangle 3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443781" y="3756189"/>
            <a:ext cx="277384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Fct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2" name="Rectangle 3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909737" y="1556575"/>
            <a:ext cx="613501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Jigaw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3" name="Rectangle 4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707815" y="2842653"/>
            <a:ext cx="70307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adun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4" name="Rectangle 4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240742" y="1977709"/>
            <a:ext cx="470642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an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5" name="Rectangle 4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403285" y="1499884"/>
            <a:ext cx="676917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atsin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6" name="Rectangle 4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550188" y="2133205"/>
            <a:ext cx="528030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ebbi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7" name="Rectangle 4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095516" y="4417045"/>
            <a:ext cx="399789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ogi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8" name="Rectangle 4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836899" y="3678441"/>
            <a:ext cx="568682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Kwar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09" name="Rectangle 4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54947" y="5128113"/>
            <a:ext cx="52738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Lagos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10" name="Rectangle 4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321233" y="3033783"/>
            <a:ext cx="504625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Niger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11" name="Rectangle 4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078814" y="4841418"/>
            <a:ext cx="504946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Ogun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12" name="Rectangle 49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172207" y="4744233"/>
            <a:ext cx="517770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Ond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13" name="Rectangle 5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788304" y="4532047"/>
            <a:ext cx="485710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Osun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14" name="Rectangle 51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245658" y="3963516"/>
            <a:ext cx="375616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Oy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15" name="Rectangle 52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3226723" y="6202004"/>
            <a:ext cx="561244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Rivers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16" name="Rectangle 53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596605" y="1558195"/>
            <a:ext cx="762516" cy="27699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Zamfara</a:t>
            </a:r>
          </a:p>
        </p:txBody>
      </p:sp>
      <p:sp>
        <p:nvSpPr>
          <p:cNvPr id="15417" name="Rectangle 54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5742335" y="4763670"/>
            <a:ext cx="62324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Tarab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18" name="Rectangle 55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5922137" y="1624605"/>
            <a:ext cx="454035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Yobe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19" name="Freeform 56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046921" y="5910450"/>
            <a:ext cx="77752" cy="586348"/>
          </a:xfrm>
          <a:custGeom>
            <a:avLst/>
            <a:gdLst>
              <a:gd name="T0" fmla="*/ 2147483647 w 36"/>
              <a:gd name="T1" fmla="*/ 0 h 273"/>
              <a:gd name="T2" fmla="*/ 2147483647 w 36"/>
              <a:gd name="T3" fmla="*/ 2147483647 h 273"/>
              <a:gd name="T4" fmla="*/ 2147483647 w 36"/>
              <a:gd name="T5" fmla="*/ 2147483647 h 273"/>
              <a:gd name="T6" fmla="*/ 2147483647 w 36"/>
              <a:gd name="T7" fmla="*/ 2147483647 h 273"/>
              <a:gd name="T8" fmla="*/ 0 w 36"/>
              <a:gd name="T9" fmla="*/ 2147483647 h 273"/>
              <a:gd name="T10" fmla="*/ 2147483647 w 36"/>
              <a:gd name="T11" fmla="*/ 2147483647 h 273"/>
              <a:gd name="T12" fmla="*/ 2147483647 w 36"/>
              <a:gd name="T13" fmla="*/ 2147483647 h 273"/>
              <a:gd name="T14" fmla="*/ 2147483647 w 36"/>
              <a:gd name="T15" fmla="*/ 2147483647 h 273"/>
              <a:gd name="T16" fmla="*/ 2147483647 w 36"/>
              <a:gd name="T17" fmla="*/ 2147483647 h 273"/>
              <a:gd name="T18" fmla="*/ 2147483647 w 36"/>
              <a:gd name="T19" fmla="*/ 2147483647 h 27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6"/>
              <a:gd name="T31" fmla="*/ 0 h 273"/>
              <a:gd name="T32" fmla="*/ 36 w 36"/>
              <a:gd name="T33" fmla="*/ 273 h 27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6" h="273">
                <a:moveTo>
                  <a:pt x="24" y="0"/>
                </a:moveTo>
                <a:lnTo>
                  <a:pt x="30" y="42"/>
                </a:lnTo>
                <a:lnTo>
                  <a:pt x="21" y="90"/>
                </a:lnTo>
                <a:lnTo>
                  <a:pt x="9" y="126"/>
                </a:lnTo>
                <a:lnTo>
                  <a:pt x="0" y="165"/>
                </a:lnTo>
                <a:lnTo>
                  <a:pt x="36" y="180"/>
                </a:lnTo>
                <a:lnTo>
                  <a:pt x="21" y="204"/>
                </a:lnTo>
                <a:lnTo>
                  <a:pt x="12" y="237"/>
                </a:lnTo>
                <a:lnTo>
                  <a:pt x="12" y="261"/>
                </a:lnTo>
                <a:lnTo>
                  <a:pt x="33" y="273"/>
                </a:lnTo>
              </a:path>
            </a:pathLst>
          </a:cu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420" name="Freeform 57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702453" y="724027"/>
            <a:ext cx="1529129" cy="1099806"/>
          </a:xfrm>
          <a:custGeom>
            <a:avLst/>
            <a:gdLst>
              <a:gd name="T0" fmla="*/ 2147483647 w 713"/>
              <a:gd name="T1" fmla="*/ 2147483647 h 513"/>
              <a:gd name="T2" fmla="*/ 2147483647 w 713"/>
              <a:gd name="T3" fmla="*/ 2147483647 h 513"/>
              <a:gd name="T4" fmla="*/ 2147483647 w 713"/>
              <a:gd name="T5" fmla="*/ 2147483647 h 513"/>
              <a:gd name="T6" fmla="*/ 2147483647 w 713"/>
              <a:gd name="T7" fmla="*/ 2147483647 h 513"/>
              <a:gd name="T8" fmla="*/ 2147483647 w 713"/>
              <a:gd name="T9" fmla="*/ 2147483647 h 513"/>
              <a:gd name="T10" fmla="*/ 2147483647 w 713"/>
              <a:gd name="T11" fmla="*/ 2147483647 h 513"/>
              <a:gd name="T12" fmla="*/ 2147483647 w 713"/>
              <a:gd name="T13" fmla="*/ 2147483647 h 513"/>
              <a:gd name="T14" fmla="*/ 2147483647 w 713"/>
              <a:gd name="T15" fmla="*/ 2147483647 h 513"/>
              <a:gd name="T16" fmla="*/ 2147483647 w 713"/>
              <a:gd name="T17" fmla="*/ 2147483647 h 513"/>
              <a:gd name="T18" fmla="*/ 2147483647 w 713"/>
              <a:gd name="T19" fmla="*/ 2147483647 h 513"/>
              <a:gd name="T20" fmla="*/ 2147483647 w 713"/>
              <a:gd name="T21" fmla="*/ 2147483647 h 513"/>
              <a:gd name="T22" fmla="*/ 2147483647 w 713"/>
              <a:gd name="T23" fmla="*/ 2147483647 h 513"/>
              <a:gd name="T24" fmla="*/ 2147483647 w 713"/>
              <a:gd name="T25" fmla="*/ 2147483647 h 513"/>
              <a:gd name="T26" fmla="*/ 2147483647 w 713"/>
              <a:gd name="T27" fmla="*/ 2147483647 h 513"/>
              <a:gd name="T28" fmla="*/ 2147483647 w 713"/>
              <a:gd name="T29" fmla="*/ 2147483647 h 513"/>
              <a:gd name="T30" fmla="*/ 2147483647 w 713"/>
              <a:gd name="T31" fmla="*/ 2147483647 h 513"/>
              <a:gd name="T32" fmla="*/ 2147483647 w 713"/>
              <a:gd name="T33" fmla="*/ 2147483647 h 513"/>
              <a:gd name="T34" fmla="*/ 2147483647 w 713"/>
              <a:gd name="T35" fmla="*/ 2147483647 h 513"/>
              <a:gd name="T36" fmla="*/ 2147483647 w 713"/>
              <a:gd name="T37" fmla="*/ 2147483647 h 513"/>
              <a:gd name="T38" fmla="*/ 2147483647 w 713"/>
              <a:gd name="T39" fmla="*/ 2147483647 h 513"/>
              <a:gd name="T40" fmla="*/ 2147483647 w 713"/>
              <a:gd name="T41" fmla="*/ 2147483647 h 513"/>
              <a:gd name="T42" fmla="*/ 2147483647 w 713"/>
              <a:gd name="T43" fmla="*/ 2147483647 h 513"/>
              <a:gd name="T44" fmla="*/ 2147483647 w 713"/>
              <a:gd name="T45" fmla="*/ 2147483647 h 513"/>
              <a:gd name="T46" fmla="*/ 2147483647 w 713"/>
              <a:gd name="T47" fmla="*/ 2147483647 h 513"/>
              <a:gd name="T48" fmla="*/ 2147483647 w 713"/>
              <a:gd name="T49" fmla="*/ 2147483647 h 513"/>
              <a:gd name="T50" fmla="*/ 2147483647 w 713"/>
              <a:gd name="T51" fmla="*/ 2147483647 h 513"/>
              <a:gd name="T52" fmla="*/ 2147483647 w 713"/>
              <a:gd name="T53" fmla="*/ 2147483647 h 513"/>
              <a:gd name="T54" fmla="*/ 2147483647 w 713"/>
              <a:gd name="T55" fmla="*/ 2147483647 h 513"/>
              <a:gd name="T56" fmla="*/ 2147483647 w 713"/>
              <a:gd name="T57" fmla="*/ 2147483647 h 513"/>
              <a:gd name="T58" fmla="*/ 2147483647 w 713"/>
              <a:gd name="T59" fmla="*/ 2147483647 h 513"/>
              <a:gd name="T60" fmla="*/ 2147483647 w 713"/>
              <a:gd name="T61" fmla="*/ 2147483647 h 513"/>
              <a:gd name="T62" fmla="*/ 2147483647 w 713"/>
              <a:gd name="T63" fmla="*/ 2147483647 h 513"/>
              <a:gd name="T64" fmla="*/ 2147483647 w 713"/>
              <a:gd name="T65" fmla="*/ 2147483647 h 513"/>
              <a:gd name="T66" fmla="*/ 2147483647 w 713"/>
              <a:gd name="T67" fmla="*/ 2147483647 h 513"/>
              <a:gd name="T68" fmla="*/ 2147483647 w 713"/>
              <a:gd name="T69" fmla="*/ 2147483647 h 513"/>
              <a:gd name="T70" fmla="*/ 2147483647 w 713"/>
              <a:gd name="T71" fmla="*/ 2147483647 h 513"/>
              <a:gd name="T72" fmla="*/ 2147483647 w 713"/>
              <a:gd name="T73" fmla="*/ 2147483647 h 513"/>
              <a:gd name="T74" fmla="*/ 2147483647 w 713"/>
              <a:gd name="T75" fmla="*/ 2147483647 h 513"/>
              <a:gd name="T76" fmla="*/ 2147483647 w 713"/>
              <a:gd name="T77" fmla="*/ 2147483647 h 513"/>
              <a:gd name="T78" fmla="*/ 2147483647 w 713"/>
              <a:gd name="T79" fmla="*/ 2147483647 h 513"/>
              <a:gd name="T80" fmla="*/ 2147483647 w 713"/>
              <a:gd name="T81" fmla="*/ 2147483647 h 513"/>
              <a:gd name="T82" fmla="*/ 2147483647 w 713"/>
              <a:gd name="T83" fmla="*/ 2147483647 h 513"/>
              <a:gd name="T84" fmla="*/ 2147483647 w 713"/>
              <a:gd name="T85" fmla="*/ 2147483647 h 513"/>
              <a:gd name="T86" fmla="*/ 2147483647 w 713"/>
              <a:gd name="T87" fmla="*/ 2147483647 h 513"/>
              <a:gd name="T88" fmla="*/ 2147483647 w 713"/>
              <a:gd name="T89" fmla="*/ 2147483647 h 513"/>
              <a:gd name="T90" fmla="*/ 2147483647 w 713"/>
              <a:gd name="T91" fmla="*/ 2147483647 h 513"/>
              <a:gd name="T92" fmla="*/ 2147483647 w 713"/>
              <a:gd name="T93" fmla="*/ 2147483647 h 513"/>
              <a:gd name="T94" fmla="*/ 2147483647 w 713"/>
              <a:gd name="T95" fmla="*/ 2147483647 h 513"/>
              <a:gd name="T96" fmla="*/ 2147483647 w 713"/>
              <a:gd name="T97" fmla="*/ 2147483647 h 513"/>
              <a:gd name="T98" fmla="*/ 2147483647 w 713"/>
              <a:gd name="T99" fmla="*/ 2147483647 h 513"/>
              <a:gd name="T100" fmla="*/ 2147483647 w 713"/>
              <a:gd name="T101" fmla="*/ 2147483647 h 513"/>
              <a:gd name="T102" fmla="*/ 2147483647 w 713"/>
              <a:gd name="T103" fmla="*/ 2147483647 h 513"/>
              <a:gd name="T104" fmla="*/ 2147483647 w 713"/>
              <a:gd name="T105" fmla="*/ 2147483647 h 513"/>
              <a:gd name="T106" fmla="*/ 2147483647 w 713"/>
              <a:gd name="T107" fmla="*/ 2147483647 h 513"/>
              <a:gd name="T108" fmla="*/ 2147483647 w 713"/>
              <a:gd name="T109" fmla="*/ 2147483647 h 513"/>
              <a:gd name="T110" fmla="*/ 2147483647 w 713"/>
              <a:gd name="T111" fmla="*/ 2147483647 h 51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713"/>
              <a:gd name="T169" fmla="*/ 0 h 513"/>
              <a:gd name="T170" fmla="*/ 713 w 713"/>
              <a:gd name="T171" fmla="*/ 513 h 51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713" h="513">
                <a:moveTo>
                  <a:pt x="120" y="513"/>
                </a:moveTo>
                <a:lnTo>
                  <a:pt x="123" y="433"/>
                </a:lnTo>
                <a:lnTo>
                  <a:pt x="135" y="421"/>
                </a:lnTo>
                <a:lnTo>
                  <a:pt x="149" y="411"/>
                </a:lnTo>
                <a:lnTo>
                  <a:pt x="162" y="409"/>
                </a:lnTo>
                <a:lnTo>
                  <a:pt x="180" y="418"/>
                </a:lnTo>
                <a:lnTo>
                  <a:pt x="188" y="400"/>
                </a:lnTo>
                <a:lnTo>
                  <a:pt x="186" y="366"/>
                </a:lnTo>
                <a:lnTo>
                  <a:pt x="182" y="355"/>
                </a:lnTo>
                <a:lnTo>
                  <a:pt x="179" y="345"/>
                </a:lnTo>
                <a:lnTo>
                  <a:pt x="185" y="334"/>
                </a:lnTo>
                <a:lnTo>
                  <a:pt x="188" y="312"/>
                </a:lnTo>
                <a:lnTo>
                  <a:pt x="186" y="298"/>
                </a:lnTo>
                <a:lnTo>
                  <a:pt x="174" y="279"/>
                </a:lnTo>
                <a:lnTo>
                  <a:pt x="165" y="268"/>
                </a:lnTo>
                <a:lnTo>
                  <a:pt x="174" y="255"/>
                </a:lnTo>
                <a:lnTo>
                  <a:pt x="176" y="241"/>
                </a:lnTo>
                <a:lnTo>
                  <a:pt x="180" y="228"/>
                </a:lnTo>
                <a:lnTo>
                  <a:pt x="188" y="216"/>
                </a:lnTo>
                <a:lnTo>
                  <a:pt x="182" y="208"/>
                </a:lnTo>
                <a:lnTo>
                  <a:pt x="164" y="223"/>
                </a:lnTo>
                <a:lnTo>
                  <a:pt x="155" y="232"/>
                </a:lnTo>
                <a:lnTo>
                  <a:pt x="141" y="229"/>
                </a:lnTo>
                <a:lnTo>
                  <a:pt x="120" y="216"/>
                </a:lnTo>
                <a:lnTo>
                  <a:pt x="95" y="213"/>
                </a:lnTo>
                <a:lnTo>
                  <a:pt x="83" y="201"/>
                </a:lnTo>
                <a:lnTo>
                  <a:pt x="71" y="192"/>
                </a:lnTo>
                <a:lnTo>
                  <a:pt x="59" y="180"/>
                </a:lnTo>
                <a:lnTo>
                  <a:pt x="48" y="175"/>
                </a:lnTo>
                <a:lnTo>
                  <a:pt x="36" y="184"/>
                </a:lnTo>
                <a:lnTo>
                  <a:pt x="14" y="184"/>
                </a:lnTo>
                <a:lnTo>
                  <a:pt x="3" y="181"/>
                </a:lnTo>
                <a:lnTo>
                  <a:pt x="0" y="115"/>
                </a:lnTo>
                <a:lnTo>
                  <a:pt x="20" y="117"/>
                </a:lnTo>
                <a:lnTo>
                  <a:pt x="48" y="93"/>
                </a:lnTo>
                <a:lnTo>
                  <a:pt x="66" y="82"/>
                </a:lnTo>
                <a:lnTo>
                  <a:pt x="84" y="63"/>
                </a:lnTo>
                <a:lnTo>
                  <a:pt x="99" y="52"/>
                </a:lnTo>
                <a:lnTo>
                  <a:pt x="120" y="51"/>
                </a:lnTo>
                <a:lnTo>
                  <a:pt x="143" y="40"/>
                </a:lnTo>
                <a:lnTo>
                  <a:pt x="164" y="40"/>
                </a:lnTo>
                <a:lnTo>
                  <a:pt x="194" y="31"/>
                </a:lnTo>
                <a:lnTo>
                  <a:pt x="213" y="30"/>
                </a:lnTo>
                <a:lnTo>
                  <a:pt x="221" y="40"/>
                </a:lnTo>
                <a:lnTo>
                  <a:pt x="243" y="40"/>
                </a:lnTo>
                <a:lnTo>
                  <a:pt x="267" y="37"/>
                </a:lnTo>
                <a:lnTo>
                  <a:pt x="300" y="40"/>
                </a:lnTo>
                <a:lnTo>
                  <a:pt x="326" y="34"/>
                </a:lnTo>
                <a:lnTo>
                  <a:pt x="342" y="19"/>
                </a:lnTo>
                <a:lnTo>
                  <a:pt x="365" y="4"/>
                </a:lnTo>
                <a:lnTo>
                  <a:pt x="395" y="0"/>
                </a:lnTo>
                <a:lnTo>
                  <a:pt x="425" y="15"/>
                </a:lnTo>
                <a:lnTo>
                  <a:pt x="449" y="22"/>
                </a:lnTo>
                <a:lnTo>
                  <a:pt x="477" y="34"/>
                </a:lnTo>
                <a:lnTo>
                  <a:pt x="521" y="46"/>
                </a:lnTo>
                <a:lnTo>
                  <a:pt x="540" y="57"/>
                </a:lnTo>
                <a:lnTo>
                  <a:pt x="564" y="66"/>
                </a:lnTo>
                <a:lnTo>
                  <a:pt x="593" y="61"/>
                </a:lnTo>
                <a:lnTo>
                  <a:pt x="618" y="67"/>
                </a:lnTo>
                <a:lnTo>
                  <a:pt x="642" y="78"/>
                </a:lnTo>
                <a:lnTo>
                  <a:pt x="666" y="102"/>
                </a:lnTo>
                <a:lnTo>
                  <a:pt x="681" y="112"/>
                </a:lnTo>
                <a:lnTo>
                  <a:pt x="695" y="129"/>
                </a:lnTo>
                <a:lnTo>
                  <a:pt x="704" y="138"/>
                </a:lnTo>
                <a:lnTo>
                  <a:pt x="713" y="148"/>
                </a:lnTo>
                <a:lnTo>
                  <a:pt x="684" y="160"/>
                </a:lnTo>
                <a:lnTo>
                  <a:pt x="672" y="171"/>
                </a:lnTo>
                <a:lnTo>
                  <a:pt x="659" y="183"/>
                </a:lnTo>
                <a:lnTo>
                  <a:pt x="638" y="180"/>
                </a:lnTo>
                <a:lnTo>
                  <a:pt x="590" y="169"/>
                </a:lnTo>
                <a:lnTo>
                  <a:pt x="564" y="163"/>
                </a:lnTo>
                <a:lnTo>
                  <a:pt x="555" y="154"/>
                </a:lnTo>
                <a:lnTo>
                  <a:pt x="534" y="157"/>
                </a:lnTo>
                <a:lnTo>
                  <a:pt x="519" y="157"/>
                </a:lnTo>
                <a:lnTo>
                  <a:pt x="519" y="172"/>
                </a:lnTo>
                <a:lnTo>
                  <a:pt x="522" y="193"/>
                </a:lnTo>
                <a:lnTo>
                  <a:pt x="521" y="214"/>
                </a:lnTo>
                <a:lnTo>
                  <a:pt x="524" y="225"/>
                </a:lnTo>
                <a:lnTo>
                  <a:pt x="534" y="237"/>
                </a:lnTo>
                <a:lnTo>
                  <a:pt x="548" y="246"/>
                </a:lnTo>
                <a:lnTo>
                  <a:pt x="539" y="262"/>
                </a:lnTo>
                <a:lnTo>
                  <a:pt x="533" y="270"/>
                </a:lnTo>
                <a:lnTo>
                  <a:pt x="524" y="280"/>
                </a:lnTo>
                <a:lnTo>
                  <a:pt x="510" y="297"/>
                </a:lnTo>
                <a:lnTo>
                  <a:pt x="503" y="307"/>
                </a:lnTo>
                <a:lnTo>
                  <a:pt x="482" y="309"/>
                </a:lnTo>
                <a:lnTo>
                  <a:pt x="468" y="306"/>
                </a:lnTo>
                <a:lnTo>
                  <a:pt x="455" y="307"/>
                </a:lnTo>
                <a:lnTo>
                  <a:pt x="437" y="322"/>
                </a:lnTo>
                <a:lnTo>
                  <a:pt x="423" y="336"/>
                </a:lnTo>
                <a:lnTo>
                  <a:pt x="410" y="346"/>
                </a:lnTo>
                <a:lnTo>
                  <a:pt x="399" y="355"/>
                </a:lnTo>
                <a:lnTo>
                  <a:pt x="387" y="364"/>
                </a:lnTo>
                <a:lnTo>
                  <a:pt x="378" y="375"/>
                </a:lnTo>
                <a:lnTo>
                  <a:pt x="383" y="384"/>
                </a:lnTo>
                <a:lnTo>
                  <a:pt x="377" y="399"/>
                </a:lnTo>
                <a:lnTo>
                  <a:pt x="375" y="421"/>
                </a:lnTo>
                <a:lnTo>
                  <a:pt x="371" y="433"/>
                </a:lnTo>
                <a:lnTo>
                  <a:pt x="369" y="444"/>
                </a:lnTo>
                <a:lnTo>
                  <a:pt x="366" y="456"/>
                </a:lnTo>
                <a:lnTo>
                  <a:pt x="351" y="459"/>
                </a:lnTo>
                <a:lnTo>
                  <a:pt x="330" y="459"/>
                </a:lnTo>
                <a:lnTo>
                  <a:pt x="306" y="460"/>
                </a:lnTo>
                <a:lnTo>
                  <a:pt x="293" y="453"/>
                </a:lnTo>
                <a:lnTo>
                  <a:pt x="282" y="447"/>
                </a:lnTo>
                <a:lnTo>
                  <a:pt x="264" y="448"/>
                </a:lnTo>
                <a:lnTo>
                  <a:pt x="246" y="456"/>
                </a:lnTo>
                <a:lnTo>
                  <a:pt x="228" y="456"/>
                </a:lnTo>
                <a:lnTo>
                  <a:pt x="204" y="462"/>
                </a:lnTo>
                <a:lnTo>
                  <a:pt x="174" y="472"/>
                </a:lnTo>
                <a:lnTo>
                  <a:pt x="153" y="490"/>
                </a:lnTo>
                <a:lnTo>
                  <a:pt x="143" y="502"/>
                </a:lnTo>
                <a:lnTo>
                  <a:pt x="120" y="513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421" name="Rectangle 58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2175447" y="1109526"/>
            <a:ext cx="642420" cy="27699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Sokoto</a:t>
            </a:r>
          </a:p>
        </p:txBody>
      </p:sp>
      <p:sp>
        <p:nvSpPr>
          <p:cNvPr id="15422" name="Freeform 59"/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2165728" y="4235634"/>
            <a:ext cx="578283" cy="489163"/>
          </a:xfrm>
          <a:custGeom>
            <a:avLst/>
            <a:gdLst>
              <a:gd name="T0" fmla="*/ 2147483647 w 270"/>
              <a:gd name="T1" fmla="*/ 2147483647 h 228"/>
              <a:gd name="T2" fmla="*/ 2147483647 w 270"/>
              <a:gd name="T3" fmla="*/ 2147483647 h 228"/>
              <a:gd name="T4" fmla="*/ 2147483647 w 270"/>
              <a:gd name="T5" fmla="*/ 2147483647 h 228"/>
              <a:gd name="T6" fmla="*/ 2147483647 w 270"/>
              <a:gd name="T7" fmla="*/ 2147483647 h 228"/>
              <a:gd name="T8" fmla="*/ 2147483647 w 270"/>
              <a:gd name="T9" fmla="*/ 2147483647 h 228"/>
              <a:gd name="T10" fmla="*/ 0 w 270"/>
              <a:gd name="T11" fmla="*/ 2147483647 h 228"/>
              <a:gd name="T12" fmla="*/ 2147483647 w 270"/>
              <a:gd name="T13" fmla="*/ 2147483647 h 228"/>
              <a:gd name="T14" fmla="*/ 2147483647 w 270"/>
              <a:gd name="T15" fmla="*/ 2147483647 h 228"/>
              <a:gd name="T16" fmla="*/ 2147483647 w 270"/>
              <a:gd name="T17" fmla="*/ 2147483647 h 228"/>
              <a:gd name="T18" fmla="*/ 2147483647 w 270"/>
              <a:gd name="T19" fmla="*/ 2147483647 h 228"/>
              <a:gd name="T20" fmla="*/ 2147483647 w 270"/>
              <a:gd name="T21" fmla="*/ 2147483647 h 228"/>
              <a:gd name="T22" fmla="*/ 2147483647 w 270"/>
              <a:gd name="T23" fmla="*/ 2147483647 h 228"/>
              <a:gd name="T24" fmla="*/ 2147483647 w 270"/>
              <a:gd name="T25" fmla="*/ 2147483647 h 228"/>
              <a:gd name="T26" fmla="*/ 2147483647 w 270"/>
              <a:gd name="T27" fmla="*/ 2147483647 h 228"/>
              <a:gd name="T28" fmla="*/ 2147483647 w 270"/>
              <a:gd name="T29" fmla="*/ 2147483647 h 228"/>
              <a:gd name="T30" fmla="*/ 2147483647 w 270"/>
              <a:gd name="T31" fmla="*/ 2147483647 h 228"/>
              <a:gd name="T32" fmla="*/ 2147483647 w 270"/>
              <a:gd name="T33" fmla="*/ 2147483647 h 228"/>
              <a:gd name="T34" fmla="*/ 2147483647 w 270"/>
              <a:gd name="T35" fmla="*/ 2147483647 h 228"/>
              <a:gd name="T36" fmla="*/ 2147483647 w 270"/>
              <a:gd name="T37" fmla="*/ 2147483647 h 228"/>
              <a:gd name="T38" fmla="*/ 2147483647 w 270"/>
              <a:gd name="T39" fmla="*/ 2147483647 h 228"/>
              <a:gd name="T40" fmla="*/ 2147483647 w 270"/>
              <a:gd name="T41" fmla="*/ 2147483647 h 228"/>
              <a:gd name="T42" fmla="*/ 2147483647 w 270"/>
              <a:gd name="T43" fmla="*/ 0 h 228"/>
              <a:gd name="T44" fmla="*/ 2147483647 w 270"/>
              <a:gd name="T45" fmla="*/ 2147483647 h 228"/>
              <a:gd name="T46" fmla="*/ 2147483647 w 270"/>
              <a:gd name="T47" fmla="*/ 2147483647 h 228"/>
              <a:gd name="T48" fmla="*/ 2147483647 w 270"/>
              <a:gd name="T49" fmla="*/ 2147483647 h 228"/>
              <a:gd name="T50" fmla="*/ 2147483647 w 270"/>
              <a:gd name="T51" fmla="*/ 2147483647 h 228"/>
              <a:gd name="T52" fmla="*/ 2147483647 w 270"/>
              <a:gd name="T53" fmla="*/ 2147483647 h 228"/>
              <a:gd name="T54" fmla="*/ 2147483647 w 270"/>
              <a:gd name="T55" fmla="*/ 2147483647 h 228"/>
              <a:gd name="T56" fmla="*/ 2147483647 w 270"/>
              <a:gd name="T57" fmla="*/ 2147483647 h 228"/>
              <a:gd name="T58" fmla="*/ 2147483647 w 270"/>
              <a:gd name="T59" fmla="*/ 2147483647 h 228"/>
              <a:gd name="T60" fmla="*/ 2147483647 w 270"/>
              <a:gd name="T61" fmla="*/ 2147483647 h 228"/>
              <a:gd name="T62" fmla="*/ 2147483647 w 270"/>
              <a:gd name="T63" fmla="*/ 2147483647 h 228"/>
              <a:gd name="T64" fmla="*/ 2147483647 w 270"/>
              <a:gd name="T65" fmla="*/ 2147483647 h 228"/>
              <a:gd name="T66" fmla="*/ 2147483647 w 270"/>
              <a:gd name="T67" fmla="*/ 2147483647 h 228"/>
              <a:gd name="T68" fmla="*/ 2147483647 w 270"/>
              <a:gd name="T69" fmla="*/ 2147483647 h 228"/>
              <a:gd name="T70" fmla="*/ 2147483647 w 270"/>
              <a:gd name="T71" fmla="*/ 2147483647 h 228"/>
              <a:gd name="T72" fmla="*/ 2147483647 w 270"/>
              <a:gd name="T73" fmla="*/ 2147483647 h 228"/>
              <a:gd name="T74" fmla="*/ 2147483647 w 270"/>
              <a:gd name="T75" fmla="*/ 2147483647 h 228"/>
              <a:gd name="T76" fmla="*/ 2147483647 w 270"/>
              <a:gd name="T77" fmla="*/ 2147483647 h 228"/>
              <a:gd name="T78" fmla="*/ 2147483647 w 270"/>
              <a:gd name="T79" fmla="*/ 2147483647 h 228"/>
              <a:gd name="T80" fmla="*/ 2147483647 w 270"/>
              <a:gd name="T81" fmla="*/ 2147483647 h 228"/>
              <a:gd name="T82" fmla="*/ 2147483647 w 270"/>
              <a:gd name="T83" fmla="*/ 2147483647 h 228"/>
              <a:gd name="T84" fmla="*/ 2147483647 w 270"/>
              <a:gd name="T85" fmla="*/ 2147483647 h 228"/>
              <a:gd name="T86" fmla="*/ 2147483647 w 270"/>
              <a:gd name="T87" fmla="*/ 2147483647 h 228"/>
              <a:gd name="T88" fmla="*/ 2147483647 w 270"/>
              <a:gd name="T89" fmla="*/ 2147483647 h 228"/>
              <a:gd name="T90" fmla="*/ 2147483647 w 270"/>
              <a:gd name="T91" fmla="*/ 2147483647 h 228"/>
              <a:gd name="T92" fmla="*/ 2147483647 w 270"/>
              <a:gd name="T93" fmla="*/ 2147483647 h 228"/>
              <a:gd name="T94" fmla="*/ 2147483647 w 270"/>
              <a:gd name="T95" fmla="*/ 2147483647 h 228"/>
              <a:gd name="T96" fmla="*/ 2147483647 w 270"/>
              <a:gd name="T97" fmla="*/ 2147483647 h 228"/>
              <a:gd name="T98" fmla="*/ 2147483647 w 270"/>
              <a:gd name="T99" fmla="*/ 2147483647 h 228"/>
              <a:gd name="T100" fmla="*/ 2147483647 w 270"/>
              <a:gd name="T101" fmla="*/ 2147483647 h 228"/>
              <a:gd name="T102" fmla="*/ 2147483647 w 270"/>
              <a:gd name="T103" fmla="*/ 2147483647 h 22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70"/>
              <a:gd name="T157" fmla="*/ 0 h 228"/>
              <a:gd name="T158" fmla="*/ 270 w 270"/>
              <a:gd name="T159" fmla="*/ 228 h 22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70" h="228">
                <a:moveTo>
                  <a:pt x="14" y="204"/>
                </a:moveTo>
                <a:lnTo>
                  <a:pt x="17" y="193"/>
                </a:lnTo>
                <a:lnTo>
                  <a:pt x="6" y="184"/>
                </a:lnTo>
                <a:lnTo>
                  <a:pt x="6" y="168"/>
                </a:lnTo>
                <a:lnTo>
                  <a:pt x="6" y="153"/>
                </a:lnTo>
                <a:lnTo>
                  <a:pt x="0" y="132"/>
                </a:lnTo>
                <a:lnTo>
                  <a:pt x="5" y="112"/>
                </a:lnTo>
                <a:lnTo>
                  <a:pt x="5" y="93"/>
                </a:lnTo>
                <a:lnTo>
                  <a:pt x="5" y="76"/>
                </a:lnTo>
                <a:lnTo>
                  <a:pt x="9" y="55"/>
                </a:lnTo>
                <a:lnTo>
                  <a:pt x="23" y="42"/>
                </a:lnTo>
                <a:lnTo>
                  <a:pt x="36" y="34"/>
                </a:lnTo>
                <a:lnTo>
                  <a:pt x="47" y="24"/>
                </a:lnTo>
                <a:lnTo>
                  <a:pt x="65" y="19"/>
                </a:lnTo>
                <a:lnTo>
                  <a:pt x="75" y="15"/>
                </a:lnTo>
                <a:lnTo>
                  <a:pt x="89" y="24"/>
                </a:lnTo>
                <a:lnTo>
                  <a:pt x="101" y="33"/>
                </a:lnTo>
                <a:lnTo>
                  <a:pt x="120" y="34"/>
                </a:lnTo>
                <a:lnTo>
                  <a:pt x="131" y="31"/>
                </a:lnTo>
                <a:lnTo>
                  <a:pt x="135" y="18"/>
                </a:lnTo>
                <a:lnTo>
                  <a:pt x="144" y="1"/>
                </a:lnTo>
                <a:lnTo>
                  <a:pt x="162" y="0"/>
                </a:lnTo>
                <a:lnTo>
                  <a:pt x="177" y="7"/>
                </a:lnTo>
                <a:lnTo>
                  <a:pt x="177" y="27"/>
                </a:lnTo>
                <a:lnTo>
                  <a:pt x="189" y="25"/>
                </a:lnTo>
                <a:lnTo>
                  <a:pt x="209" y="18"/>
                </a:lnTo>
                <a:lnTo>
                  <a:pt x="215" y="28"/>
                </a:lnTo>
                <a:lnTo>
                  <a:pt x="201" y="45"/>
                </a:lnTo>
                <a:lnTo>
                  <a:pt x="201" y="61"/>
                </a:lnTo>
                <a:lnTo>
                  <a:pt x="210" y="75"/>
                </a:lnTo>
                <a:lnTo>
                  <a:pt x="225" y="82"/>
                </a:lnTo>
                <a:lnTo>
                  <a:pt x="245" y="87"/>
                </a:lnTo>
                <a:lnTo>
                  <a:pt x="252" y="96"/>
                </a:lnTo>
                <a:lnTo>
                  <a:pt x="270" y="91"/>
                </a:lnTo>
                <a:lnTo>
                  <a:pt x="266" y="103"/>
                </a:lnTo>
                <a:lnTo>
                  <a:pt x="252" y="115"/>
                </a:lnTo>
                <a:lnTo>
                  <a:pt x="246" y="123"/>
                </a:lnTo>
                <a:lnTo>
                  <a:pt x="233" y="135"/>
                </a:lnTo>
                <a:lnTo>
                  <a:pt x="212" y="138"/>
                </a:lnTo>
                <a:lnTo>
                  <a:pt x="206" y="159"/>
                </a:lnTo>
                <a:lnTo>
                  <a:pt x="204" y="175"/>
                </a:lnTo>
                <a:lnTo>
                  <a:pt x="197" y="186"/>
                </a:lnTo>
                <a:lnTo>
                  <a:pt x="180" y="196"/>
                </a:lnTo>
                <a:lnTo>
                  <a:pt x="164" y="208"/>
                </a:lnTo>
                <a:lnTo>
                  <a:pt x="141" y="205"/>
                </a:lnTo>
                <a:lnTo>
                  <a:pt x="114" y="195"/>
                </a:lnTo>
                <a:lnTo>
                  <a:pt x="90" y="207"/>
                </a:lnTo>
                <a:lnTo>
                  <a:pt x="72" y="217"/>
                </a:lnTo>
                <a:lnTo>
                  <a:pt x="51" y="228"/>
                </a:lnTo>
                <a:lnTo>
                  <a:pt x="39" y="223"/>
                </a:lnTo>
                <a:lnTo>
                  <a:pt x="26" y="210"/>
                </a:lnTo>
                <a:lnTo>
                  <a:pt x="14" y="204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423" name="Freeform 60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5504218" y="2321096"/>
            <a:ext cx="840698" cy="1065792"/>
          </a:xfrm>
          <a:custGeom>
            <a:avLst/>
            <a:gdLst>
              <a:gd name="T0" fmla="*/ 2147483647 w 392"/>
              <a:gd name="T1" fmla="*/ 2147483647 h 497"/>
              <a:gd name="T2" fmla="*/ 2147483647 w 392"/>
              <a:gd name="T3" fmla="*/ 2147483647 h 497"/>
              <a:gd name="T4" fmla="*/ 2147483647 w 392"/>
              <a:gd name="T5" fmla="*/ 2147483647 h 497"/>
              <a:gd name="T6" fmla="*/ 2147483647 w 392"/>
              <a:gd name="T7" fmla="*/ 2147483647 h 497"/>
              <a:gd name="T8" fmla="*/ 2147483647 w 392"/>
              <a:gd name="T9" fmla="*/ 2147483647 h 497"/>
              <a:gd name="T10" fmla="*/ 2147483647 w 392"/>
              <a:gd name="T11" fmla="*/ 2147483647 h 497"/>
              <a:gd name="T12" fmla="*/ 2147483647 w 392"/>
              <a:gd name="T13" fmla="*/ 2147483647 h 497"/>
              <a:gd name="T14" fmla="*/ 2147483647 w 392"/>
              <a:gd name="T15" fmla="*/ 2147483647 h 497"/>
              <a:gd name="T16" fmla="*/ 2147483647 w 392"/>
              <a:gd name="T17" fmla="*/ 2147483647 h 497"/>
              <a:gd name="T18" fmla="*/ 2147483647 w 392"/>
              <a:gd name="T19" fmla="*/ 2147483647 h 497"/>
              <a:gd name="T20" fmla="*/ 2147483647 w 392"/>
              <a:gd name="T21" fmla="*/ 2147483647 h 497"/>
              <a:gd name="T22" fmla="*/ 2147483647 w 392"/>
              <a:gd name="T23" fmla="*/ 2147483647 h 497"/>
              <a:gd name="T24" fmla="*/ 2147483647 w 392"/>
              <a:gd name="T25" fmla="*/ 2147483647 h 497"/>
              <a:gd name="T26" fmla="*/ 2147483647 w 392"/>
              <a:gd name="T27" fmla="*/ 2147483647 h 497"/>
              <a:gd name="T28" fmla="*/ 2147483647 w 392"/>
              <a:gd name="T29" fmla="*/ 2147483647 h 497"/>
              <a:gd name="T30" fmla="*/ 2147483647 w 392"/>
              <a:gd name="T31" fmla="*/ 2147483647 h 497"/>
              <a:gd name="T32" fmla="*/ 2147483647 w 392"/>
              <a:gd name="T33" fmla="*/ 2147483647 h 497"/>
              <a:gd name="T34" fmla="*/ 2147483647 w 392"/>
              <a:gd name="T35" fmla="*/ 2147483647 h 497"/>
              <a:gd name="T36" fmla="*/ 2147483647 w 392"/>
              <a:gd name="T37" fmla="*/ 2147483647 h 497"/>
              <a:gd name="T38" fmla="*/ 2147483647 w 392"/>
              <a:gd name="T39" fmla="*/ 2147483647 h 497"/>
              <a:gd name="T40" fmla="*/ 2147483647 w 392"/>
              <a:gd name="T41" fmla="*/ 2147483647 h 497"/>
              <a:gd name="T42" fmla="*/ 2147483647 w 392"/>
              <a:gd name="T43" fmla="*/ 2147483647 h 497"/>
              <a:gd name="T44" fmla="*/ 2147483647 w 392"/>
              <a:gd name="T45" fmla="*/ 2147483647 h 497"/>
              <a:gd name="T46" fmla="*/ 2147483647 w 392"/>
              <a:gd name="T47" fmla="*/ 2147483647 h 497"/>
              <a:gd name="T48" fmla="*/ 2147483647 w 392"/>
              <a:gd name="T49" fmla="*/ 2147483647 h 497"/>
              <a:gd name="T50" fmla="*/ 2147483647 w 392"/>
              <a:gd name="T51" fmla="*/ 2147483647 h 497"/>
              <a:gd name="T52" fmla="*/ 2147483647 w 392"/>
              <a:gd name="T53" fmla="*/ 2147483647 h 497"/>
              <a:gd name="T54" fmla="*/ 0 w 392"/>
              <a:gd name="T55" fmla="*/ 2147483647 h 497"/>
              <a:gd name="T56" fmla="*/ 2147483647 w 392"/>
              <a:gd name="T57" fmla="*/ 2147483647 h 497"/>
              <a:gd name="T58" fmla="*/ 2147483647 w 392"/>
              <a:gd name="T59" fmla="*/ 2147483647 h 497"/>
              <a:gd name="T60" fmla="*/ 2147483647 w 392"/>
              <a:gd name="T61" fmla="*/ 2147483647 h 497"/>
              <a:gd name="T62" fmla="*/ 2147483647 w 392"/>
              <a:gd name="T63" fmla="*/ 2147483647 h 497"/>
              <a:gd name="T64" fmla="*/ 2147483647 w 392"/>
              <a:gd name="T65" fmla="*/ 2147483647 h 497"/>
              <a:gd name="T66" fmla="*/ 2147483647 w 392"/>
              <a:gd name="T67" fmla="*/ 2147483647 h 497"/>
              <a:gd name="T68" fmla="*/ 2147483647 w 392"/>
              <a:gd name="T69" fmla="*/ 2147483647 h 497"/>
              <a:gd name="T70" fmla="*/ 2147483647 w 392"/>
              <a:gd name="T71" fmla="*/ 2147483647 h 497"/>
              <a:gd name="T72" fmla="*/ 2147483647 w 392"/>
              <a:gd name="T73" fmla="*/ 2147483647 h 497"/>
              <a:gd name="T74" fmla="*/ 2147483647 w 392"/>
              <a:gd name="T75" fmla="*/ 2147483647 h 497"/>
              <a:gd name="T76" fmla="*/ 2147483647 w 392"/>
              <a:gd name="T77" fmla="*/ 2147483647 h 497"/>
              <a:gd name="T78" fmla="*/ 2147483647 w 392"/>
              <a:gd name="T79" fmla="*/ 2147483647 h 497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92"/>
              <a:gd name="T121" fmla="*/ 0 h 497"/>
              <a:gd name="T122" fmla="*/ 392 w 392"/>
              <a:gd name="T123" fmla="*/ 497 h 497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92" h="497">
                <a:moveTo>
                  <a:pt x="149" y="480"/>
                </a:moveTo>
                <a:lnTo>
                  <a:pt x="165" y="486"/>
                </a:lnTo>
                <a:lnTo>
                  <a:pt x="182" y="483"/>
                </a:lnTo>
                <a:lnTo>
                  <a:pt x="198" y="491"/>
                </a:lnTo>
                <a:lnTo>
                  <a:pt x="222" y="488"/>
                </a:lnTo>
                <a:lnTo>
                  <a:pt x="236" y="494"/>
                </a:lnTo>
                <a:lnTo>
                  <a:pt x="251" y="497"/>
                </a:lnTo>
                <a:lnTo>
                  <a:pt x="269" y="492"/>
                </a:lnTo>
                <a:lnTo>
                  <a:pt x="294" y="485"/>
                </a:lnTo>
                <a:lnTo>
                  <a:pt x="318" y="482"/>
                </a:lnTo>
                <a:lnTo>
                  <a:pt x="341" y="476"/>
                </a:lnTo>
                <a:lnTo>
                  <a:pt x="360" y="464"/>
                </a:lnTo>
                <a:lnTo>
                  <a:pt x="368" y="452"/>
                </a:lnTo>
                <a:lnTo>
                  <a:pt x="383" y="444"/>
                </a:lnTo>
                <a:lnTo>
                  <a:pt x="389" y="429"/>
                </a:lnTo>
                <a:lnTo>
                  <a:pt x="392" y="413"/>
                </a:lnTo>
                <a:lnTo>
                  <a:pt x="392" y="389"/>
                </a:lnTo>
                <a:lnTo>
                  <a:pt x="386" y="365"/>
                </a:lnTo>
                <a:lnTo>
                  <a:pt x="386" y="350"/>
                </a:lnTo>
                <a:lnTo>
                  <a:pt x="372" y="333"/>
                </a:lnTo>
                <a:lnTo>
                  <a:pt x="348" y="321"/>
                </a:lnTo>
                <a:lnTo>
                  <a:pt x="329" y="309"/>
                </a:lnTo>
                <a:lnTo>
                  <a:pt x="327" y="297"/>
                </a:lnTo>
                <a:lnTo>
                  <a:pt x="318" y="288"/>
                </a:lnTo>
                <a:lnTo>
                  <a:pt x="308" y="284"/>
                </a:lnTo>
                <a:lnTo>
                  <a:pt x="312" y="263"/>
                </a:lnTo>
                <a:lnTo>
                  <a:pt x="330" y="248"/>
                </a:lnTo>
                <a:lnTo>
                  <a:pt x="345" y="242"/>
                </a:lnTo>
                <a:lnTo>
                  <a:pt x="357" y="233"/>
                </a:lnTo>
                <a:lnTo>
                  <a:pt x="344" y="222"/>
                </a:lnTo>
                <a:lnTo>
                  <a:pt x="332" y="216"/>
                </a:lnTo>
                <a:lnTo>
                  <a:pt x="320" y="215"/>
                </a:lnTo>
                <a:lnTo>
                  <a:pt x="306" y="200"/>
                </a:lnTo>
                <a:lnTo>
                  <a:pt x="309" y="174"/>
                </a:lnTo>
                <a:lnTo>
                  <a:pt x="309" y="155"/>
                </a:lnTo>
                <a:lnTo>
                  <a:pt x="309" y="143"/>
                </a:lnTo>
                <a:lnTo>
                  <a:pt x="309" y="117"/>
                </a:lnTo>
                <a:lnTo>
                  <a:pt x="299" y="101"/>
                </a:lnTo>
                <a:lnTo>
                  <a:pt x="287" y="84"/>
                </a:lnTo>
                <a:lnTo>
                  <a:pt x="270" y="71"/>
                </a:lnTo>
                <a:lnTo>
                  <a:pt x="254" y="54"/>
                </a:lnTo>
                <a:lnTo>
                  <a:pt x="246" y="33"/>
                </a:lnTo>
                <a:lnTo>
                  <a:pt x="236" y="20"/>
                </a:lnTo>
                <a:lnTo>
                  <a:pt x="222" y="14"/>
                </a:lnTo>
                <a:lnTo>
                  <a:pt x="209" y="12"/>
                </a:lnTo>
                <a:lnTo>
                  <a:pt x="197" y="2"/>
                </a:lnTo>
                <a:lnTo>
                  <a:pt x="174" y="2"/>
                </a:lnTo>
                <a:lnTo>
                  <a:pt x="147" y="2"/>
                </a:lnTo>
                <a:lnTo>
                  <a:pt x="128" y="0"/>
                </a:lnTo>
                <a:lnTo>
                  <a:pt x="116" y="14"/>
                </a:lnTo>
                <a:lnTo>
                  <a:pt x="77" y="44"/>
                </a:lnTo>
                <a:lnTo>
                  <a:pt x="59" y="68"/>
                </a:lnTo>
                <a:lnTo>
                  <a:pt x="38" y="80"/>
                </a:lnTo>
                <a:lnTo>
                  <a:pt x="29" y="99"/>
                </a:lnTo>
                <a:lnTo>
                  <a:pt x="15" y="117"/>
                </a:lnTo>
                <a:lnTo>
                  <a:pt x="0" y="138"/>
                </a:lnTo>
                <a:lnTo>
                  <a:pt x="3" y="159"/>
                </a:lnTo>
                <a:lnTo>
                  <a:pt x="8" y="180"/>
                </a:lnTo>
                <a:lnTo>
                  <a:pt x="12" y="195"/>
                </a:lnTo>
                <a:lnTo>
                  <a:pt x="23" y="206"/>
                </a:lnTo>
                <a:lnTo>
                  <a:pt x="41" y="221"/>
                </a:lnTo>
                <a:lnTo>
                  <a:pt x="57" y="234"/>
                </a:lnTo>
                <a:lnTo>
                  <a:pt x="66" y="240"/>
                </a:lnTo>
                <a:lnTo>
                  <a:pt x="80" y="249"/>
                </a:lnTo>
                <a:lnTo>
                  <a:pt x="99" y="261"/>
                </a:lnTo>
                <a:lnTo>
                  <a:pt x="110" y="272"/>
                </a:lnTo>
                <a:lnTo>
                  <a:pt x="102" y="287"/>
                </a:lnTo>
                <a:lnTo>
                  <a:pt x="99" y="306"/>
                </a:lnTo>
                <a:lnTo>
                  <a:pt x="90" y="315"/>
                </a:lnTo>
                <a:lnTo>
                  <a:pt x="81" y="323"/>
                </a:lnTo>
                <a:lnTo>
                  <a:pt x="78" y="338"/>
                </a:lnTo>
                <a:lnTo>
                  <a:pt x="87" y="357"/>
                </a:lnTo>
                <a:lnTo>
                  <a:pt x="96" y="374"/>
                </a:lnTo>
                <a:lnTo>
                  <a:pt x="107" y="378"/>
                </a:lnTo>
                <a:lnTo>
                  <a:pt x="123" y="396"/>
                </a:lnTo>
                <a:lnTo>
                  <a:pt x="135" y="402"/>
                </a:lnTo>
                <a:lnTo>
                  <a:pt x="140" y="416"/>
                </a:lnTo>
                <a:lnTo>
                  <a:pt x="144" y="432"/>
                </a:lnTo>
                <a:lnTo>
                  <a:pt x="152" y="462"/>
                </a:lnTo>
                <a:lnTo>
                  <a:pt x="149" y="48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424" name="Rectangle 61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5611128" y="2499267"/>
            <a:ext cx="689291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Gombe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25" name="Rectangle 62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4814166" y="3607173"/>
            <a:ext cx="70230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Plateau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26" name="Freeform 63"/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378430" y="2871808"/>
            <a:ext cx="1265095" cy="1224527"/>
          </a:xfrm>
          <a:custGeom>
            <a:avLst/>
            <a:gdLst>
              <a:gd name="T0" fmla="*/ 2147483647 w 590"/>
              <a:gd name="T1" fmla="*/ 2147483647 h 571"/>
              <a:gd name="T2" fmla="*/ 2147483647 w 590"/>
              <a:gd name="T3" fmla="*/ 2147483647 h 571"/>
              <a:gd name="T4" fmla="*/ 2147483647 w 590"/>
              <a:gd name="T5" fmla="*/ 2147483647 h 571"/>
              <a:gd name="T6" fmla="*/ 2147483647 w 590"/>
              <a:gd name="T7" fmla="*/ 2147483647 h 571"/>
              <a:gd name="T8" fmla="*/ 2147483647 w 590"/>
              <a:gd name="T9" fmla="*/ 2147483647 h 571"/>
              <a:gd name="T10" fmla="*/ 2147483647 w 590"/>
              <a:gd name="T11" fmla="*/ 2147483647 h 571"/>
              <a:gd name="T12" fmla="*/ 2147483647 w 590"/>
              <a:gd name="T13" fmla="*/ 2147483647 h 571"/>
              <a:gd name="T14" fmla="*/ 2147483647 w 590"/>
              <a:gd name="T15" fmla="*/ 2147483647 h 571"/>
              <a:gd name="T16" fmla="*/ 2147483647 w 590"/>
              <a:gd name="T17" fmla="*/ 2147483647 h 571"/>
              <a:gd name="T18" fmla="*/ 2147483647 w 590"/>
              <a:gd name="T19" fmla="*/ 2147483647 h 571"/>
              <a:gd name="T20" fmla="*/ 2147483647 w 590"/>
              <a:gd name="T21" fmla="*/ 2147483647 h 571"/>
              <a:gd name="T22" fmla="*/ 2147483647 w 590"/>
              <a:gd name="T23" fmla="*/ 0 h 571"/>
              <a:gd name="T24" fmla="*/ 2147483647 w 590"/>
              <a:gd name="T25" fmla="*/ 2147483647 h 571"/>
              <a:gd name="T26" fmla="*/ 2147483647 w 590"/>
              <a:gd name="T27" fmla="*/ 2147483647 h 571"/>
              <a:gd name="T28" fmla="*/ 2147483647 w 590"/>
              <a:gd name="T29" fmla="*/ 2147483647 h 571"/>
              <a:gd name="T30" fmla="*/ 2147483647 w 590"/>
              <a:gd name="T31" fmla="*/ 2147483647 h 571"/>
              <a:gd name="T32" fmla="*/ 2147483647 w 590"/>
              <a:gd name="T33" fmla="*/ 2147483647 h 571"/>
              <a:gd name="T34" fmla="*/ 2147483647 w 590"/>
              <a:gd name="T35" fmla="*/ 2147483647 h 571"/>
              <a:gd name="T36" fmla="*/ 2147483647 w 590"/>
              <a:gd name="T37" fmla="*/ 2147483647 h 571"/>
              <a:gd name="T38" fmla="*/ 2147483647 w 590"/>
              <a:gd name="T39" fmla="*/ 2147483647 h 571"/>
              <a:gd name="T40" fmla="*/ 2147483647 w 590"/>
              <a:gd name="T41" fmla="*/ 2147483647 h 571"/>
              <a:gd name="T42" fmla="*/ 2147483647 w 590"/>
              <a:gd name="T43" fmla="*/ 2147483647 h 571"/>
              <a:gd name="T44" fmla="*/ 2147483647 w 590"/>
              <a:gd name="T45" fmla="*/ 2147483647 h 571"/>
              <a:gd name="T46" fmla="*/ 2147483647 w 590"/>
              <a:gd name="T47" fmla="*/ 2147483647 h 571"/>
              <a:gd name="T48" fmla="*/ 2147483647 w 590"/>
              <a:gd name="T49" fmla="*/ 2147483647 h 571"/>
              <a:gd name="T50" fmla="*/ 2147483647 w 590"/>
              <a:gd name="T51" fmla="*/ 2147483647 h 571"/>
              <a:gd name="T52" fmla="*/ 2147483647 w 590"/>
              <a:gd name="T53" fmla="*/ 2147483647 h 571"/>
              <a:gd name="T54" fmla="*/ 2147483647 w 590"/>
              <a:gd name="T55" fmla="*/ 2147483647 h 571"/>
              <a:gd name="T56" fmla="*/ 2147483647 w 590"/>
              <a:gd name="T57" fmla="*/ 2147483647 h 571"/>
              <a:gd name="T58" fmla="*/ 2147483647 w 590"/>
              <a:gd name="T59" fmla="*/ 2147483647 h 571"/>
              <a:gd name="T60" fmla="*/ 2147483647 w 590"/>
              <a:gd name="T61" fmla="*/ 2147483647 h 571"/>
              <a:gd name="T62" fmla="*/ 2147483647 w 590"/>
              <a:gd name="T63" fmla="*/ 2147483647 h 571"/>
              <a:gd name="T64" fmla="*/ 2147483647 w 590"/>
              <a:gd name="T65" fmla="*/ 2147483647 h 571"/>
              <a:gd name="T66" fmla="*/ 2147483647 w 590"/>
              <a:gd name="T67" fmla="*/ 2147483647 h 571"/>
              <a:gd name="T68" fmla="*/ 2147483647 w 590"/>
              <a:gd name="T69" fmla="*/ 2147483647 h 571"/>
              <a:gd name="T70" fmla="*/ 2147483647 w 590"/>
              <a:gd name="T71" fmla="*/ 2147483647 h 571"/>
              <a:gd name="T72" fmla="*/ 2147483647 w 590"/>
              <a:gd name="T73" fmla="*/ 2147483647 h 571"/>
              <a:gd name="T74" fmla="*/ 2147483647 w 590"/>
              <a:gd name="T75" fmla="*/ 2147483647 h 571"/>
              <a:gd name="T76" fmla="*/ 2147483647 w 590"/>
              <a:gd name="T77" fmla="*/ 2147483647 h 571"/>
              <a:gd name="T78" fmla="*/ 2147483647 w 590"/>
              <a:gd name="T79" fmla="*/ 2147483647 h 571"/>
              <a:gd name="T80" fmla="*/ 2147483647 w 590"/>
              <a:gd name="T81" fmla="*/ 2147483647 h 571"/>
              <a:gd name="T82" fmla="*/ 2147483647 w 590"/>
              <a:gd name="T83" fmla="*/ 2147483647 h 571"/>
              <a:gd name="T84" fmla="*/ 2147483647 w 590"/>
              <a:gd name="T85" fmla="*/ 2147483647 h 571"/>
              <a:gd name="T86" fmla="*/ 2147483647 w 590"/>
              <a:gd name="T87" fmla="*/ 2147483647 h 571"/>
              <a:gd name="T88" fmla="*/ 2147483647 w 590"/>
              <a:gd name="T89" fmla="*/ 2147483647 h 571"/>
              <a:gd name="T90" fmla="*/ 2147483647 w 590"/>
              <a:gd name="T91" fmla="*/ 2147483647 h 571"/>
              <a:gd name="T92" fmla="*/ 2147483647 w 590"/>
              <a:gd name="T93" fmla="*/ 2147483647 h 571"/>
              <a:gd name="T94" fmla="*/ 2147483647 w 590"/>
              <a:gd name="T95" fmla="*/ 2147483647 h 571"/>
              <a:gd name="T96" fmla="*/ 2147483647 w 590"/>
              <a:gd name="T97" fmla="*/ 2147483647 h 571"/>
              <a:gd name="T98" fmla="*/ 2147483647 w 590"/>
              <a:gd name="T99" fmla="*/ 2147483647 h 571"/>
              <a:gd name="T100" fmla="*/ 2147483647 w 590"/>
              <a:gd name="T101" fmla="*/ 2147483647 h 571"/>
              <a:gd name="T102" fmla="*/ 2147483647 w 590"/>
              <a:gd name="T103" fmla="*/ 2147483647 h 571"/>
              <a:gd name="T104" fmla="*/ 2147483647 w 590"/>
              <a:gd name="T105" fmla="*/ 2147483647 h 571"/>
              <a:gd name="T106" fmla="*/ 2147483647 w 590"/>
              <a:gd name="T107" fmla="*/ 2147483647 h 571"/>
              <a:gd name="T108" fmla="*/ 2147483647 w 590"/>
              <a:gd name="T109" fmla="*/ 2147483647 h 571"/>
              <a:gd name="T110" fmla="*/ 2147483647 w 590"/>
              <a:gd name="T111" fmla="*/ 2147483647 h 571"/>
              <a:gd name="T112" fmla="*/ 2147483647 w 590"/>
              <a:gd name="T113" fmla="*/ 2147483647 h 571"/>
              <a:gd name="T114" fmla="*/ 2147483647 w 590"/>
              <a:gd name="T115" fmla="*/ 2147483647 h 57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90"/>
              <a:gd name="T175" fmla="*/ 0 h 571"/>
              <a:gd name="T176" fmla="*/ 590 w 590"/>
              <a:gd name="T177" fmla="*/ 571 h 57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90" h="571">
                <a:moveTo>
                  <a:pt x="26" y="339"/>
                </a:moveTo>
                <a:lnTo>
                  <a:pt x="32" y="325"/>
                </a:lnTo>
                <a:lnTo>
                  <a:pt x="38" y="316"/>
                </a:lnTo>
                <a:lnTo>
                  <a:pt x="45" y="307"/>
                </a:lnTo>
                <a:lnTo>
                  <a:pt x="39" y="291"/>
                </a:lnTo>
                <a:lnTo>
                  <a:pt x="27" y="285"/>
                </a:lnTo>
                <a:lnTo>
                  <a:pt x="17" y="274"/>
                </a:lnTo>
                <a:lnTo>
                  <a:pt x="5" y="258"/>
                </a:lnTo>
                <a:lnTo>
                  <a:pt x="0" y="241"/>
                </a:lnTo>
                <a:lnTo>
                  <a:pt x="8" y="225"/>
                </a:lnTo>
                <a:lnTo>
                  <a:pt x="11" y="210"/>
                </a:lnTo>
                <a:lnTo>
                  <a:pt x="21" y="192"/>
                </a:lnTo>
                <a:lnTo>
                  <a:pt x="24" y="175"/>
                </a:lnTo>
                <a:lnTo>
                  <a:pt x="21" y="150"/>
                </a:lnTo>
                <a:lnTo>
                  <a:pt x="23" y="130"/>
                </a:lnTo>
                <a:lnTo>
                  <a:pt x="29" y="114"/>
                </a:lnTo>
                <a:lnTo>
                  <a:pt x="36" y="106"/>
                </a:lnTo>
                <a:lnTo>
                  <a:pt x="36" y="88"/>
                </a:lnTo>
                <a:lnTo>
                  <a:pt x="36" y="69"/>
                </a:lnTo>
                <a:lnTo>
                  <a:pt x="35" y="55"/>
                </a:lnTo>
                <a:lnTo>
                  <a:pt x="48" y="46"/>
                </a:lnTo>
                <a:lnTo>
                  <a:pt x="60" y="34"/>
                </a:lnTo>
                <a:lnTo>
                  <a:pt x="60" y="19"/>
                </a:lnTo>
                <a:lnTo>
                  <a:pt x="65" y="0"/>
                </a:lnTo>
                <a:lnTo>
                  <a:pt x="78" y="7"/>
                </a:lnTo>
                <a:lnTo>
                  <a:pt x="96" y="9"/>
                </a:lnTo>
                <a:lnTo>
                  <a:pt x="110" y="18"/>
                </a:lnTo>
                <a:lnTo>
                  <a:pt x="110" y="34"/>
                </a:lnTo>
                <a:lnTo>
                  <a:pt x="114" y="48"/>
                </a:lnTo>
                <a:lnTo>
                  <a:pt x="117" y="64"/>
                </a:lnTo>
                <a:lnTo>
                  <a:pt x="120" y="82"/>
                </a:lnTo>
                <a:lnTo>
                  <a:pt x="117" y="97"/>
                </a:lnTo>
                <a:lnTo>
                  <a:pt x="119" y="108"/>
                </a:lnTo>
                <a:lnTo>
                  <a:pt x="135" y="108"/>
                </a:lnTo>
                <a:lnTo>
                  <a:pt x="147" y="100"/>
                </a:lnTo>
                <a:lnTo>
                  <a:pt x="164" y="99"/>
                </a:lnTo>
                <a:lnTo>
                  <a:pt x="177" y="115"/>
                </a:lnTo>
                <a:lnTo>
                  <a:pt x="183" y="133"/>
                </a:lnTo>
                <a:lnTo>
                  <a:pt x="183" y="150"/>
                </a:lnTo>
                <a:lnTo>
                  <a:pt x="177" y="169"/>
                </a:lnTo>
                <a:lnTo>
                  <a:pt x="171" y="180"/>
                </a:lnTo>
                <a:lnTo>
                  <a:pt x="180" y="192"/>
                </a:lnTo>
                <a:lnTo>
                  <a:pt x="204" y="192"/>
                </a:lnTo>
                <a:lnTo>
                  <a:pt x="207" y="210"/>
                </a:lnTo>
                <a:lnTo>
                  <a:pt x="221" y="225"/>
                </a:lnTo>
                <a:lnTo>
                  <a:pt x="243" y="234"/>
                </a:lnTo>
                <a:lnTo>
                  <a:pt x="281" y="237"/>
                </a:lnTo>
                <a:lnTo>
                  <a:pt x="320" y="235"/>
                </a:lnTo>
                <a:lnTo>
                  <a:pt x="341" y="226"/>
                </a:lnTo>
                <a:lnTo>
                  <a:pt x="347" y="213"/>
                </a:lnTo>
                <a:lnTo>
                  <a:pt x="363" y="207"/>
                </a:lnTo>
                <a:lnTo>
                  <a:pt x="375" y="193"/>
                </a:lnTo>
                <a:lnTo>
                  <a:pt x="369" y="183"/>
                </a:lnTo>
                <a:lnTo>
                  <a:pt x="360" y="174"/>
                </a:lnTo>
                <a:lnTo>
                  <a:pt x="360" y="163"/>
                </a:lnTo>
                <a:lnTo>
                  <a:pt x="375" y="160"/>
                </a:lnTo>
                <a:lnTo>
                  <a:pt x="395" y="166"/>
                </a:lnTo>
                <a:lnTo>
                  <a:pt x="405" y="174"/>
                </a:lnTo>
                <a:lnTo>
                  <a:pt x="431" y="174"/>
                </a:lnTo>
                <a:lnTo>
                  <a:pt x="444" y="192"/>
                </a:lnTo>
                <a:lnTo>
                  <a:pt x="461" y="199"/>
                </a:lnTo>
                <a:lnTo>
                  <a:pt x="486" y="202"/>
                </a:lnTo>
                <a:lnTo>
                  <a:pt x="500" y="210"/>
                </a:lnTo>
                <a:lnTo>
                  <a:pt x="513" y="219"/>
                </a:lnTo>
                <a:lnTo>
                  <a:pt x="530" y="228"/>
                </a:lnTo>
                <a:lnTo>
                  <a:pt x="540" y="237"/>
                </a:lnTo>
                <a:lnTo>
                  <a:pt x="557" y="244"/>
                </a:lnTo>
                <a:lnTo>
                  <a:pt x="564" y="256"/>
                </a:lnTo>
                <a:lnTo>
                  <a:pt x="564" y="280"/>
                </a:lnTo>
                <a:lnTo>
                  <a:pt x="560" y="294"/>
                </a:lnTo>
                <a:lnTo>
                  <a:pt x="563" y="310"/>
                </a:lnTo>
                <a:lnTo>
                  <a:pt x="567" y="324"/>
                </a:lnTo>
                <a:lnTo>
                  <a:pt x="570" y="345"/>
                </a:lnTo>
                <a:lnTo>
                  <a:pt x="575" y="360"/>
                </a:lnTo>
                <a:lnTo>
                  <a:pt x="579" y="375"/>
                </a:lnTo>
                <a:lnTo>
                  <a:pt x="590" y="387"/>
                </a:lnTo>
                <a:lnTo>
                  <a:pt x="585" y="408"/>
                </a:lnTo>
                <a:lnTo>
                  <a:pt x="561" y="418"/>
                </a:lnTo>
                <a:lnTo>
                  <a:pt x="548" y="418"/>
                </a:lnTo>
                <a:lnTo>
                  <a:pt x="533" y="424"/>
                </a:lnTo>
                <a:lnTo>
                  <a:pt x="515" y="433"/>
                </a:lnTo>
                <a:lnTo>
                  <a:pt x="503" y="442"/>
                </a:lnTo>
                <a:lnTo>
                  <a:pt x="492" y="451"/>
                </a:lnTo>
                <a:lnTo>
                  <a:pt x="479" y="466"/>
                </a:lnTo>
                <a:lnTo>
                  <a:pt x="471" y="472"/>
                </a:lnTo>
                <a:lnTo>
                  <a:pt x="456" y="489"/>
                </a:lnTo>
                <a:lnTo>
                  <a:pt x="438" y="504"/>
                </a:lnTo>
                <a:lnTo>
                  <a:pt x="426" y="514"/>
                </a:lnTo>
                <a:lnTo>
                  <a:pt x="404" y="529"/>
                </a:lnTo>
                <a:lnTo>
                  <a:pt x="381" y="543"/>
                </a:lnTo>
                <a:lnTo>
                  <a:pt x="359" y="553"/>
                </a:lnTo>
                <a:lnTo>
                  <a:pt x="344" y="564"/>
                </a:lnTo>
                <a:lnTo>
                  <a:pt x="320" y="568"/>
                </a:lnTo>
                <a:lnTo>
                  <a:pt x="303" y="571"/>
                </a:lnTo>
                <a:lnTo>
                  <a:pt x="290" y="571"/>
                </a:lnTo>
                <a:lnTo>
                  <a:pt x="270" y="568"/>
                </a:lnTo>
                <a:lnTo>
                  <a:pt x="260" y="567"/>
                </a:lnTo>
                <a:lnTo>
                  <a:pt x="246" y="556"/>
                </a:lnTo>
                <a:lnTo>
                  <a:pt x="228" y="549"/>
                </a:lnTo>
                <a:lnTo>
                  <a:pt x="210" y="550"/>
                </a:lnTo>
                <a:lnTo>
                  <a:pt x="182" y="555"/>
                </a:lnTo>
                <a:lnTo>
                  <a:pt x="164" y="555"/>
                </a:lnTo>
                <a:lnTo>
                  <a:pt x="131" y="549"/>
                </a:lnTo>
                <a:lnTo>
                  <a:pt x="110" y="534"/>
                </a:lnTo>
                <a:lnTo>
                  <a:pt x="99" y="522"/>
                </a:lnTo>
                <a:lnTo>
                  <a:pt x="90" y="486"/>
                </a:lnTo>
                <a:lnTo>
                  <a:pt x="93" y="462"/>
                </a:lnTo>
                <a:lnTo>
                  <a:pt x="98" y="444"/>
                </a:lnTo>
                <a:lnTo>
                  <a:pt x="114" y="426"/>
                </a:lnTo>
                <a:lnTo>
                  <a:pt x="123" y="396"/>
                </a:lnTo>
                <a:lnTo>
                  <a:pt x="117" y="384"/>
                </a:lnTo>
                <a:lnTo>
                  <a:pt x="99" y="379"/>
                </a:lnTo>
                <a:lnTo>
                  <a:pt x="72" y="373"/>
                </a:lnTo>
                <a:lnTo>
                  <a:pt x="59" y="370"/>
                </a:lnTo>
                <a:lnTo>
                  <a:pt x="42" y="361"/>
                </a:lnTo>
                <a:lnTo>
                  <a:pt x="35" y="346"/>
                </a:lnTo>
                <a:lnTo>
                  <a:pt x="26" y="33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427" name="Rectangle 64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760712" y="3440339"/>
            <a:ext cx="702308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Plateau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28" name="Freeform 65"/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2455679" y="5897492"/>
            <a:ext cx="678714" cy="634940"/>
          </a:xfrm>
          <a:custGeom>
            <a:avLst/>
            <a:gdLst>
              <a:gd name="T0" fmla="*/ 2147483647 w 316"/>
              <a:gd name="T1" fmla="*/ 2147483647 h 296"/>
              <a:gd name="T2" fmla="*/ 2147483647 w 316"/>
              <a:gd name="T3" fmla="*/ 2147483647 h 296"/>
              <a:gd name="T4" fmla="*/ 2147483647 w 316"/>
              <a:gd name="T5" fmla="*/ 2147483647 h 296"/>
              <a:gd name="T6" fmla="*/ 2147483647 w 316"/>
              <a:gd name="T7" fmla="*/ 2147483647 h 296"/>
              <a:gd name="T8" fmla="*/ 2147483647 w 316"/>
              <a:gd name="T9" fmla="*/ 2147483647 h 296"/>
              <a:gd name="T10" fmla="*/ 2147483647 w 316"/>
              <a:gd name="T11" fmla="*/ 2147483647 h 296"/>
              <a:gd name="T12" fmla="*/ 2147483647 w 316"/>
              <a:gd name="T13" fmla="*/ 2147483647 h 296"/>
              <a:gd name="T14" fmla="*/ 2147483647 w 316"/>
              <a:gd name="T15" fmla="*/ 2147483647 h 296"/>
              <a:gd name="T16" fmla="*/ 2147483647 w 316"/>
              <a:gd name="T17" fmla="*/ 2147483647 h 296"/>
              <a:gd name="T18" fmla="*/ 2147483647 w 316"/>
              <a:gd name="T19" fmla="*/ 2147483647 h 296"/>
              <a:gd name="T20" fmla="*/ 2147483647 w 316"/>
              <a:gd name="T21" fmla="*/ 2147483647 h 296"/>
              <a:gd name="T22" fmla="*/ 2147483647 w 316"/>
              <a:gd name="T23" fmla="*/ 2147483647 h 296"/>
              <a:gd name="T24" fmla="*/ 2147483647 w 316"/>
              <a:gd name="T25" fmla="*/ 2147483647 h 296"/>
              <a:gd name="T26" fmla="*/ 0 w 316"/>
              <a:gd name="T27" fmla="*/ 2147483647 h 296"/>
              <a:gd name="T28" fmla="*/ 2147483647 w 316"/>
              <a:gd name="T29" fmla="*/ 2147483647 h 296"/>
              <a:gd name="T30" fmla="*/ 2147483647 w 316"/>
              <a:gd name="T31" fmla="*/ 2147483647 h 296"/>
              <a:gd name="T32" fmla="*/ 2147483647 w 316"/>
              <a:gd name="T33" fmla="*/ 2147483647 h 296"/>
              <a:gd name="T34" fmla="*/ 2147483647 w 316"/>
              <a:gd name="T35" fmla="*/ 2147483647 h 296"/>
              <a:gd name="T36" fmla="*/ 2147483647 w 316"/>
              <a:gd name="T37" fmla="*/ 2147483647 h 296"/>
              <a:gd name="T38" fmla="*/ 2147483647 w 316"/>
              <a:gd name="T39" fmla="*/ 2147483647 h 296"/>
              <a:gd name="T40" fmla="*/ 2147483647 w 316"/>
              <a:gd name="T41" fmla="*/ 2147483647 h 296"/>
              <a:gd name="T42" fmla="*/ 2147483647 w 316"/>
              <a:gd name="T43" fmla="*/ 2147483647 h 296"/>
              <a:gd name="T44" fmla="*/ 2147483647 w 316"/>
              <a:gd name="T45" fmla="*/ 2147483647 h 296"/>
              <a:gd name="T46" fmla="*/ 2147483647 w 316"/>
              <a:gd name="T47" fmla="*/ 2147483647 h 296"/>
              <a:gd name="T48" fmla="*/ 2147483647 w 316"/>
              <a:gd name="T49" fmla="*/ 0 h 296"/>
              <a:gd name="T50" fmla="*/ 2147483647 w 316"/>
              <a:gd name="T51" fmla="*/ 2147483647 h 296"/>
              <a:gd name="T52" fmla="*/ 2147483647 w 316"/>
              <a:gd name="T53" fmla="*/ 2147483647 h 296"/>
              <a:gd name="T54" fmla="*/ 2147483647 w 316"/>
              <a:gd name="T55" fmla="*/ 2147483647 h 296"/>
              <a:gd name="T56" fmla="*/ 2147483647 w 316"/>
              <a:gd name="T57" fmla="*/ 2147483647 h 296"/>
              <a:gd name="T58" fmla="*/ 2147483647 w 316"/>
              <a:gd name="T59" fmla="*/ 2147483647 h 296"/>
              <a:gd name="T60" fmla="*/ 2147483647 w 316"/>
              <a:gd name="T61" fmla="*/ 2147483647 h 296"/>
              <a:gd name="T62" fmla="*/ 2147483647 w 316"/>
              <a:gd name="T63" fmla="*/ 2147483647 h 296"/>
              <a:gd name="T64" fmla="*/ 2147483647 w 316"/>
              <a:gd name="T65" fmla="*/ 2147483647 h 296"/>
              <a:gd name="T66" fmla="*/ 2147483647 w 316"/>
              <a:gd name="T67" fmla="*/ 2147483647 h 29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16"/>
              <a:gd name="T103" fmla="*/ 0 h 296"/>
              <a:gd name="T104" fmla="*/ 316 w 316"/>
              <a:gd name="T105" fmla="*/ 296 h 29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16" h="296">
                <a:moveTo>
                  <a:pt x="316" y="276"/>
                </a:moveTo>
                <a:lnTo>
                  <a:pt x="306" y="279"/>
                </a:lnTo>
                <a:lnTo>
                  <a:pt x="291" y="272"/>
                </a:lnTo>
                <a:lnTo>
                  <a:pt x="288" y="282"/>
                </a:lnTo>
                <a:lnTo>
                  <a:pt x="276" y="281"/>
                </a:lnTo>
                <a:lnTo>
                  <a:pt x="264" y="284"/>
                </a:lnTo>
                <a:lnTo>
                  <a:pt x="253" y="284"/>
                </a:lnTo>
                <a:lnTo>
                  <a:pt x="228" y="282"/>
                </a:lnTo>
                <a:lnTo>
                  <a:pt x="217" y="290"/>
                </a:lnTo>
                <a:lnTo>
                  <a:pt x="205" y="296"/>
                </a:lnTo>
                <a:lnTo>
                  <a:pt x="196" y="288"/>
                </a:lnTo>
                <a:lnTo>
                  <a:pt x="180" y="281"/>
                </a:lnTo>
                <a:lnTo>
                  <a:pt x="169" y="276"/>
                </a:lnTo>
                <a:lnTo>
                  <a:pt x="156" y="266"/>
                </a:lnTo>
                <a:lnTo>
                  <a:pt x="141" y="258"/>
                </a:lnTo>
                <a:lnTo>
                  <a:pt x="123" y="246"/>
                </a:lnTo>
                <a:lnTo>
                  <a:pt x="109" y="234"/>
                </a:lnTo>
                <a:lnTo>
                  <a:pt x="96" y="221"/>
                </a:lnTo>
                <a:lnTo>
                  <a:pt x="78" y="201"/>
                </a:lnTo>
                <a:lnTo>
                  <a:pt x="61" y="183"/>
                </a:lnTo>
                <a:lnTo>
                  <a:pt x="51" y="165"/>
                </a:lnTo>
                <a:lnTo>
                  <a:pt x="40" y="149"/>
                </a:lnTo>
                <a:lnTo>
                  <a:pt x="30" y="132"/>
                </a:lnTo>
                <a:lnTo>
                  <a:pt x="22" y="111"/>
                </a:lnTo>
                <a:lnTo>
                  <a:pt x="25" y="99"/>
                </a:lnTo>
                <a:lnTo>
                  <a:pt x="16" y="80"/>
                </a:lnTo>
                <a:lnTo>
                  <a:pt x="4" y="63"/>
                </a:lnTo>
                <a:lnTo>
                  <a:pt x="0" y="48"/>
                </a:lnTo>
                <a:lnTo>
                  <a:pt x="12" y="47"/>
                </a:lnTo>
                <a:lnTo>
                  <a:pt x="22" y="48"/>
                </a:lnTo>
                <a:lnTo>
                  <a:pt x="33" y="59"/>
                </a:lnTo>
                <a:lnTo>
                  <a:pt x="48" y="68"/>
                </a:lnTo>
                <a:lnTo>
                  <a:pt x="69" y="75"/>
                </a:lnTo>
                <a:lnTo>
                  <a:pt x="88" y="83"/>
                </a:lnTo>
                <a:lnTo>
                  <a:pt x="111" y="78"/>
                </a:lnTo>
                <a:lnTo>
                  <a:pt x="135" y="69"/>
                </a:lnTo>
                <a:lnTo>
                  <a:pt x="141" y="60"/>
                </a:lnTo>
                <a:lnTo>
                  <a:pt x="151" y="48"/>
                </a:lnTo>
                <a:lnTo>
                  <a:pt x="165" y="42"/>
                </a:lnTo>
                <a:lnTo>
                  <a:pt x="178" y="56"/>
                </a:lnTo>
                <a:lnTo>
                  <a:pt x="199" y="44"/>
                </a:lnTo>
                <a:lnTo>
                  <a:pt x="214" y="48"/>
                </a:lnTo>
                <a:lnTo>
                  <a:pt x="223" y="44"/>
                </a:lnTo>
                <a:lnTo>
                  <a:pt x="229" y="30"/>
                </a:lnTo>
                <a:lnTo>
                  <a:pt x="232" y="18"/>
                </a:lnTo>
                <a:lnTo>
                  <a:pt x="247" y="23"/>
                </a:lnTo>
                <a:lnTo>
                  <a:pt x="256" y="15"/>
                </a:lnTo>
                <a:lnTo>
                  <a:pt x="273" y="6"/>
                </a:lnTo>
                <a:lnTo>
                  <a:pt x="286" y="6"/>
                </a:lnTo>
                <a:lnTo>
                  <a:pt x="303" y="0"/>
                </a:lnTo>
                <a:lnTo>
                  <a:pt x="310" y="15"/>
                </a:lnTo>
                <a:lnTo>
                  <a:pt x="312" y="32"/>
                </a:lnTo>
                <a:lnTo>
                  <a:pt x="306" y="51"/>
                </a:lnTo>
                <a:lnTo>
                  <a:pt x="304" y="71"/>
                </a:lnTo>
                <a:lnTo>
                  <a:pt x="295" y="93"/>
                </a:lnTo>
                <a:lnTo>
                  <a:pt x="292" y="114"/>
                </a:lnTo>
                <a:lnTo>
                  <a:pt x="285" y="132"/>
                </a:lnTo>
                <a:lnTo>
                  <a:pt x="283" y="150"/>
                </a:lnTo>
                <a:lnTo>
                  <a:pt x="277" y="164"/>
                </a:lnTo>
                <a:lnTo>
                  <a:pt x="291" y="167"/>
                </a:lnTo>
                <a:lnTo>
                  <a:pt x="304" y="176"/>
                </a:lnTo>
                <a:lnTo>
                  <a:pt x="315" y="182"/>
                </a:lnTo>
                <a:lnTo>
                  <a:pt x="306" y="197"/>
                </a:lnTo>
                <a:lnTo>
                  <a:pt x="297" y="221"/>
                </a:lnTo>
                <a:lnTo>
                  <a:pt x="294" y="240"/>
                </a:lnTo>
                <a:lnTo>
                  <a:pt x="297" y="255"/>
                </a:lnTo>
                <a:lnTo>
                  <a:pt x="301" y="266"/>
                </a:lnTo>
                <a:lnTo>
                  <a:pt x="316" y="276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429" name="Rectangle 66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2588505" y="6202004"/>
            <a:ext cx="701410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Bayels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30" name="Freeform 67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3850362" y="5042267"/>
            <a:ext cx="508630" cy="494022"/>
          </a:xfrm>
          <a:custGeom>
            <a:avLst/>
            <a:gdLst>
              <a:gd name="T0" fmla="*/ 2147483647 w 237"/>
              <a:gd name="T1" fmla="*/ 2147483647 h 230"/>
              <a:gd name="T2" fmla="*/ 2147483647 w 237"/>
              <a:gd name="T3" fmla="*/ 2147483647 h 230"/>
              <a:gd name="T4" fmla="*/ 0 w 237"/>
              <a:gd name="T5" fmla="*/ 2147483647 h 230"/>
              <a:gd name="T6" fmla="*/ 2147483647 w 237"/>
              <a:gd name="T7" fmla="*/ 2147483647 h 230"/>
              <a:gd name="T8" fmla="*/ 2147483647 w 237"/>
              <a:gd name="T9" fmla="*/ 2147483647 h 230"/>
              <a:gd name="T10" fmla="*/ 2147483647 w 237"/>
              <a:gd name="T11" fmla="*/ 2147483647 h 230"/>
              <a:gd name="T12" fmla="*/ 2147483647 w 237"/>
              <a:gd name="T13" fmla="*/ 2147483647 h 230"/>
              <a:gd name="T14" fmla="*/ 2147483647 w 237"/>
              <a:gd name="T15" fmla="*/ 2147483647 h 230"/>
              <a:gd name="T16" fmla="*/ 2147483647 w 237"/>
              <a:gd name="T17" fmla="*/ 2147483647 h 230"/>
              <a:gd name="T18" fmla="*/ 2147483647 w 237"/>
              <a:gd name="T19" fmla="*/ 2147483647 h 230"/>
              <a:gd name="T20" fmla="*/ 2147483647 w 237"/>
              <a:gd name="T21" fmla="*/ 2147483647 h 230"/>
              <a:gd name="T22" fmla="*/ 2147483647 w 237"/>
              <a:gd name="T23" fmla="*/ 2147483647 h 230"/>
              <a:gd name="T24" fmla="*/ 2147483647 w 237"/>
              <a:gd name="T25" fmla="*/ 2147483647 h 230"/>
              <a:gd name="T26" fmla="*/ 2147483647 w 237"/>
              <a:gd name="T27" fmla="*/ 2147483647 h 230"/>
              <a:gd name="T28" fmla="*/ 2147483647 w 237"/>
              <a:gd name="T29" fmla="*/ 2147483647 h 230"/>
              <a:gd name="T30" fmla="*/ 2147483647 w 237"/>
              <a:gd name="T31" fmla="*/ 2147483647 h 230"/>
              <a:gd name="T32" fmla="*/ 2147483647 w 237"/>
              <a:gd name="T33" fmla="*/ 0 h 230"/>
              <a:gd name="T34" fmla="*/ 2147483647 w 237"/>
              <a:gd name="T35" fmla="*/ 2147483647 h 230"/>
              <a:gd name="T36" fmla="*/ 2147483647 w 237"/>
              <a:gd name="T37" fmla="*/ 2147483647 h 230"/>
              <a:gd name="T38" fmla="*/ 2147483647 w 237"/>
              <a:gd name="T39" fmla="*/ 2147483647 h 230"/>
              <a:gd name="T40" fmla="*/ 2147483647 w 237"/>
              <a:gd name="T41" fmla="*/ 2147483647 h 230"/>
              <a:gd name="T42" fmla="*/ 2147483647 w 237"/>
              <a:gd name="T43" fmla="*/ 2147483647 h 230"/>
              <a:gd name="T44" fmla="*/ 2147483647 w 237"/>
              <a:gd name="T45" fmla="*/ 2147483647 h 230"/>
              <a:gd name="T46" fmla="*/ 2147483647 w 237"/>
              <a:gd name="T47" fmla="*/ 2147483647 h 230"/>
              <a:gd name="T48" fmla="*/ 2147483647 w 237"/>
              <a:gd name="T49" fmla="*/ 2147483647 h 230"/>
              <a:gd name="T50" fmla="*/ 2147483647 w 237"/>
              <a:gd name="T51" fmla="*/ 2147483647 h 230"/>
              <a:gd name="T52" fmla="*/ 2147483647 w 237"/>
              <a:gd name="T53" fmla="*/ 2147483647 h 230"/>
              <a:gd name="T54" fmla="*/ 2147483647 w 237"/>
              <a:gd name="T55" fmla="*/ 2147483647 h 230"/>
              <a:gd name="T56" fmla="*/ 2147483647 w 237"/>
              <a:gd name="T57" fmla="*/ 2147483647 h 230"/>
              <a:gd name="T58" fmla="*/ 2147483647 w 237"/>
              <a:gd name="T59" fmla="*/ 2147483647 h 230"/>
              <a:gd name="T60" fmla="*/ 2147483647 w 237"/>
              <a:gd name="T61" fmla="*/ 2147483647 h 230"/>
              <a:gd name="T62" fmla="*/ 2147483647 w 237"/>
              <a:gd name="T63" fmla="*/ 2147483647 h 230"/>
              <a:gd name="T64" fmla="*/ 2147483647 w 237"/>
              <a:gd name="T65" fmla="*/ 2147483647 h 230"/>
              <a:gd name="T66" fmla="*/ 2147483647 w 237"/>
              <a:gd name="T67" fmla="*/ 2147483647 h 230"/>
              <a:gd name="T68" fmla="*/ 2147483647 w 237"/>
              <a:gd name="T69" fmla="*/ 2147483647 h 230"/>
              <a:gd name="T70" fmla="*/ 2147483647 w 237"/>
              <a:gd name="T71" fmla="*/ 2147483647 h 230"/>
              <a:gd name="T72" fmla="*/ 2147483647 w 237"/>
              <a:gd name="T73" fmla="*/ 2147483647 h 230"/>
              <a:gd name="T74" fmla="*/ 2147483647 w 237"/>
              <a:gd name="T75" fmla="*/ 2147483647 h 230"/>
              <a:gd name="T76" fmla="*/ 2147483647 w 237"/>
              <a:gd name="T77" fmla="*/ 2147483647 h 230"/>
              <a:gd name="T78" fmla="*/ 2147483647 w 237"/>
              <a:gd name="T79" fmla="*/ 2147483647 h 230"/>
              <a:gd name="T80" fmla="*/ 2147483647 w 237"/>
              <a:gd name="T81" fmla="*/ 2147483647 h 230"/>
              <a:gd name="T82" fmla="*/ 2147483647 w 237"/>
              <a:gd name="T83" fmla="*/ 2147483647 h 230"/>
              <a:gd name="T84" fmla="*/ 2147483647 w 237"/>
              <a:gd name="T85" fmla="*/ 2147483647 h 230"/>
              <a:gd name="T86" fmla="*/ 2147483647 w 237"/>
              <a:gd name="T87" fmla="*/ 2147483647 h 230"/>
              <a:gd name="T88" fmla="*/ 2147483647 w 237"/>
              <a:gd name="T89" fmla="*/ 2147483647 h 230"/>
              <a:gd name="T90" fmla="*/ 2147483647 w 237"/>
              <a:gd name="T91" fmla="*/ 2147483647 h 23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37"/>
              <a:gd name="T139" fmla="*/ 0 h 230"/>
              <a:gd name="T140" fmla="*/ 237 w 237"/>
              <a:gd name="T141" fmla="*/ 230 h 23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37" h="230">
                <a:moveTo>
                  <a:pt x="14" y="159"/>
                </a:moveTo>
                <a:lnTo>
                  <a:pt x="2" y="147"/>
                </a:lnTo>
                <a:lnTo>
                  <a:pt x="0" y="125"/>
                </a:lnTo>
                <a:lnTo>
                  <a:pt x="3" y="105"/>
                </a:lnTo>
                <a:lnTo>
                  <a:pt x="8" y="84"/>
                </a:lnTo>
                <a:lnTo>
                  <a:pt x="17" y="71"/>
                </a:lnTo>
                <a:lnTo>
                  <a:pt x="33" y="59"/>
                </a:lnTo>
                <a:lnTo>
                  <a:pt x="50" y="48"/>
                </a:lnTo>
                <a:lnTo>
                  <a:pt x="60" y="54"/>
                </a:lnTo>
                <a:lnTo>
                  <a:pt x="68" y="71"/>
                </a:lnTo>
                <a:lnTo>
                  <a:pt x="83" y="60"/>
                </a:lnTo>
                <a:lnTo>
                  <a:pt x="81" y="45"/>
                </a:lnTo>
                <a:lnTo>
                  <a:pt x="86" y="27"/>
                </a:lnTo>
                <a:lnTo>
                  <a:pt x="98" y="17"/>
                </a:lnTo>
                <a:lnTo>
                  <a:pt x="119" y="17"/>
                </a:lnTo>
                <a:lnTo>
                  <a:pt x="132" y="8"/>
                </a:lnTo>
                <a:lnTo>
                  <a:pt x="149" y="0"/>
                </a:lnTo>
                <a:lnTo>
                  <a:pt x="161" y="3"/>
                </a:lnTo>
                <a:lnTo>
                  <a:pt x="174" y="21"/>
                </a:lnTo>
                <a:lnTo>
                  <a:pt x="189" y="45"/>
                </a:lnTo>
                <a:lnTo>
                  <a:pt x="198" y="56"/>
                </a:lnTo>
                <a:lnTo>
                  <a:pt x="213" y="74"/>
                </a:lnTo>
                <a:lnTo>
                  <a:pt x="222" y="96"/>
                </a:lnTo>
                <a:lnTo>
                  <a:pt x="225" y="111"/>
                </a:lnTo>
                <a:lnTo>
                  <a:pt x="237" y="120"/>
                </a:lnTo>
                <a:lnTo>
                  <a:pt x="228" y="131"/>
                </a:lnTo>
                <a:lnTo>
                  <a:pt x="207" y="132"/>
                </a:lnTo>
                <a:lnTo>
                  <a:pt x="197" y="146"/>
                </a:lnTo>
                <a:lnTo>
                  <a:pt x="182" y="162"/>
                </a:lnTo>
                <a:lnTo>
                  <a:pt x="173" y="174"/>
                </a:lnTo>
                <a:lnTo>
                  <a:pt x="173" y="185"/>
                </a:lnTo>
                <a:lnTo>
                  <a:pt x="174" y="203"/>
                </a:lnTo>
                <a:lnTo>
                  <a:pt x="164" y="215"/>
                </a:lnTo>
                <a:lnTo>
                  <a:pt x="150" y="207"/>
                </a:lnTo>
                <a:lnTo>
                  <a:pt x="137" y="221"/>
                </a:lnTo>
                <a:lnTo>
                  <a:pt x="128" y="230"/>
                </a:lnTo>
                <a:lnTo>
                  <a:pt x="113" y="224"/>
                </a:lnTo>
                <a:lnTo>
                  <a:pt x="99" y="210"/>
                </a:lnTo>
                <a:lnTo>
                  <a:pt x="84" y="207"/>
                </a:lnTo>
                <a:lnTo>
                  <a:pt x="77" y="195"/>
                </a:lnTo>
                <a:lnTo>
                  <a:pt x="68" y="182"/>
                </a:lnTo>
                <a:lnTo>
                  <a:pt x="57" y="165"/>
                </a:lnTo>
                <a:lnTo>
                  <a:pt x="44" y="156"/>
                </a:lnTo>
                <a:lnTo>
                  <a:pt x="36" y="150"/>
                </a:lnTo>
                <a:lnTo>
                  <a:pt x="20" y="144"/>
                </a:lnTo>
                <a:lnTo>
                  <a:pt x="14" y="159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rgbClr val="B4B4B4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431" name="Rectangle 68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3515054" y="5047126"/>
            <a:ext cx="586699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Enugu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32" name="Rectangle 69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3333632" y="5750095"/>
            <a:ext cx="363882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Imo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33" name="Rectangle 70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3733733" y="6125876"/>
            <a:ext cx="991297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Akwalbom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34" name="Oval 71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 rot="1105096">
            <a:off x="1235940" y="3573158"/>
            <a:ext cx="3813104" cy="2278982"/>
          </a:xfrm>
          <a:prstGeom prst="ellipse">
            <a:avLst/>
          </a:prstGeom>
          <a:solidFill>
            <a:schemeClr val="accent2">
              <a:alpha val="47842"/>
            </a:schemeClr>
          </a:solidFill>
          <a:ln w="19050" algn="ctr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5435" name="Oval 75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 rot="-9925098">
            <a:off x="2488075" y="1412418"/>
            <a:ext cx="2954589" cy="1067412"/>
          </a:xfrm>
          <a:prstGeom prst="ellipse">
            <a:avLst/>
          </a:prstGeom>
          <a:noFill/>
          <a:ln w="19050" algn="ctr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5436" name="Oval 76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 rot="659458">
            <a:off x="950848" y="4221056"/>
            <a:ext cx="3864939" cy="1320093"/>
          </a:xfrm>
          <a:prstGeom prst="ellipse">
            <a:avLst/>
          </a:prstGeom>
          <a:solidFill>
            <a:schemeClr val="accent2">
              <a:alpha val="49019"/>
            </a:schemeClr>
          </a:solidFill>
          <a:ln w="19050" algn="ctr">
            <a:solidFill>
              <a:schemeClr val="folHlink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5437" name="Rectangle 77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5087919" y="2669340"/>
            <a:ext cx="62998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Bauchi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38" name="Rectangle 78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3714295" y="4012109"/>
            <a:ext cx="100739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Nassaraw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39" name="Rectangle 79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4310396" y="4676204"/>
            <a:ext cx="599523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Benue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40" name="Rectangle 80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3161929" y="5414808"/>
            <a:ext cx="857671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Anambr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41" name="Rectangle 81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3662460" y="5683686"/>
            <a:ext cx="418384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Abia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42" name="Rectangle 82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3926494" y="5207481"/>
            <a:ext cx="630494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Ebonyi</a:t>
            </a:r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5443" name="Rectangle 83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2287215" y="4400848"/>
            <a:ext cx="399148" cy="27699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>
                <a:solidFill>
                  <a:srgbClr val="5F5F5F"/>
                </a:solidFill>
              </a:rPr>
              <a:t>Ekiti</a:t>
            </a:r>
          </a:p>
        </p:txBody>
      </p:sp>
      <p:graphicFrame>
        <p:nvGraphicFramePr>
          <p:cNvPr id="15362" name="Object 86" hidden="1"/>
          <p:cNvGraphicFramePr>
            <a:graphicFrameLocks noChangeAspect="1"/>
          </p:cNvGraphicFramePr>
          <p:nvPr>
            <p:custDataLst>
              <p:tags r:id="rId5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62" imgW="360" imgH="360" progId="">
                  <p:embed/>
                </p:oleObj>
              </mc:Choice>
              <mc:Fallback>
                <p:oleObj name="think-cell Slide" r:id="rId62" imgW="360" imgH="360" progId="">
                  <p:embed/>
                  <p:pic>
                    <p:nvPicPr>
                      <p:cNvPr id="15362" name="Object 8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44" name="McK 5. Source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121488" y="6566446"/>
            <a:ext cx="7002570" cy="1554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GB" sz="1000" dirty="0"/>
              <a:t>SOURCE: Monitor; USAID; WB; IFDC; IFAD; team analysis – from Isaac </a:t>
            </a:r>
            <a:r>
              <a:rPr lang="en-GB" sz="1000" dirty="0" err="1"/>
              <a:t>Okarofor</a:t>
            </a:r>
            <a:r>
              <a:rPr lang="en-GB" sz="1000" dirty="0"/>
              <a:t>, 2011</a:t>
            </a:r>
          </a:p>
        </p:txBody>
      </p:sp>
      <p:sp>
        <p:nvSpPr>
          <p:cNvPr id="15445" name="Line 89"/>
          <p:cNvSpPr>
            <a:spLocks noChangeShapeType="1"/>
          </p:cNvSpPr>
          <p:nvPr>
            <p:custDataLst>
              <p:tags r:id="rId54"/>
            </p:custDataLst>
          </p:nvPr>
        </p:nvSpPr>
        <p:spPr bwMode="gray">
          <a:xfrm rot="10800000" flipH="1" flipV="1">
            <a:off x="988103" y="1595449"/>
            <a:ext cx="1530750" cy="0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 type="oval" w="med" len="med"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446" name="Line 91"/>
          <p:cNvSpPr>
            <a:spLocks noChangeShapeType="1"/>
          </p:cNvSpPr>
          <p:nvPr>
            <p:custDataLst>
              <p:tags r:id="rId55"/>
            </p:custDataLst>
          </p:nvPr>
        </p:nvSpPr>
        <p:spPr bwMode="gray">
          <a:xfrm rot="10800000" flipH="1">
            <a:off x="592862" y="5081141"/>
            <a:ext cx="779144" cy="521558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 type="oval" w="med" len="med"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15447" name="Line 93"/>
          <p:cNvSpPr>
            <a:spLocks noChangeShapeType="1"/>
          </p:cNvSpPr>
          <p:nvPr>
            <p:custDataLst>
              <p:tags r:id="rId56"/>
            </p:custDataLst>
          </p:nvPr>
        </p:nvSpPr>
        <p:spPr bwMode="gray">
          <a:xfrm flipH="1">
            <a:off x="4715357" y="4480214"/>
            <a:ext cx="2510753" cy="0"/>
          </a:xfrm>
          <a:prstGeom prst="line">
            <a:avLst/>
          </a:prstGeom>
          <a:noFill/>
          <a:ln w="28575">
            <a:solidFill>
              <a:schemeClr val="hlink"/>
            </a:solidFill>
            <a:round/>
            <a:headEnd/>
            <a:tailEnd type="oval" w="med" len="med"/>
          </a:ln>
        </p:spPr>
        <p:txBody>
          <a:bodyPr lIns="93296" tIns="46648" rIns="93296" bIns="46648"/>
          <a:lstStyle/>
          <a:p>
            <a:endParaRPr lang="en-US"/>
          </a:p>
        </p:txBody>
      </p:sp>
      <p:sp>
        <p:nvSpPr>
          <p:cNvPr id="707678" name="Rectangle 94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7227728" y="4198379"/>
            <a:ext cx="1349328" cy="526418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3296" tIns="46648" rIns="93296" bIns="46648" anchor="ctr"/>
          <a:lstStyle/>
          <a:p>
            <a:pPr algn="ctr" defTabSz="913526">
              <a:defRPr/>
            </a:pPr>
            <a:r>
              <a:rPr lang="en-ZA" sz="1600" dirty="0">
                <a:solidFill>
                  <a:schemeClr val="bg1"/>
                </a:solidFill>
              </a:rPr>
              <a:t>Oil-Palm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07681" name="Rectangle 97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129588" y="1346009"/>
            <a:ext cx="970285" cy="497261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3296" tIns="46648" rIns="93296" bIns="46648" anchor="ctr"/>
          <a:lstStyle/>
          <a:p>
            <a:pPr algn="ctr" defTabSz="913526">
              <a:defRPr/>
            </a:pPr>
            <a:r>
              <a:rPr lang="en-ZA" sz="1500" dirty="0">
                <a:solidFill>
                  <a:srgbClr val="FFFFFF"/>
                </a:solidFill>
              </a:rPr>
              <a:t>Leather</a:t>
            </a:r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707682" name="Rectangle 98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108530" y="5628615"/>
            <a:ext cx="970284" cy="547474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3296" tIns="46648" rIns="93296" bIns="46648" anchor="ctr"/>
          <a:lstStyle/>
          <a:p>
            <a:pPr algn="ctr" defTabSz="913526">
              <a:defRPr/>
            </a:pPr>
            <a:r>
              <a:rPr lang="en-ZA" sz="1600" dirty="0">
                <a:solidFill>
                  <a:schemeClr val="bg1"/>
                </a:solidFill>
              </a:rPr>
              <a:t>Cocoa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 flipH="1">
            <a:off x="5090349" y="5508753"/>
            <a:ext cx="3923906" cy="59665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lIns="93296" tIns="46648" rIns="93296" bIns="46648">
            <a:spAutoFit/>
            <a:scene3d>
              <a:camera prst="orthographicFront"/>
              <a:lightRig rig="sunset" dir="t"/>
            </a:scene3d>
          </a:bodyPr>
          <a:lstStyle/>
          <a:p>
            <a:pPr>
              <a:defRPr/>
            </a:pPr>
            <a:r>
              <a:rPr lang="en-US" sz="1600" dirty="0">
                <a:solidFill>
                  <a:schemeClr val="bg1"/>
                </a:solidFill>
                <a:latin typeface="Cambria" pitchFamily="18" charset="0"/>
              </a:rPr>
              <a:t>NIRSAL also recognizes AQUACULTURE as one of the pilot investment areas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Policy, program and project budgeting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1537E75-76E1-42BD-BC40-15A64BF519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dirty="0"/>
              <a:t>We take Aquaculture Value chain </a:t>
            </a:r>
          </a:p>
          <a:p>
            <a:r>
              <a:rPr lang="en-US" sz="3200" dirty="0"/>
              <a:t>Review the budgeting process</a:t>
            </a:r>
          </a:p>
          <a:p>
            <a:r>
              <a:rPr lang="en-US" sz="3200" dirty="0"/>
              <a:t>Look at the value chain elements</a:t>
            </a:r>
          </a:p>
          <a:p>
            <a:r>
              <a:rPr lang="en-US" sz="3200" dirty="0"/>
              <a:t>What are the sub sectors of the Aquaculture sector</a:t>
            </a:r>
          </a:p>
          <a:p>
            <a:endParaRPr lang="en-US" sz="3200" dirty="0"/>
          </a:p>
          <a:p>
            <a:r>
              <a:rPr lang="en-US" sz="3200" dirty="0"/>
              <a:t>Systemic approach to budgeting</a:t>
            </a:r>
          </a:p>
          <a:p>
            <a:endParaRPr lang="en-US" sz="3200" dirty="0"/>
          </a:p>
          <a:p>
            <a:endParaRPr lang="en-US" sz="32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1178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AB675-D2BC-4513-9A90-3A032EC5F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729894"/>
          </a:xfrm>
        </p:spPr>
        <p:txBody>
          <a:bodyPr/>
          <a:lstStyle/>
          <a:p>
            <a:r>
              <a:rPr lang="en-US" dirty="0"/>
              <a:t>Aquaculture Value Chain – Source: FMARD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134EAE4-916D-4D99-B397-4E6E4EBDD0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955965"/>
            <a:ext cx="8359486" cy="545522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E7D5C5A-BE14-4ABA-9F21-28498F7BFFEB}"/>
              </a:ext>
            </a:extLst>
          </p:cNvPr>
          <p:cNvSpPr/>
          <p:nvPr/>
        </p:nvSpPr>
        <p:spPr>
          <a:xfrm>
            <a:off x="665018" y="6492872"/>
            <a:ext cx="3345873" cy="1780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  <p:extLst>
      <p:ext uri="{BB962C8B-B14F-4D97-AF65-F5344CB8AC3E}">
        <p14:creationId xmlns:p14="http://schemas.microsoft.com/office/powerpoint/2010/main" val="718713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 fontScale="92500" lnSpcReduction="2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Introductio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Budgeting Governmen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Policy based Budget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Investment strateg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Task based budget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Budget track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Redefining the Budge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Conclusions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9895119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B2F355B-FD34-42F3-83C2-A40B0B6427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124691"/>
            <a:ext cx="8047759" cy="605227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6CDF3A2-202B-430D-A2E4-61BB8662F697}"/>
              </a:ext>
            </a:extLst>
          </p:cNvPr>
          <p:cNvSpPr/>
          <p:nvPr/>
        </p:nvSpPr>
        <p:spPr>
          <a:xfrm>
            <a:off x="665018" y="6057900"/>
            <a:ext cx="3345873" cy="1870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  <p:extLst>
      <p:ext uri="{BB962C8B-B14F-4D97-AF65-F5344CB8AC3E}">
        <p14:creationId xmlns:p14="http://schemas.microsoft.com/office/powerpoint/2010/main" val="26323084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4E87EA4-A535-4CDC-9165-3C627591D6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6808" y="-103910"/>
            <a:ext cx="8395855" cy="680604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E380614-A5AF-40A5-A915-ABB0F5F09FDB}"/>
              </a:ext>
            </a:extLst>
          </p:cNvPr>
          <p:cNvSpPr/>
          <p:nvPr/>
        </p:nvSpPr>
        <p:spPr>
          <a:xfrm>
            <a:off x="665018" y="6442364"/>
            <a:ext cx="3345873" cy="3429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  <p:extLst>
      <p:ext uri="{BB962C8B-B14F-4D97-AF65-F5344CB8AC3E}">
        <p14:creationId xmlns:p14="http://schemas.microsoft.com/office/powerpoint/2010/main" val="7211370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90609D9-C045-4813-A01F-3BD358641E5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4073" y="1"/>
            <a:ext cx="8769927" cy="676448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ACF380F-12AB-40A7-A1FB-724FAE0C6C1F}"/>
              </a:ext>
            </a:extLst>
          </p:cNvPr>
          <p:cNvSpPr/>
          <p:nvPr/>
        </p:nvSpPr>
        <p:spPr>
          <a:xfrm>
            <a:off x="665018" y="6473536"/>
            <a:ext cx="3345873" cy="20781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  <p:extLst>
      <p:ext uri="{BB962C8B-B14F-4D97-AF65-F5344CB8AC3E}">
        <p14:creationId xmlns:p14="http://schemas.microsoft.com/office/powerpoint/2010/main" val="21558467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00B27D7-CB49-442D-9226-C9AC1C7252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650" y="0"/>
            <a:ext cx="7886700" cy="613819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2FEB0D9-5193-4263-B6AA-B89F53B45705}"/>
              </a:ext>
            </a:extLst>
          </p:cNvPr>
          <p:cNvSpPr/>
          <p:nvPr/>
        </p:nvSpPr>
        <p:spPr>
          <a:xfrm>
            <a:off x="665018" y="6057900"/>
            <a:ext cx="3345873" cy="1870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  <p:extLst>
      <p:ext uri="{BB962C8B-B14F-4D97-AF65-F5344CB8AC3E}">
        <p14:creationId xmlns:p14="http://schemas.microsoft.com/office/powerpoint/2010/main" val="27534681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Expected Outputs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3200" dirty="0"/>
          </a:p>
          <a:p>
            <a:pPr lvl="0"/>
            <a:r>
              <a:rPr lang="en-US" sz="3200" dirty="0"/>
              <a:t>1.25 billion fish seeds per annum</a:t>
            </a:r>
          </a:p>
          <a:p>
            <a:pPr lvl="0"/>
            <a:r>
              <a:rPr lang="en-US" sz="3200" dirty="0"/>
              <a:t>Production of 400,000MT of fish feed per year</a:t>
            </a:r>
          </a:p>
          <a:p>
            <a:pPr lvl="0"/>
            <a:r>
              <a:rPr lang="en-US" sz="3200" dirty="0"/>
              <a:t>Production of 250,000MT of table size fish in a year</a:t>
            </a:r>
          </a:p>
          <a:p>
            <a:pPr lvl="0"/>
            <a:r>
              <a:rPr lang="en-US" sz="3200" dirty="0"/>
              <a:t>Create 100,000 jobs per annum for the next five years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4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054CC4-5FF0-489B-9BEC-92B7138E1764}"/>
              </a:ext>
            </a:extLst>
          </p:cNvPr>
          <p:cNvSpPr/>
          <p:nvPr/>
        </p:nvSpPr>
        <p:spPr>
          <a:xfrm>
            <a:off x="665018" y="6057900"/>
            <a:ext cx="3345873" cy="1870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  <p:extLst>
      <p:ext uri="{BB962C8B-B14F-4D97-AF65-F5344CB8AC3E}">
        <p14:creationId xmlns:p14="http://schemas.microsoft.com/office/powerpoint/2010/main" val="26956164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9AAB4-D11F-42A0-AD63-0FC0B60B5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edefining budget – midcourse correction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EAD14F2-D89E-4149-8B8D-3419477612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6973" y="1101436"/>
            <a:ext cx="8250382" cy="528897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310357E-A8B8-40BD-BCAF-B15D09C8E44C}"/>
              </a:ext>
            </a:extLst>
          </p:cNvPr>
          <p:cNvSpPr/>
          <p:nvPr/>
        </p:nvSpPr>
        <p:spPr>
          <a:xfrm>
            <a:off x="665018" y="6492874"/>
            <a:ext cx="3345873" cy="2716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  <p:extLst>
      <p:ext uri="{BB962C8B-B14F-4D97-AF65-F5344CB8AC3E}">
        <p14:creationId xmlns:p14="http://schemas.microsoft.com/office/powerpoint/2010/main" val="41401947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Budget track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/>
          </a:bodyPr>
          <a:lstStyle/>
          <a:p>
            <a:r>
              <a:rPr lang="en-GB" sz="2400" b="1" dirty="0"/>
              <a:t>Research and Development  - ARCN</a:t>
            </a:r>
          </a:p>
          <a:p>
            <a:r>
              <a:rPr lang="en-GB" sz="2400" b="1" dirty="0"/>
              <a:t>Export promotion of crops, livestock, and fisheries</a:t>
            </a:r>
            <a:endParaRPr lang="en-US" sz="2400" dirty="0"/>
          </a:p>
          <a:p>
            <a:r>
              <a:rPr lang="en-GB" sz="2400" b="1" dirty="0"/>
              <a:t>Irrigation development</a:t>
            </a:r>
            <a:endParaRPr lang="en-US" sz="2400" dirty="0"/>
          </a:p>
          <a:p>
            <a:r>
              <a:rPr lang="en-GB" sz="2400" b="1" dirty="0"/>
              <a:t>Promotion of Mechanization</a:t>
            </a:r>
            <a:endParaRPr lang="en-US" sz="2400" dirty="0"/>
          </a:p>
          <a:p>
            <a:r>
              <a:rPr lang="en-GB" sz="2400" b="1" dirty="0"/>
              <a:t>Improved technology and innovation – cultivars, breeds, and brood stock</a:t>
            </a:r>
            <a:endParaRPr lang="en-US" sz="2400" dirty="0"/>
          </a:p>
          <a:p>
            <a:r>
              <a:rPr lang="en-GB" sz="2400" b="1" dirty="0"/>
              <a:t>Extension  System development </a:t>
            </a:r>
            <a:endParaRPr lang="en-US" sz="2400" dirty="0"/>
          </a:p>
          <a:p>
            <a:r>
              <a:rPr lang="en-GB" sz="2400" b="1" dirty="0"/>
              <a:t>Veterinary  services including vaccines and disease control</a:t>
            </a:r>
            <a:endParaRPr lang="en-US" sz="2400" dirty="0"/>
          </a:p>
          <a:p>
            <a:r>
              <a:rPr lang="en-GB" sz="2400" b="1" dirty="0"/>
              <a:t>Inputs supply and distribution</a:t>
            </a:r>
            <a:endParaRPr lang="en-US" sz="2400" dirty="0"/>
          </a:p>
          <a:p>
            <a:pPr>
              <a:buFont typeface="Wingdings" panose="05000000000000000000" pitchFamily="2" charset="2"/>
              <a:buChar char="§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62497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Investment based budge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Shenggen Fan et al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Where to invest for maximum return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Roads, Research, extension rank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Seed systems or input supply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National Agricultural Investment Plans</a:t>
            </a:r>
          </a:p>
        </p:txBody>
      </p:sp>
    </p:spTree>
    <p:extLst>
      <p:ext uri="{BB962C8B-B14F-4D97-AF65-F5344CB8AC3E}">
        <p14:creationId xmlns:p14="http://schemas.microsoft.com/office/powerpoint/2010/main" val="13543222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endParaRPr lang="en-US" sz="4000" dirty="0"/>
          </a:p>
          <a:p>
            <a:pPr>
              <a:buFont typeface="Wingdings" panose="05000000000000000000" pitchFamily="2" charset="2"/>
              <a:buChar char="§"/>
            </a:pPr>
            <a:endParaRPr lang="en-US" sz="40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Thank you  - Q &amp; A</a:t>
            </a:r>
          </a:p>
        </p:txBody>
      </p:sp>
    </p:spTree>
    <p:extLst>
      <p:ext uri="{BB962C8B-B14F-4D97-AF65-F5344CB8AC3E}">
        <p14:creationId xmlns:p14="http://schemas.microsoft.com/office/powerpoint/2010/main" val="1403154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 fontScale="85000" lnSpcReduction="2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Why Budgeting process is a concern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Objective based budget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Components of a budge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Subsector budge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Value chain budgets (ATA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Policy, program and project budget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Allocation, disbursement, spending and account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What are the best practices?</a:t>
            </a:r>
          </a:p>
        </p:txBody>
      </p:sp>
    </p:spTree>
    <p:extLst>
      <p:ext uri="{BB962C8B-B14F-4D97-AF65-F5344CB8AC3E}">
        <p14:creationId xmlns:p14="http://schemas.microsoft.com/office/powerpoint/2010/main" val="14060067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Budgeting in Govern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Annual proces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Federal allocation and reallocation to sector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Managing resources to get the maximum benefit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Setting priorities for progres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Donor funds and budget suppor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Decentralized resource allocation</a:t>
            </a:r>
          </a:p>
        </p:txBody>
      </p:sp>
    </p:spTree>
    <p:extLst>
      <p:ext uri="{BB962C8B-B14F-4D97-AF65-F5344CB8AC3E}">
        <p14:creationId xmlns:p14="http://schemas.microsoft.com/office/powerpoint/2010/main" val="21871345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Objective based budge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 fontScale="85000" lnSpcReduction="20000"/>
          </a:bodyPr>
          <a:lstStyle/>
          <a:p>
            <a:pPr marL="342900" lvl="0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000" b="1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NEEDS- 2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Food security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Land Reforms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Agricultural Extension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Commercialization of agriculture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Post harvest management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Agriculture- Industry Linkages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Research and Training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Subsidies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Appropriate technologies</a:t>
            </a:r>
          </a:p>
          <a:p>
            <a:pPr marL="342900" lvl="0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endParaRPr lang="en-US" altLang="en-US" sz="2600" dirty="0">
              <a:solidFill>
                <a:srgbClr val="006600"/>
              </a:solidFill>
              <a:latin typeface="Arial"/>
              <a:ea typeface="+mn-ea"/>
              <a:cs typeface="+mn-cs"/>
            </a:endParaRPr>
          </a:p>
          <a:p>
            <a:pPr marL="342900" lvl="0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None/>
            </a:pPr>
            <a:endParaRPr lang="en-US" altLang="en-US" sz="2600" b="1" dirty="0">
              <a:solidFill>
                <a:srgbClr val="006600"/>
              </a:solidFill>
              <a:latin typeface="Arial"/>
              <a:ea typeface="+mn-ea"/>
              <a:cs typeface="+mn-cs"/>
            </a:endParaRPr>
          </a:p>
          <a:p>
            <a:pPr marL="342900" lvl="0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b="1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7 Point Agenda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Food Security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Wealth Creation through Agriculture</a:t>
            </a:r>
          </a:p>
          <a:p>
            <a:pPr marL="685800" lvl="1" indent="-342900" defTabSz="9144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C0B430"/>
              </a:buClr>
              <a:buFont typeface="Wingdings" panose="05000000000000000000" pitchFamily="2" charset="2"/>
              <a:buChar char="§"/>
            </a:pPr>
            <a:r>
              <a:rPr lang="en-US" altLang="en-US" sz="2600" dirty="0">
                <a:solidFill>
                  <a:srgbClr val="006600"/>
                </a:solidFill>
                <a:latin typeface="Arial"/>
                <a:ea typeface="+mn-ea"/>
                <a:cs typeface="+mn-cs"/>
              </a:rPr>
              <a:t>Land Reforms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3355521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Policy Based budg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63782"/>
            <a:ext cx="7886700" cy="5340927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en-US" sz="4000" dirty="0"/>
              <a:t>Fertilizer subsidy in Malawi</a:t>
            </a:r>
          </a:p>
          <a:p>
            <a:pPr marL="0" indent="0">
              <a:buNone/>
            </a:pPr>
            <a:endParaRPr lang="en-US" sz="4000" dirty="0"/>
          </a:p>
          <a:p>
            <a:pPr marL="342900" lvl="0" indent="-342900" defTabSz="91440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en-US" altLang="en-US" sz="24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FISP: Major opportunities exist to reform FISP by making it part of Malawi Social Safety Net Program. </a:t>
            </a:r>
          </a:p>
          <a:p>
            <a:pPr marL="0" lvl="0" indent="0" defTabSz="91440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None/>
            </a:pPr>
            <a:endParaRPr lang="en-US" altLang="en-US" sz="2400" b="1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342900" lvl="0" indent="-342900" defTabSz="91440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en-US" altLang="en-US" sz="24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ADMARC: Development Partners (DPs) need to do more research into how much ADMARC’s operations distort maize prices and  affect food security in Malawi.</a:t>
            </a:r>
          </a:p>
          <a:p>
            <a:pPr marL="342900" lvl="0" indent="-342900" defTabSz="91440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endParaRPr lang="en-US" altLang="en-US" sz="2400" b="1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342900" lvl="0" indent="-342900" defTabSz="91440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en-US" altLang="en-US" sz="24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Seed Policy: DPs need to ascertain positions of key GOM stakeholders and make a stronger financial case for creating a semi-autonomous seed commission.  </a:t>
            </a:r>
          </a:p>
          <a:p>
            <a:endParaRPr lang="en-US" altLang="en-US" sz="2400" b="1" dirty="0"/>
          </a:p>
          <a:p>
            <a:endParaRPr lang="en-US" altLang="en-US" sz="1500" b="1" dirty="0"/>
          </a:p>
          <a:p>
            <a:pPr marL="0" indent="0">
              <a:buNone/>
            </a:pPr>
            <a:endParaRPr lang="en-US" altLang="en-US" sz="1500" b="1" dirty="0"/>
          </a:p>
          <a:p>
            <a:r>
              <a:rPr lang="en-US" altLang="en-US" sz="1500" b="1" dirty="0"/>
              <a:t>Source: Chingaipe and Hoffman (2017)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8484537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7326"/>
            <a:ext cx="788670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Value chain based budg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85359"/>
            <a:ext cx="7886700" cy="4351338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ATA in Nigeria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Agricultural transformation Investment Council (ATIC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Agricultural Investment Transformatio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NIRSAL Agricultural Transformation Implementation Group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6979366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Title 11">
            <a:extLst>
              <a:ext uri="{FF2B5EF4-FFF2-40B4-BE49-F238E27FC236}">
                <a16:creationId xmlns:a16="http://schemas.microsoft.com/office/drawing/2014/main" id="{CCBCBF59-3E8F-4189-9B5C-932B09761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39" y="280217"/>
            <a:ext cx="8944231" cy="712688"/>
          </a:xfrm>
        </p:spPr>
        <p:txBody>
          <a:bodyPr vert="horz" lIns="91431" tIns="45716" rIns="91431" bIns="45716" rtlCol="0" anchor="ctr">
            <a:normAutofit/>
          </a:bodyPr>
          <a:lstStyle/>
          <a:p>
            <a:pPr algn="ctr"/>
            <a:r>
              <a:rPr lang="en-US" altLang="en-US" sz="2449" b="1" dirty="0">
                <a:solidFill>
                  <a:schemeClr val="tx1"/>
                </a:solidFill>
              </a:rPr>
              <a:t>Key policies Identified under ATA (FMARD)</a:t>
            </a:r>
            <a:endParaRPr lang="en-US" altLang="en-US" sz="1837" b="1" dirty="0">
              <a:solidFill>
                <a:schemeClr val="tx1"/>
              </a:solidFill>
            </a:endParaRPr>
          </a:p>
        </p:txBody>
      </p:sp>
      <p:sp>
        <p:nvSpPr>
          <p:cNvPr id="9219" name="Slide Number Placeholder 6">
            <a:extLst>
              <a:ext uri="{FF2B5EF4-FFF2-40B4-BE49-F238E27FC236}">
                <a16:creationId xmlns:a16="http://schemas.microsoft.com/office/drawing/2014/main" id="{1A9D4D68-AF4F-4C94-81C4-B8E5DD708A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6749" y="6511376"/>
            <a:ext cx="427613" cy="366062"/>
          </a:xfrm>
        </p:spPr>
        <p:txBody>
          <a:bodyPr vert="horz" lIns="91431" tIns="45716" rIns="91431" bIns="45716" rtlCol="0" anchor="ctr"/>
          <a:lstStyle>
            <a:lvl1pPr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8032" indent="-29155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6203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2684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9165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5646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32128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8609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5090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</a:pPr>
            <a:fld id="{8F440F9F-940D-4ECC-A304-7D6CABDAAF98}" type="slidenum">
              <a:rPr lang="en-US" altLang="en-US" sz="1020">
                <a:solidFill>
                  <a:schemeClr val="bg1"/>
                </a:solidFill>
              </a:rPr>
              <a:pPr eaLnBrk="1" hangingPunct="1">
                <a:buClr>
                  <a:schemeClr val="tx1"/>
                </a:buClr>
              </a:pPr>
              <a:t>8</a:t>
            </a:fld>
            <a:endParaRPr lang="en-US" altLang="en-US" sz="1020">
              <a:solidFill>
                <a:schemeClr val="bg1"/>
              </a:solidFill>
            </a:endParaRPr>
          </a:p>
        </p:txBody>
      </p:sp>
      <p:sp>
        <p:nvSpPr>
          <p:cNvPr id="48134" name="Rectangle 63">
            <a:extLst>
              <a:ext uri="{FF2B5EF4-FFF2-40B4-BE49-F238E27FC236}">
                <a16:creationId xmlns:a16="http://schemas.microsoft.com/office/drawing/2014/main" id="{101117F5-5ABD-4730-B018-B00C8344F9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1080371"/>
            <a:ext cx="8743383" cy="467914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marL="1619" lvl="1" defTabSz="911906">
              <a:buClr>
                <a:schemeClr val="tx1"/>
              </a:buClr>
              <a:buSzPct val="120000"/>
              <a:defRPr/>
            </a:pPr>
            <a:r>
              <a:rPr lang="en-US" sz="2041" b="1" u="sng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Agricultural Policies </a:t>
            </a: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endParaRPr lang="en-US" sz="2041" b="1" dirty="0">
              <a:solidFill>
                <a:srgbClr val="000000"/>
              </a:solidFill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Liberalize foundation seed policy to allow private sector to commercialize seeds 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Eliminate government distribution of fertilizers and replace with private sector distribution 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Move away from a flat fertilizer price subsidy to targeted support to small holder farmers 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Incentives to engage young commercial farmers for farming as a business</a:t>
            </a: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  <a:p>
            <a:pPr indent="-464862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A6E1487-711C-410C-9335-E343F433DF4C}"/>
              </a:ext>
            </a:extLst>
          </p:cNvPr>
          <p:cNvSpPr/>
          <p:nvPr/>
        </p:nvSpPr>
        <p:spPr>
          <a:xfrm>
            <a:off x="945573" y="5846986"/>
            <a:ext cx="3065318" cy="3979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FMARD)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Title 11">
            <a:extLst>
              <a:ext uri="{FF2B5EF4-FFF2-40B4-BE49-F238E27FC236}">
                <a16:creationId xmlns:a16="http://schemas.microsoft.com/office/drawing/2014/main" id="{5DD126D4-5FFC-4025-B14B-EDC27508E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39" y="280217"/>
            <a:ext cx="8944231" cy="712688"/>
          </a:xfrm>
        </p:spPr>
        <p:txBody>
          <a:bodyPr vert="horz" lIns="91431" tIns="45716" rIns="91431" bIns="45716" rtlCol="0" anchor="ctr">
            <a:normAutofit/>
          </a:bodyPr>
          <a:lstStyle/>
          <a:p>
            <a:r>
              <a:rPr lang="en-US" altLang="en-US" sz="2449" dirty="0">
                <a:solidFill>
                  <a:schemeClr val="tx1"/>
                </a:solidFill>
              </a:rPr>
              <a:t>Key policies for success (FMARD)</a:t>
            </a:r>
            <a:endParaRPr lang="en-US" altLang="en-US" sz="1837" dirty="0"/>
          </a:p>
        </p:txBody>
      </p:sp>
      <p:sp>
        <p:nvSpPr>
          <p:cNvPr id="9219" name="Slide Number Placeholder 6">
            <a:extLst>
              <a:ext uri="{FF2B5EF4-FFF2-40B4-BE49-F238E27FC236}">
                <a16:creationId xmlns:a16="http://schemas.microsoft.com/office/drawing/2014/main" id="{01EBF5EF-A284-407B-AFE7-B595EE4477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36749" y="6511376"/>
            <a:ext cx="427613" cy="366062"/>
          </a:xfrm>
        </p:spPr>
        <p:txBody>
          <a:bodyPr vert="horz" lIns="91431" tIns="45716" rIns="91431" bIns="45716" rtlCol="0" anchor="ctr"/>
          <a:lstStyle>
            <a:lvl1pPr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8032" indent="-29155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6203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2684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9165" indent="-233241" eaLnBrk="0" hangingPunct="0"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5646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32128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8609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5090" indent="-233241" eaLnBrk="0" fontAlgn="base" hangingPunct="0">
              <a:spcBef>
                <a:spcPct val="0"/>
              </a:spcBef>
              <a:spcAft>
                <a:spcPct val="0"/>
              </a:spcAft>
              <a:defRPr sz="1224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</a:pPr>
            <a:fld id="{B5A36D99-6DB4-45B0-8279-7170D6FBE340}" type="slidenum">
              <a:rPr lang="en-US" altLang="en-US" sz="1020">
                <a:solidFill>
                  <a:schemeClr val="bg1"/>
                </a:solidFill>
              </a:rPr>
              <a:pPr eaLnBrk="1" hangingPunct="1">
                <a:buClr>
                  <a:schemeClr val="tx1"/>
                </a:buClr>
              </a:pPr>
              <a:t>9</a:t>
            </a:fld>
            <a:endParaRPr lang="en-US" altLang="en-US" sz="1020">
              <a:solidFill>
                <a:schemeClr val="bg1"/>
              </a:solidFill>
            </a:endParaRPr>
          </a:p>
        </p:txBody>
      </p:sp>
      <p:sp>
        <p:nvSpPr>
          <p:cNvPr id="48134" name="Rectangle 63">
            <a:extLst>
              <a:ext uri="{FF2B5EF4-FFF2-40B4-BE49-F238E27FC236}">
                <a16:creationId xmlns:a16="http://schemas.microsoft.com/office/drawing/2014/main" id="{9304CB8C-223E-42D0-B3E4-EE487B6C20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95" y="1080371"/>
            <a:ext cx="8743383" cy="57168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marL="1619" lvl="1" defTabSz="911906">
              <a:buClr>
                <a:schemeClr val="tx1"/>
              </a:buClr>
              <a:buSzPct val="120000"/>
              <a:defRPr/>
            </a:pPr>
            <a:r>
              <a:rPr lang="en-US" sz="2041" b="1" u="sng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Agricultural Policies </a:t>
            </a:r>
          </a:p>
          <a:p>
            <a:pPr marL="1619" lvl="1" defTabSz="911906">
              <a:buClr>
                <a:schemeClr val="tx1"/>
              </a:buClr>
              <a:buSzPct val="120000"/>
              <a:defRPr/>
            </a:pPr>
            <a:endParaRPr lang="en-US" sz="2041" b="1" dirty="0">
              <a:solidFill>
                <a:srgbClr val="000000"/>
              </a:solidFill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Create institutions to support the agricultural transformation agenda </a:t>
            </a:r>
          </a:p>
          <a:p>
            <a:pPr marL="468100" lvl="2" defTabSz="911906">
              <a:buClr>
                <a:schemeClr val="tx1"/>
              </a:buClr>
              <a:buSzPct val="100000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1284442" lvl="3" indent="-349861" defTabSz="911906">
              <a:buClr>
                <a:schemeClr val="tx1"/>
              </a:buClr>
              <a:buSzPct val="100000"/>
              <a:buFont typeface="Wingdings" pitchFamily="2" charset="2"/>
              <a:buChar char="ü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Marketing Corporations, to replace marketing boards </a:t>
            </a:r>
          </a:p>
          <a:p>
            <a:pPr marL="1226132" lvl="3" indent="-291551" defTabSz="911906">
              <a:buClr>
                <a:schemeClr val="tx1"/>
              </a:buClr>
              <a:buSzPct val="100000"/>
              <a:buFont typeface="Wingdings" pitchFamily="2" charset="2"/>
              <a:buChar char="ü"/>
              <a:defRPr/>
            </a:pPr>
            <a:endParaRPr lang="en-US" sz="1837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haroni" pitchFamily="2" charset="-79"/>
            </a:endParaRPr>
          </a:p>
          <a:p>
            <a:pPr marL="1284442" lvl="3" indent="-349861" defTabSz="911906">
              <a:buClr>
                <a:schemeClr val="tx1"/>
              </a:buClr>
              <a:buSzPct val="100000"/>
              <a:buFont typeface="Wingdings" pitchFamily="2" charset="2"/>
              <a:buChar char="ü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Transform the Agricultural Research Council (ARCN) to a National Agricultural Transformation Agency like EMPRAPA that transformed Brazilian agriculture</a:t>
            </a:r>
          </a:p>
          <a:p>
            <a:pPr marL="1284442" lvl="3" indent="-349861" defTabSz="911906">
              <a:buClr>
                <a:schemeClr val="tx1"/>
              </a:buClr>
              <a:buSzPct val="100000"/>
              <a:buFont typeface="+mj-lt"/>
              <a:buAutoNum type="arabicPeriod"/>
              <a:defRPr/>
            </a:pPr>
            <a:endParaRPr lang="en-US" sz="1837" dirty="0">
              <a:solidFill>
                <a:srgbClr val="000000"/>
              </a:solidFill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 startAt="2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Guaranteed minimum price for food crops 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 startAt="2"/>
              <a:defRPr/>
            </a:pPr>
            <a:endParaRPr lang="en-US" sz="1837" dirty="0">
              <a:solidFill>
                <a:srgbClr val="000000"/>
              </a:solidFill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 startAt="2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Revise the Land Use Act</a:t>
            </a:r>
            <a:r>
              <a:rPr lang="en-US" sz="1837" dirty="0">
                <a:solidFill>
                  <a:srgbClr val="000000"/>
                </a:solidFill>
                <a:cs typeface="Aharoni" pitchFamily="2" charset="-79"/>
              </a:rPr>
              <a:t> </a:t>
            </a: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to enable easier access to land for investors in agriculture</a:t>
            </a: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 startAt="2"/>
              <a:defRPr/>
            </a:pPr>
            <a:endParaRPr lang="en-US" sz="1837" dirty="0">
              <a:solidFill>
                <a:srgbClr val="000000"/>
              </a:solidFill>
              <a:cs typeface="Aharoni" pitchFamily="2" charset="-79"/>
            </a:endParaRPr>
          </a:p>
          <a:p>
            <a:pPr marL="817961" lvl="2" indent="-349861" defTabSz="911906">
              <a:buClr>
                <a:schemeClr val="tx1"/>
              </a:buClr>
              <a:buSzPct val="100000"/>
              <a:buFont typeface="+mj-lt"/>
              <a:buAutoNum type="arabicPeriod" startAt="2"/>
              <a:defRPr/>
            </a:pPr>
            <a:r>
              <a:rPr lang="en-US" sz="1837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haroni" pitchFamily="2" charset="-79"/>
              </a:rPr>
              <a:t>Rapid expansion in irrigation facilities and revamping of existing ones</a:t>
            </a: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837" dirty="0">
              <a:solidFill>
                <a:srgbClr val="000000"/>
              </a:solidFill>
              <a:cs typeface="Arial" charset="0"/>
            </a:endParaRPr>
          </a:p>
          <a:p>
            <a:pPr marL="351480" lvl="1" indent="-349861" defTabSz="911906">
              <a:buClr>
                <a:schemeClr val="tx1"/>
              </a:buClr>
              <a:buSzPct val="120000"/>
              <a:buFont typeface="+mj-lt"/>
              <a:buAutoNum type="arabicPeriod"/>
              <a:defRPr/>
            </a:pPr>
            <a:endParaRPr lang="en-US" sz="1837" dirty="0">
              <a:solidFill>
                <a:srgbClr val="000000"/>
              </a:solidFill>
              <a:cs typeface="Arial" charset="0"/>
            </a:endParaRPr>
          </a:p>
          <a:p>
            <a:pPr marL="145775" lvl="1" indent="-144156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837" dirty="0">
              <a:solidFill>
                <a:srgbClr val="000000"/>
              </a:solidFill>
              <a:cs typeface="Arial" charset="0"/>
            </a:endParaRPr>
          </a:p>
          <a:p>
            <a:pPr indent="-464862" defTabSz="911906">
              <a:buClr>
                <a:schemeClr val="tx1"/>
              </a:buClr>
              <a:buSzPct val="120000"/>
              <a:buFont typeface="Wingdings" pitchFamily="2" charset="2"/>
              <a:buChar char="§"/>
              <a:defRPr/>
            </a:pPr>
            <a:endParaRPr lang="en-US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E2551DB-AA0C-47CA-BB4A-AFCC18CD3C45}"/>
              </a:ext>
            </a:extLst>
          </p:cNvPr>
          <p:cNvSpPr/>
          <p:nvPr/>
        </p:nvSpPr>
        <p:spPr>
          <a:xfrm>
            <a:off x="665018" y="6057900"/>
            <a:ext cx="3345873" cy="1870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urce: ATA ( FMARD)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VgOkIs8Ui7ibmRlZPD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2c6HdjzUeGtI4UuWurk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M4_gm3nkOiZ65tZ4FIM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BBG_sOnEiwrIcae3uAk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hijpXDMkOoMz1QcsWYA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SiWsIPr0OBLSxCNmTN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hfClNjV0WqoATgVumCQ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ILjewTQ0OALH4V4_wOt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Ir9F4_CE6Zza0vqHACV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ZlEuFWJ0iXuHwRiGEUw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3kYNvn10yEWZYCy1_I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pHmXvCBk62hKl4fud9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q3MFtn6E25qp7.htn1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xc4xEqE6OCCzQ2YeRb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WWv2VugE20bi2Z56yAm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45F0KOtUKO1zsxDTFUh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hBF1Sjf0ysRHo8GZuzb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L8VtLu5UyHhDiOxuKUB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.gwxjOFUGZH5tvuDC2v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QKeDgnDE.eJ6A16Qmr2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4Drc_vN0mU.A3InKvTs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013jydXkK3aPN140Rdl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NBDsGJvkuYBzLNsZrC_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wF7jjw6kybhwIMms1QEQ"/>
  <p:tag name="RESIZE" val="Yes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Nw7SNfZUmTgi8_gq0VQ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ZKiABOp0eGHI_fsOYOh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ATp_eSQkOVex4AVWF3v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romwcMM0SLXS8WsofV9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wDvzp550CVqB44tP1ch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tgF9OrKE2f9YHaueD7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V_LBLsU2AEvbxyuHG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C9olbEQUy9usVvIJtw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.RPbw4YkeY0UJOAjmV2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Fpc9s7uEGVe6P40l4b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ZgRLAVhkuBds0o4gK9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JuFCmKJUWQ.a_SYcN5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WEuER3GEm5zW1fCk9i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yT4XVf99PEe5mc5Za5eyN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DCjPBxkq1p5EA11.1_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9FUtLzp0GejStjitpd3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XM_fcmV0qPfLxeHXuD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VBaZnWfU6Ca6T58vzU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Qzarj_bUaHvlPJ_Ltr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HVe40QAEOZPdXb2OCx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_MGXa2BEa7.tY4Fier1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sfuUtrt06b0mEjQu6h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MZBGslHEuZcbeXyTSs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ktgFor8kO_Aw77Prfs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VgOkIs8Ui7ibmRlZPD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U8XmWNVEKeMJIkUH.G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ePkbmX5Ea.kx3NVDW8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YcSB.G0iQuQe6TwZp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M4_gm3nkOiZ65tZ4FI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BBG_sOnEiwrIcae3uA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hijpXDMkOoMz1QcsWY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SiWsIPr0OBLSxCNmTN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hfClNjV0WqoATgVumC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ILjewTQ0OALH4V4_wO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Ir9F4_CE6Zza0vqHAC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5MJdymoU.zN.FWfRq3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ZlEuFWJ0iXuHwRiGEU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3kYNvn10yEWZYCy1_I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pHmXvCBk62hKl4fud9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cYgT11e0qbicvre_18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wbZMDaKk6JFPR1K49M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XlOgKoA06xsDmcBY7Z9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xc4xEqE6OCCzQ2YeRb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WWv2VugE20bi2Z56yAm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45F0KOtUKO1zsxDTFUh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hBF1Sjf0ysRHo8GZuz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vPe0Qh90Ki0Y_pyY1o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L8VtLu5UyHhDiOxuKU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.gwxjOFUGZH5tvuDC2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QKeDgnDE.eJ6A16Qmr2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4Drc_vN0mU.A3InKvTs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013jydXkK3aPN140Rd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1Rvk_6f0qIV72lXtwDk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tTok2JVU2xUGgmOUtsi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wF7jjw6kybhwIMms1QEQ"/>
  <p:tag name="RESIZ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Nw7SNfZUmTgi8_gq0V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6yFY9uhUuIRxbvD.LD4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CuVpXOS06CzGFPwDxeF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ZKiABOp0eGHI_fsOYO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PTA.qDh0CjtJLMkR_ia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ATp_eSQkOVex4AVWF3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romwcMM0SLXS8WsofV9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PCID5J3UqbFli5GN7z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veB81yREOJ.bqqB7oZi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wDvzp550CVqB44tP1ch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tgF9OrKE2f9YHaueD7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yT4XVf99PEe5mc5Za5ey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2eGdJKjEuSiLzHXd8m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VgOkIs8Ui7ibmRlZPDE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5MJdymoU.zN.FWfRq3L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vPe0Qh90Ki0Y_pyY1o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6yFY9uhUuIRxbvD.LD4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2eGdJKjEuSiLzHXd8m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XXUeG.LEKoYd1aNgSGu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DjO443UKZ4fM_Vivd5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2c6HdjzUeGtI4UuWur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q3MFtn6E25qp7.htn1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NBDsGJvkuYBzLNsZrC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XXUeG.LEKoYd1aNgSG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V_LBLsU2AEvbxyuHG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C9olbEQUy9usVvIJtwU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.RPbw4YkeY0UJOAjmV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Fpc9s7uEGVe6P40l4b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ZgRLAVhkuBds0o4gK9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JuFCmKJUWQ.a_SYcN5V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WEuER3GEm5zW1fCk9iD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DCjPBxkq1p5EA11.1_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9FUtLzp0GejStjitpd3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XM_fcmV0qPfLxeHXuD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DjO443UKZ4fM_Vivd5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VBaZnWfU6Ca6T58vzUu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Qzarj_bUaHvlPJ_LtrW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HVe40QAEOZPdXb2OCxv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_MGXa2BEa7.tY4Fier1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sfuUtrt06b0mEjQu6h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MZBGslHEuZcbeXyTSsd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ktgFor8kO_Aw77Prfsr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U8XmWNVEKeMJIkUH.GD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ePkbmX5Ea.kx3NVDW8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YcSB.G0iQuQe6TwZpBA"/>
</p:tagLst>
</file>

<file path=ppt/theme/theme1.xml><?xml version="1.0" encoding="utf-8"?>
<a:theme xmlns:a="http://schemas.openxmlformats.org/drawingml/2006/main" name="2017_IFPRI-standard">
  <a:themeElements>
    <a:clrScheme name="IFPRI 2017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09E2F"/>
      </a:accent1>
      <a:accent2>
        <a:srgbClr val="F6B220"/>
      </a:accent2>
      <a:accent3>
        <a:srgbClr val="3E5463"/>
      </a:accent3>
      <a:accent4>
        <a:srgbClr val="ED283A"/>
      </a:accent4>
      <a:accent5>
        <a:srgbClr val="F38A00"/>
      </a:accent5>
      <a:accent6>
        <a:srgbClr val="0095BE"/>
      </a:accent6>
      <a:hlink>
        <a:srgbClr val="0563C1"/>
      </a:hlink>
      <a:folHlink>
        <a:srgbClr val="954F72"/>
      </a:folHlink>
    </a:clrScheme>
    <a:fontScheme name="IFPRI 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anchor="b">
        <a:no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7_IFPRI-standard" id="{8D0505D8-0B72-4144-92C0-5CAF597468E4}" vid="{A50EE8E8-4004-4010-A080-B3D0085E0E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12</TotalTime>
  <Words>1598</Words>
  <Application>Microsoft Office PowerPoint</Application>
  <PresentationFormat>On-screen Show (4:3)</PresentationFormat>
  <Paragraphs>431</Paragraphs>
  <Slides>28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Calibri</vt:lpstr>
      <vt:lpstr>Cambria</vt:lpstr>
      <vt:lpstr>Courier New</vt:lpstr>
      <vt:lpstr>Wingdings</vt:lpstr>
      <vt:lpstr>2017_IFPRI-standard</vt:lpstr>
      <vt:lpstr>think-cell Slide</vt:lpstr>
      <vt:lpstr>Budgets and Budgeting Process in the Government: Ministry of Agriculture</vt:lpstr>
      <vt:lpstr>Outline</vt:lpstr>
      <vt:lpstr>Introduction</vt:lpstr>
      <vt:lpstr>Budgeting in Government</vt:lpstr>
      <vt:lpstr>Objective based budgeting</vt:lpstr>
      <vt:lpstr>Policy Based budget</vt:lpstr>
      <vt:lpstr>Value chain based budget</vt:lpstr>
      <vt:lpstr>Key policies Identified under ATA (FMARD)</vt:lpstr>
      <vt:lpstr>Key policies for success (FMARD)</vt:lpstr>
      <vt:lpstr>Supporting policies for success</vt:lpstr>
      <vt:lpstr>Fiscal policies for success</vt:lpstr>
      <vt:lpstr>GOAL ORIENED BUDGETING source: ATA (FMARD)</vt:lpstr>
      <vt:lpstr>USE OF PERFORMANCE INDICATORS FOR SPECIFIC SECTORS</vt:lpstr>
      <vt:lpstr>USE OF PERFORMANCE INDICATORS FOR SPECIFIC SECTORS</vt:lpstr>
      <vt:lpstr>Policy, program and project budgeting </vt:lpstr>
      <vt:lpstr>3.1  Identified 10 high-potential breadbaskets in which to pilot investments - (1/2)</vt:lpstr>
      <vt:lpstr> Identified 10 high-potential breadbaskets in which to pilot investments -  (2/2)</vt:lpstr>
      <vt:lpstr>Policy, program and project budgeting </vt:lpstr>
      <vt:lpstr>Aquaculture Value Chain – Source: FMARD</vt:lpstr>
      <vt:lpstr>PowerPoint Presentation</vt:lpstr>
      <vt:lpstr>PowerPoint Presentation</vt:lpstr>
      <vt:lpstr>PowerPoint Presentation</vt:lpstr>
      <vt:lpstr>PowerPoint Presentation</vt:lpstr>
      <vt:lpstr>Expected Outputs </vt:lpstr>
      <vt:lpstr>Redefining budget – midcourse correction</vt:lpstr>
      <vt:lpstr>Budget tracking</vt:lpstr>
      <vt:lpstr>Investment based budget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economic Nutrition Policy</dc:title>
  <dc:creator>Paul, Namita (IFPRI)</dc:creator>
  <cp:lastModifiedBy>Babu, Suresh (IFPRI)</cp:lastModifiedBy>
  <cp:revision>129</cp:revision>
  <dcterms:created xsi:type="dcterms:W3CDTF">2017-09-14T20:51:21Z</dcterms:created>
  <dcterms:modified xsi:type="dcterms:W3CDTF">2021-04-12T16:03:24Z</dcterms:modified>
</cp:coreProperties>
</file>